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1"/>
  </p:notesMasterIdLst>
  <p:handoutMasterIdLst>
    <p:handoutMasterId r:id="rId52"/>
  </p:handoutMasterIdLst>
  <p:sldIdLst>
    <p:sldId id="292" r:id="rId2"/>
    <p:sldId id="307" r:id="rId3"/>
    <p:sldId id="293" r:id="rId4"/>
    <p:sldId id="294" r:id="rId5"/>
    <p:sldId id="321" r:id="rId6"/>
    <p:sldId id="295" r:id="rId7"/>
    <p:sldId id="308" r:id="rId8"/>
    <p:sldId id="256" r:id="rId9"/>
    <p:sldId id="263" r:id="rId10"/>
    <p:sldId id="265" r:id="rId11"/>
    <p:sldId id="268" r:id="rId12"/>
    <p:sldId id="322" r:id="rId13"/>
    <p:sldId id="258" r:id="rId14"/>
    <p:sldId id="259" r:id="rId15"/>
    <p:sldId id="260" r:id="rId16"/>
    <p:sldId id="277" r:id="rId17"/>
    <p:sldId id="323" r:id="rId18"/>
    <p:sldId id="261" r:id="rId19"/>
    <p:sldId id="270" r:id="rId20"/>
    <p:sldId id="310" r:id="rId21"/>
    <p:sldId id="273" r:id="rId22"/>
    <p:sldId id="278" r:id="rId23"/>
    <p:sldId id="279" r:id="rId24"/>
    <p:sldId id="280" r:id="rId25"/>
    <p:sldId id="281" r:id="rId26"/>
    <p:sldId id="314" r:id="rId27"/>
    <p:sldId id="282" r:id="rId28"/>
    <p:sldId id="304" r:id="rId29"/>
    <p:sldId id="274" r:id="rId30"/>
    <p:sldId id="319" r:id="rId31"/>
    <p:sldId id="317" r:id="rId32"/>
    <p:sldId id="275" r:id="rId33"/>
    <p:sldId id="320" r:id="rId34"/>
    <p:sldId id="315" r:id="rId35"/>
    <p:sldId id="276" r:id="rId36"/>
    <p:sldId id="316" r:id="rId37"/>
    <p:sldId id="318" r:id="rId38"/>
    <p:sldId id="269" r:id="rId39"/>
    <p:sldId id="271" r:id="rId40"/>
    <p:sldId id="272" r:id="rId41"/>
    <p:sldId id="311" r:id="rId42"/>
    <p:sldId id="313" r:id="rId43"/>
    <p:sldId id="299" r:id="rId44"/>
    <p:sldId id="306" r:id="rId45"/>
    <p:sldId id="309" r:id="rId46"/>
    <p:sldId id="298" r:id="rId47"/>
    <p:sldId id="301" r:id="rId48"/>
    <p:sldId id="302" r:id="rId49"/>
    <p:sldId id="312" r:id="rId50"/>
  </p:sldIdLst>
  <p:sldSz cx="12192000" cy="6858000"/>
  <p:notesSz cx="6858000" cy="9144000"/>
  <p:custDataLst>
    <p:tags r:id="rId5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ices" id="{5F7B6C2F-210F-4E88-AD7E-FF0200FB692A}">
          <p14:sldIdLst>
            <p14:sldId id="292"/>
            <p14:sldId id="307"/>
            <p14:sldId id="293"/>
            <p14:sldId id="294"/>
            <p14:sldId id="321"/>
            <p14:sldId id="295"/>
            <p14:sldId id="308"/>
          </p14:sldIdLst>
        </p14:section>
        <p14:section name="Masque" id="{3B01C80A-E96F-4AEC-9BC9-1065AA8A2F1B}">
          <p14:sldIdLst>
            <p14:sldId id="256"/>
            <p14:sldId id="263"/>
            <p14:sldId id="265"/>
            <p14:sldId id="268"/>
            <p14:sldId id="322"/>
            <p14:sldId id="258"/>
            <p14:sldId id="259"/>
            <p14:sldId id="260"/>
            <p14:sldId id="277"/>
            <p14:sldId id="323"/>
            <p14:sldId id="261"/>
            <p14:sldId id="270"/>
            <p14:sldId id="310"/>
            <p14:sldId id="273"/>
            <p14:sldId id="278"/>
            <p14:sldId id="279"/>
            <p14:sldId id="280"/>
            <p14:sldId id="281"/>
            <p14:sldId id="314"/>
            <p14:sldId id="282"/>
            <p14:sldId id="304"/>
            <p14:sldId id="274"/>
            <p14:sldId id="319"/>
            <p14:sldId id="317"/>
            <p14:sldId id="275"/>
            <p14:sldId id="320"/>
            <p14:sldId id="315"/>
            <p14:sldId id="276"/>
            <p14:sldId id="316"/>
            <p14:sldId id="318"/>
            <p14:sldId id="269"/>
            <p14:sldId id="271"/>
            <p14:sldId id="272"/>
            <p14:sldId id="311"/>
            <p14:sldId id="313"/>
            <p14:sldId id="299"/>
            <p14:sldId id="306"/>
            <p14:sldId id="309"/>
          </p14:sldIdLst>
        </p14:section>
        <p14:section name="Toolbox" id="{8A9D7907-B5BB-4C74-9F3D-856E35F28D32}">
          <p14:sldIdLst>
            <p14:sldId id="298"/>
            <p14:sldId id="301"/>
            <p14:sldId id="302"/>
            <p14:sldId id="31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AC9B"/>
    <a:srgbClr val="FE9EA3"/>
    <a:srgbClr val="ACB8D2"/>
    <a:srgbClr val="C49FBB"/>
    <a:srgbClr val="B3B8B6"/>
    <a:srgbClr val="F1F1F1"/>
    <a:srgbClr val="000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Style léger 2 - Accentuation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8034E78-7F5D-4C2E-B375-FC64B27BC917}" styleName="Style foncé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51" autoAdjust="0"/>
    <p:restoredTop sz="94601" autoAdjust="0"/>
  </p:normalViewPr>
  <p:slideViewPr>
    <p:cSldViewPr snapToGrid="0">
      <p:cViewPr>
        <p:scale>
          <a:sx n="50" d="100"/>
          <a:sy n="50" d="100"/>
        </p:scale>
        <p:origin x="1181" y="552"/>
      </p:cViewPr>
      <p:guideLst>
        <p:guide orient="horz" pos="218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1082"/>
    </p:cViewPr>
  </p:sorterViewPr>
  <p:notesViewPr>
    <p:cSldViewPr snapToGrid="0">
      <p:cViewPr>
        <p:scale>
          <a:sx n="75" d="100"/>
          <a:sy n="75" d="100"/>
        </p:scale>
        <p:origin x="1122" y="21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Titre du graphiqu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alpha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6E8-4E8D-91AE-EA6260CDBA4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alpha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6E8-4E8D-91AE-EA6260CDBA4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alpha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6E8-4E8D-91AE-EA6260CDBA4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5">
                  <a:alpha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6E8-4E8D-91AE-EA6260CDBA43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6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D6E8-4E8D-91AE-EA6260CDBA43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2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D6E8-4E8D-91AE-EA6260CDBA43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1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D6E8-4E8D-91AE-EA6260CDBA43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5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D6E8-4E8D-91AE-EA6260CDBA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62</c:v>
                </c:pt>
                <c:pt idx="1">
                  <c:v>44</c:v>
                </c:pt>
                <c:pt idx="2">
                  <c:v>56</c:v>
                </c:pt>
                <c:pt idx="3">
                  <c:v>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6E8-4E8D-91AE-EA6260CDBA43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Colonne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D6E8-4E8D-91AE-EA6260CDBA4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D6E8-4E8D-91AE-EA6260CDBA4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D6E8-4E8D-91AE-EA6260CDBA43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6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D6E8-4E8D-91AE-EA6260CDBA43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2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D6E8-4E8D-91AE-EA6260CDBA43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1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D6E8-4E8D-91AE-EA6260CDBA43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5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D6E8-4E8D-91AE-EA6260CDBA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C$2:$C$5</c:f>
              <c:numCache>
                <c:formatCode>General</c:formatCode>
                <c:ptCount val="4"/>
                <c:pt idx="0">
                  <c:v>72</c:v>
                </c:pt>
                <c:pt idx="1">
                  <c:v>54</c:v>
                </c:pt>
                <c:pt idx="2">
                  <c:v>66</c:v>
                </c:pt>
                <c:pt idx="3">
                  <c:v>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6E8-4E8D-91AE-EA6260CDBA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1"/>
        <c:overlap val="-27"/>
        <c:axId val="741235160"/>
        <c:axId val="741235816"/>
      </c:barChart>
      <c:catAx>
        <c:axId val="741235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41235816"/>
        <c:crosses val="autoZero"/>
        <c:auto val="1"/>
        <c:lblAlgn val="ctr"/>
        <c:lblOffset val="100"/>
        <c:noMultiLvlLbl val="0"/>
      </c:catAx>
      <c:valAx>
        <c:axId val="7412358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41235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1.2941176470588235E-2"/>
          <c:y val="0.17173256578470786"/>
          <c:w val="0.97411764705882353"/>
          <c:h val="0.7448397555968429"/>
        </c:manualLayout>
      </c:layout>
      <c:lineChart>
        <c:grouping val="standar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Titre du graphique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13"/>
            <c:spPr>
              <a:solidFill>
                <a:schemeClr val="accent2"/>
              </a:solidFill>
              <a:ln w="25400">
                <a:solidFill>
                  <a:schemeClr val="bg1"/>
                </a:solidFill>
              </a:ln>
              <a:effectLst/>
            </c:spPr>
          </c:marker>
          <c:dPt>
            <c:idx val="0"/>
            <c:marker>
              <c:symbol val="circle"/>
              <c:size val="13"/>
              <c:spPr>
                <a:solidFill>
                  <a:schemeClr val="accent2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E187-41DF-A405-959575D1BCE8}"/>
              </c:ext>
            </c:extLst>
          </c:dPt>
          <c:dPt>
            <c:idx val="1"/>
            <c:marker>
              <c:symbol val="circle"/>
              <c:size val="13"/>
              <c:spPr>
                <a:solidFill>
                  <a:schemeClr val="accent2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E187-41DF-A405-959575D1BCE8}"/>
              </c:ext>
            </c:extLst>
          </c:dPt>
          <c:dPt>
            <c:idx val="2"/>
            <c:marker>
              <c:symbol val="circle"/>
              <c:size val="13"/>
              <c:spPr>
                <a:solidFill>
                  <a:schemeClr val="accent2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E187-41DF-A405-959575D1BCE8}"/>
              </c:ext>
            </c:extLst>
          </c:dPt>
          <c:dPt>
            <c:idx val="3"/>
            <c:marker>
              <c:symbol val="circle"/>
              <c:size val="13"/>
              <c:spPr>
                <a:solidFill>
                  <a:schemeClr val="accent2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E187-41DF-A405-959575D1BCE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accent2"/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32</c:v>
                </c:pt>
                <c:pt idx="1">
                  <c:v>72</c:v>
                </c:pt>
                <c:pt idx="2">
                  <c:v>22</c:v>
                </c:pt>
                <c:pt idx="3">
                  <c:v>3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8-E187-41DF-A405-959575D1BCE8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Colonne1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3"/>
            <c:spPr>
              <a:solidFill>
                <a:schemeClr val="accent1"/>
              </a:solidFill>
              <a:ln w="25400">
                <a:solidFill>
                  <a:schemeClr val="bg1"/>
                </a:solidFill>
              </a:ln>
              <a:effectLst/>
            </c:spPr>
          </c:marker>
          <c:dPt>
            <c:idx val="1"/>
            <c:marker>
              <c:symbol val="circle"/>
              <c:size val="13"/>
              <c:spPr>
                <a:solidFill>
                  <a:schemeClr val="accent1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A-E187-41DF-A405-959575D1BCE8}"/>
              </c:ext>
            </c:extLst>
          </c:dPt>
          <c:dPt>
            <c:idx val="2"/>
            <c:marker>
              <c:symbol val="circle"/>
              <c:size val="13"/>
              <c:spPr>
                <a:solidFill>
                  <a:schemeClr val="accent1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C-E187-41DF-A405-959575D1BCE8}"/>
              </c:ext>
            </c:extLst>
          </c:dPt>
          <c:dPt>
            <c:idx val="3"/>
            <c:marker>
              <c:symbol val="circle"/>
              <c:size val="13"/>
              <c:spPr>
                <a:solidFill>
                  <a:schemeClr val="accent1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E-E187-41DF-A405-959575D1BCE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accent1"/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C$2:$C$5</c:f>
              <c:numCache>
                <c:formatCode>General</c:formatCode>
                <c:ptCount val="4"/>
                <c:pt idx="0">
                  <c:v>72</c:v>
                </c:pt>
                <c:pt idx="1">
                  <c:v>32</c:v>
                </c:pt>
                <c:pt idx="2">
                  <c:v>82</c:v>
                </c:pt>
                <c:pt idx="3">
                  <c:v>6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0-E187-41DF-A405-959575D1BC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41235160"/>
        <c:axId val="741235816"/>
      </c:lineChart>
      <c:catAx>
        <c:axId val="741235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41235816"/>
        <c:crosses val="autoZero"/>
        <c:auto val="1"/>
        <c:lblAlgn val="ctr"/>
        <c:lblOffset val="100"/>
        <c:noMultiLvlLbl val="0"/>
      </c:catAx>
      <c:valAx>
        <c:axId val="7412358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41235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082855055060445"/>
          <c:y val="0"/>
          <c:w val="0.74227205347510783"/>
          <c:h val="1"/>
        </c:manualLayout>
      </c:layout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Titre du graphique</c:v>
                </c:pt>
              </c:strCache>
            </c:strRef>
          </c:tx>
          <c:dPt>
            <c:idx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7B6-44C2-A238-4F6752244AB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F7B6-44C2-A238-4F6752244AB4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7B6-44C2-A238-4F6752244AB4}"/>
              </c:ext>
            </c:extLst>
          </c:dPt>
          <c:dPt>
            <c:idx val="3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F7B6-44C2-A238-4F6752244AB4}"/>
              </c:ext>
            </c:extLst>
          </c:dPt>
          <c:dLbls>
            <c:dLbl>
              <c:idx val="0"/>
              <c:layout>
                <c:manualLayout>
                  <c:x val="0.13163484153916791"/>
                  <c:y val="-0.1055432446212787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3600" b="0" i="0" u="none" strike="noStrike" kern="1200" baseline="0">
                      <a:solidFill>
                        <a:schemeClr val="accent6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7B6-44C2-A238-4F6752244AB4}"/>
                </c:ext>
              </c:extLst>
            </c:dLbl>
            <c:dLbl>
              <c:idx val="1"/>
              <c:layout>
                <c:manualLayout>
                  <c:x val="0.13800426935557941"/>
                  <c:y val="9.0022179235796404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3600" b="0" i="0" u="none" strike="noStrike" kern="1200" baseline="0">
                      <a:solidFill>
                        <a:schemeClr val="accent2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7B6-44C2-A238-4F6752244AB4}"/>
                </c:ext>
              </c:extLst>
            </c:dLbl>
            <c:dLbl>
              <c:idx val="2"/>
              <c:layout>
                <c:manualLayout>
                  <c:x val="-0.16985140843763619"/>
                  <c:y val="4.0354770002253612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3600" b="0" i="0" u="none" strike="noStrike" kern="1200" baseline="0">
                      <a:solidFill>
                        <a:schemeClr val="accent1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7B6-44C2-A238-4F6752244AB4}"/>
                </c:ext>
              </c:extLst>
            </c:dLbl>
            <c:dLbl>
              <c:idx val="3"/>
              <c:layout>
                <c:manualLayout>
                  <c:x val="-0.13163484153916807"/>
                  <c:y val="-0.1179600969296644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3600" b="0" i="0" u="none" strike="noStrike" kern="1200" baseline="0">
                      <a:solidFill>
                        <a:schemeClr val="accent5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7B6-44C2-A238-4F6752244AB4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3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0%</c:formatCode>
                <c:ptCount val="4"/>
                <c:pt idx="0">
                  <c:v>0.62</c:v>
                </c:pt>
                <c:pt idx="1">
                  <c:v>0.44</c:v>
                </c:pt>
                <c:pt idx="2">
                  <c:v>0.56000000000000005</c:v>
                </c:pt>
                <c:pt idx="3">
                  <c:v>0.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7B6-44C2-A238-4F6752244A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6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3603F1C8-36AB-429F-ACEE-E85CE8C76E4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08DFB008-5D76-41D5-A540-B4749418B39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4BB5A7-0DAF-4412-9DFE-12ED7EB1BA59}" type="slidenum">
              <a:rPr lang="fr-FR" smtClean="0"/>
              <a:t>‹#›</a:t>
            </a:fld>
            <a:endParaRPr lang="fr-FR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A669C475-3C39-431F-A56F-ED0A6338C2F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039254" y="227269"/>
            <a:ext cx="777906" cy="610932"/>
            <a:chOff x="2652" y="1228"/>
            <a:chExt cx="2376" cy="1866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36C8491A-466B-4AC7-8F09-FE9183D6B37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Rectangle 6">
              <a:extLst>
                <a:ext uri="{FF2B5EF4-FFF2-40B4-BE49-F238E27FC236}">
                  <a16:creationId xmlns:a16="http://schemas.microsoft.com/office/drawing/2014/main" id="{C779A420-1D5A-40AA-877B-0A6263564DD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A4BA3090-ECA6-49BD-81ED-8D35F3387DE9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513E3CEE-A5F6-4B31-A982-BA5B2473ADA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77698464-E413-4176-A9BD-EC338A70C1B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222859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482B1C-9086-4348-8E70-29E40E32550A}" type="slidenum">
              <a:rPr lang="fr-FR" smtClean="0"/>
              <a:t>‹#›</a:t>
            </a:fld>
            <a:endParaRPr lang="fr-FR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1D01B6C6-F0DF-40E6-95BC-84556B3F7D77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039254" y="227269"/>
            <a:ext cx="777906" cy="610932"/>
            <a:chOff x="2652" y="1228"/>
            <a:chExt cx="2376" cy="186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36F95227-A651-423C-84C5-F4959F06DF6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6">
              <a:extLst>
                <a:ext uri="{FF2B5EF4-FFF2-40B4-BE49-F238E27FC236}">
                  <a16:creationId xmlns:a16="http://schemas.microsoft.com/office/drawing/2014/main" id="{4FE4E2FF-85E1-45A9-9FCF-B34B227B401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D4332210-025C-4E4F-91F3-DDC201318BB3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B62EB0C0-E46D-4DB0-BB32-F0E26FFD790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03766DD7-EF4A-4AF8-AD5A-CB5800D2E1B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9632970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uverture Fond Visuel">
    <p:bg>
      <p:bgPr>
        <a:solidFill>
          <a:schemeClr val="accent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18190C1-C5FC-4E71-AFEB-59A4A324223B}"/>
              </a:ext>
            </a:extLst>
          </p:cNvPr>
          <p:cNvSpPr/>
          <p:nvPr userDrawn="1"/>
        </p:nvSpPr>
        <p:spPr>
          <a:xfrm>
            <a:off x="0" y="-1"/>
            <a:ext cx="12192000" cy="4470401"/>
          </a:xfrm>
          <a:prstGeom prst="rect">
            <a:avLst/>
          </a:prstGeom>
          <a:gradFill>
            <a:gsLst>
              <a:gs pos="0">
                <a:schemeClr val="bg1">
                  <a:alpha val="66000"/>
                </a:schemeClr>
              </a:gs>
              <a:gs pos="99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8EDF1C6-E97E-48D9-8D20-948AB20D5E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0049" y="803048"/>
            <a:ext cx="10267951" cy="706437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4800">
                <a:solidFill>
                  <a:schemeClr val="tx1"/>
                </a:solidFill>
                <a:latin typeface="MAIF Light" panose="020B0403020200030B04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54CD9051-5A79-4E1B-B914-7591251C62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0049" y="1468438"/>
            <a:ext cx="10267951" cy="505505"/>
          </a:xfrm>
        </p:spPr>
        <p:txBody>
          <a:bodyPr/>
          <a:lstStyle>
            <a:lvl1pPr marL="174625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1D1F3D4-7166-4EA4-8112-066CDB4B6D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00049" y="464456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fld id="{F4CDE077-5A42-4CFA-8B62-9004FC610B10}" type="datetime1">
              <a:rPr lang="en-GB" smtClean="0"/>
              <a:pPr/>
              <a:t>02/10/2019</a:t>
            </a:fld>
            <a:endParaRPr lang="en-GB" dirty="0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F0C570F8-2A59-4F84-AA9E-36ED9DD1E66D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4592701" y="2373766"/>
            <a:ext cx="2687284" cy="2110468"/>
            <a:chOff x="2652" y="1228"/>
            <a:chExt cx="2376" cy="186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D6F15B3C-6051-4198-84F6-AEFB19EAB56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>
                <a:alpha val="74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Rectangle 6">
              <a:extLst>
                <a:ext uri="{FF2B5EF4-FFF2-40B4-BE49-F238E27FC236}">
                  <a16:creationId xmlns:a16="http://schemas.microsoft.com/office/drawing/2014/main" id="{11EA7D39-A205-454B-8D3B-DB22021166F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EAD5D91B-ED2A-4F70-96DB-4CB326761404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FFCCFE80-2081-4C0A-879D-F0EA9D4D626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804CC746-347A-4FAF-8385-0EB43FA5FDC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11DCD4E-F2B2-4FDC-8168-CA95F53D5A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33450" y="6858000"/>
            <a:ext cx="1724025" cy="365125"/>
          </a:xfrm>
        </p:spPr>
        <p:txBody>
          <a:bodyPr/>
          <a:lstStyle>
            <a:lvl1pPr>
              <a:defRPr sz="100"/>
            </a:lvl1pPr>
          </a:lstStyle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0ACFA520-89E0-4A9C-9C95-09278E91A0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00049" y="6858000"/>
            <a:ext cx="523875" cy="365125"/>
          </a:xfrm>
        </p:spPr>
        <p:txBody>
          <a:bodyPr/>
          <a:lstStyle>
            <a:lvl1pPr>
              <a:defRPr sz="100"/>
            </a:lvl1pPr>
          </a:lstStyle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99185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9571FCDF-0BE4-46AB-8230-D2E1311213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</a:t>
            </a:r>
            <a:r>
              <a:rPr lang="fr-FR"/>
              <a:t>du titre</a:t>
            </a:r>
            <a:endParaRPr lang="fr-FR" dirty="0"/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D688F5C2-0A8B-45EC-9E89-75FBDB9555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401" y="460376"/>
            <a:ext cx="798285" cy="483054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1A1D0687-EE34-453A-8C1C-B17B685894F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62DB7772-03C9-42C6-A4E0-CC20746B87CB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12" name="Espace réservé du pied de page 11">
            <a:extLst>
              <a:ext uri="{FF2B5EF4-FFF2-40B4-BE49-F238E27FC236}">
                <a16:creationId xmlns:a16="http://schemas.microsoft.com/office/drawing/2014/main" id="{B2462C28-9E78-4DA0-B079-09D59C6B5C2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EA93589F-C782-43C1-818F-E1C620472D9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ACBA8557-E71D-4D6C-9C0C-186DFB01E91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3FB5E84E-51A1-4943-B891-8B5202DCC6F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Rectangle 6">
              <a:extLst>
                <a:ext uri="{FF2B5EF4-FFF2-40B4-BE49-F238E27FC236}">
                  <a16:creationId xmlns:a16="http://schemas.microsoft.com/office/drawing/2014/main" id="{4EE43A21-A832-41FB-BD85-5B5ADE4A278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634FE773-A3FF-4965-9E47-94180BD86843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1EC6669D-1C75-45FD-BAA2-104D41724B8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30D64752-35E0-4E44-A713-FD57E732AF7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id="{0C1F0FA6-A374-46FD-A6FE-A34CB16A0A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3200" y="1825625"/>
            <a:ext cx="5521350" cy="423642"/>
          </a:xfrm>
          <a:solidFill>
            <a:schemeClr val="accent1"/>
          </a:solidFill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id="{9D0C9B9F-2564-427A-9D80-1A6EF061E9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442" y="1825625"/>
            <a:ext cx="5521351" cy="423642"/>
          </a:xfrm>
          <a:solidFill>
            <a:schemeClr val="accent2"/>
          </a:solidFill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7471E2A3-C4B9-44CC-86E4-5A54CFBE751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0028" y="972088"/>
            <a:ext cx="11385551" cy="400110"/>
          </a:xfrm>
        </p:spPr>
        <p:txBody>
          <a:bodyPr anchor="ctr" anchorCtr="0">
            <a:sp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7222D973-66C0-46DC-89CA-9F93BA4FEE5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03200" y="2438400"/>
            <a:ext cx="5521351" cy="3735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CABFD047-635F-44AA-B287-0E009D692D6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195441" y="2438400"/>
            <a:ext cx="5521351" cy="3735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80BA56C-A162-41DF-A618-461DD65CDC71}"/>
              </a:ext>
            </a:extLst>
          </p:cNvPr>
          <p:cNvCxnSpPr>
            <a:cxnSpLocks/>
          </p:cNvCxnSpPr>
          <p:nvPr userDrawn="1"/>
        </p:nvCxnSpPr>
        <p:spPr>
          <a:xfrm>
            <a:off x="6059996" y="1825625"/>
            <a:ext cx="0" cy="434837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4546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érieur Sans Sous-titre (2 colon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EBF7224-7C25-4612-9DA7-3CBE776BA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3200" y="1339200"/>
            <a:ext cx="5521350" cy="48348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9" name="Espace réservé du texte 9">
            <a:extLst>
              <a:ext uri="{FF2B5EF4-FFF2-40B4-BE49-F238E27FC236}">
                <a16:creationId xmlns:a16="http://schemas.microsoft.com/office/drawing/2014/main" id="{1CCF435A-2440-4E30-B2CA-656CE62D5E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95442" y="1339200"/>
            <a:ext cx="5521350" cy="48348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571FCDF-0BE4-46AB-8230-D2E1311213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D688F5C2-0A8B-45EC-9E89-75FBDB9555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401" y="460376"/>
            <a:ext cx="798285" cy="483054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1A1D0687-EE34-453A-8C1C-B17B685894F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62DB7772-03C9-42C6-A4E0-CC20746B87CB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12" name="Espace réservé du pied de page 11">
            <a:extLst>
              <a:ext uri="{FF2B5EF4-FFF2-40B4-BE49-F238E27FC236}">
                <a16:creationId xmlns:a16="http://schemas.microsoft.com/office/drawing/2014/main" id="{B2462C28-9E78-4DA0-B079-09D59C6B5C2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EA93589F-C782-43C1-818F-E1C620472D9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ACBA8557-E71D-4D6C-9C0C-186DFB01E91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3FB5E84E-51A1-4943-B891-8B5202DCC6F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Rectangle 6">
              <a:extLst>
                <a:ext uri="{FF2B5EF4-FFF2-40B4-BE49-F238E27FC236}">
                  <a16:creationId xmlns:a16="http://schemas.microsoft.com/office/drawing/2014/main" id="{4EE43A21-A832-41FB-BD85-5B5ADE4A278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634FE773-A3FF-4965-9E47-94180BD86843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1EC6669D-1C75-45FD-BAA2-104D41724B8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30D64752-35E0-4E44-A713-FD57E732AF7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941375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hase 1 ic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884EE77-8896-490E-95C1-417B8408638D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C9181A6-DF10-441F-B476-018408812D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028" y="972088"/>
            <a:ext cx="11385551" cy="400110"/>
          </a:xfrm>
        </p:spPr>
        <p:txBody>
          <a:bodyPr anchor="ctr" anchorCtr="0">
            <a:sp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0061EAE-646C-4B45-9FFE-3953B923EB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401" y="460376"/>
            <a:ext cx="798285" cy="483054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082247" y="2971201"/>
            <a:ext cx="8703351" cy="1610697"/>
          </a:xfrm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AC100878-F34E-44B1-A352-2B0D06DF9FF2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CBAAB9B6-995B-464E-9E09-11E9716AAEF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Rectangle 6">
              <a:extLst>
                <a:ext uri="{FF2B5EF4-FFF2-40B4-BE49-F238E27FC236}">
                  <a16:creationId xmlns:a16="http://schemas.microsoft.com/office/drawing/2014/main" id="{36D01E81-6344-4DAF-8FDD-B3AFB537215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8FE2F8F9-3637-4662-92D3-210803AB1E20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D4DC6CC4-E9D0-43C0-B9EF-54180B0B1AB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A6C48ED9-4A10-4C63-8291-E60A9F07A16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141005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792EE7-A8C5-472D-8079-BD5E8323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2691548F-36F4-4E4A-941B-4963296E8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AA5301-D819-455D-B818-3E64016FE84C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B27F3B3-E17F-40F6-9D97-F2EBDA94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B693D4A-B803-496F-AD48-87223303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32DE65F4-D6CF-4F47-80B7-A3A593F9A0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401" y="460376"/>
            <a:ext cx="798285" cy="483054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6F56815B-DB8A-4783-88B5-5081EF14566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06399" y="2209151"/>
            <a:ext cx="2836334" cy="3076575"/>
          </a:xfrm>
        </p:spPr>
        <p:txBody>
          <a:bodyPr lIns="90000" rIns="0">
            <a:no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MAIF Light" panose="020B0403020200030B04" pitchFamily="34" charset="0"/>
              </a:defRPr>
            </a:lvl1pPr>
            <a:lvl2pPr marL="131763" indent="0">
              <a:buFont typeface="Arial" panose="020B0604020202020204" pitchFamily="34" charset="0"/>
              <a:buNone/>
              <a:defRPr sz="2400">
                <a:latin typeface="+mn-lt"/>
              </a:defRPr>
            </a:lvl2pPr>
            <a:lvl3pPr marL="398463" indent="0">
              <a:buNone/>
              <a:defRPr sz="2000">
                <a:latin typeface="+mn-lt"/>
              </a:defRPr>
            </a:lvl3pPr>
            <a:lvl4pPr marL="665163" indent="0">
              <a:buNone/>
              <a:defRPr sz="1800">
                <a:latin typeface="+mn-lt"/>
              </a:defRPr>
            </a:lvl4pPr>
            <a:lvl5pPr marL="931863" indent="0">
              <a:buNone/>
              <a:defRPr sz="1800">
                <a:latin typeface="+mn-lt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220DD63-91AA-4A56-8BA2-C89A773770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51765" y="2094851"/>
            <a:ext cx="2527301" cy="1323975"/>
          </a:xfrm>
        </p:spPr>
        <p:txBody>
          <a:bodyPr lIns="90000" tIns="0">
            <a:noAutofit/>
          </a:bodyPr>
          <a:lstStyle>
            <a:lvl1pPr marL="0" indent="0">
              <a:lnSpc>
                <a:spcPct val="100000"/>
              </a:lnSpc>
              <a:buNone/>
              <a:defRPr sz="7200">
                <a:solidFill>
                  <a:schemeClr val="bg2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##</a:t>
            </a:r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12FA07C5-3250-4C73-9BC8-EDBBA097D3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05031" y="2094851"/>
            <a:ext cx="2527301" cy="1323975"/>
          </a:xfrm>
        </p:spPr>
        <p:txBody>
          <a:bodyPr lIns="90000" tIns="0">
            <a:noAutofit/>
          </a:bodyPr>
          <a:lstStyle>
            <a:lvl1pPr marL="0" indent="0">
              <a:lnSpc>
                <a:spcPct val="100000"/>
              </a:lnSpc>
              <a:buNone/>
              <a:defRPr sz="7200">
                <a:solidFill>
                  <a:schemeClr val="accent6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##</a:t>
            </a:r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1CA8880A-FAC9-4167-9007-DBA9CD9C2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58298" y="2094851"/>
            <a:ext cx="2527301" cy="1323975"/>
          </a:xfrm>
        </p:spPr>
        <p:txBody>
          <a:bodyPr lIns="90000" tIns="0">
            <a:noAutofit/>
          </a:bodyPr>
          <a:lstStyle>
            <a:lvl1pPr marL="0" indent="0">
              <a:lnSpc>
                <a:spcPct val="100000"/>
              </a:lnSpc>
              <a:buNone/>
              <a:defRPr sz="7200">
                <a:solidFill>
                  <a:schemeClr val="accent1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##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FBF1344F-0272-419A-8BCB-144D22935BC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51765" y="3418826"/>
            <a:ext cx="2544235" cy="1762021"/>
          </a:xfrm>
        </p:spPr>
        <p:txBody>
          <a:bodyPr wrap="square" rIns="0">
            <a:spAutoFit/>
          </a:bodyPr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18" name="Espace réservé du texte 8">
            <a:extLst>
              <a:ext uri="{FF2B5EF4-FFF2-40B4-BE49-F238E27FC236}">
                <a16:creationId xmlns:a16="http://schemas.microsoft.com/office/drawing/2014/main" id="{00869EE6-F2C2-4298-AD4B-C6639C58F35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405031" y="3418826"/>
            <a:ext cx="2544235" cy="1762021"/>
          </a:xfrm>
        </p:spPr>
        <p:txBody>
          <a:bodyPr wrap="square" rIns="0">
            <a:spAutoFit/>
          </a:bodyPr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19" name="Espace réservé du texte 8">
            <a:extLst>
              <a:ext uri="{FF2B5EF4-FFF2-40B4-BE49-F238E27FC236}">
                <a16:creationId xmlns:a16="http://schemas.microsoft.com/office/drawing/2014/main" id="{43D65CD8-1047-4916-BFDB-33EF50CF65F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258298" y="3418826"/>
            <a:ext cx="2544235" cy="1762021"/>
          </a:xfrm>
        </p:spPr>
        <p:txBody>
          <a:bodyPr wrap="square" rIns="0">
            <a:spAutoFit/>
          </a:bodyPr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67E1C736-1037-4199-B980-AD93D9ED8E8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028" y="972088"/>
            <a:ext cx="11385551" cy="400110"/>
          </a:xfrm>
        </p:spPr>
        <p:txBody>
          <a:bodyPr anchor="ctr" anchorCtr="0">
            <a:sp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grpSp>
        <p:nvGrpSpPr>
          <p:cNvPr id="20" name="Group 4">
            <a:extLst>
              <a:ext uri="{FF2B5EF4-FFF2-40B4-BE49-F238E27FC236}">
                <a16:creationId xmlns:a16="http://schemas.microsoft.com/office/drawing/2014/main" id="{921A194D-F5DC-41C3-AC42-85ECE6FA26EF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890D608B-281C-40B7-B6F5-78BEA1F9C70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Rectangle 6">
              <a:extLst>
                <a:ext uri="{FF2B5EF4-FFF2-40B4-BE49-F238E27FC236}">
                  <a16:creationId xmlns:a16="http://schemas.microsoft.com/office/drawing/2014/main" id="{950911E6-7B2E-458E-BD60-6FC26AD0BCC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17B90A0B-531D-495C-B8E0-3BBB423B75A5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03CB6070-7893-4374-AA7D-388843C474A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7B8D3547-3F98-4F59-8FD0-F0780D3502F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955039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s + Emphase text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orme libre : forme 29">
            <a:extLst>
              <a:ext uri="{FF2B5EF4-FFF2-40B4-BE49-F238E27FC236}">
                <a16:creationId xmlns:a16="http://schemas.microsoft.com/office/drawing/2014/main" id="{20D0EC2F-43DB-45A8-A68A-7836007240F4}"/>
              </a:ext>
            </a:extLst>
          </p:cNvPr>
          <p:cNvSpPr/>
          <p:nvPr userDrawn="1"/>
        </p:nvSpPr>
        <p:spPr bwMode="ltGray">
          <a:xfrm flipH="1">
            <a:off x="6832600" y="0"/>
            <a:ext cx="535940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52D5969-D213-4E09-A103-363F83E9BCBD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C9181A6-DF10-441F-B476-018408812D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028" y="972088"/>
            <a:ext cx="11385551" cy="400110"/>
          </a:xfrm>
        </p:spPr>
        <p:txBody>
          <a:bodyPr anchor="ctr" anchorCtr="0">
            <a:sp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0061EAE-646C-4B45-9FFE-3953B923EB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401" y="460376"/>
            <a:ext cx="798285" cy="483054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4686" y="460375"/>
            <a:ext cx="10580913" cy="489365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75500" y="2340261"/>
            <a:ext cx="4610098" cy="2872581"/>
          </a:xfrm>
        </p:spPr>
        <p:txBody>
          <a:bodyPr wrap="square" anchor="ctr">
            <a:spAutoFit/>
          </a:bodyPr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10F76255-FA91-47DF-B26C-449B8CE6C84E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B2704DE8-48B4-4757-B446-BD03AC4594E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Rectangle 6">
              <a:extLst>
                <a:ext uri="{FF2B5EF4-FFF2-40B4-BE49-F238E27FC236}">
                  <a16:creationId xmlns:a16="http://schemas.microsoft.com/office/drawing/2014/main" id="{DF1A4A3F-69BA-4FCC-8849-27FB67CE91C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23C87599-1CD8-415B-BBB6-3FEBB7649FAF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F407769C-4810-458C-9111-A61424018CB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A8E34F8A-42BD-40E6-B0DA-39E69BB0014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596672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Emphase text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 userDrawn="1"/>
        </p:nvSpPr>
        <p:spPr>
          <a:xfrm flipH="1">
            <a:off x="6832600" y="0"/>
            <a:ext cx="535940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0061EAE-646C-4B45-9FFE-3953B923EB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401" y="460376"/>
            <a:ext cx="798285" cy="483054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4686" y="460375"/>
            <a:ext cx="10580913" cy="489365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75500" y="2340261"/>
            <a:ext cx="4610098" cy="2872581"/>
          </a:xfrm>
        </p:spPr>
        <p:txBody>
          <a:bodyPr wrap="square" anchor="ctr">
            <a:spAutoFit/>
          </a:bodyPr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40CA73D6-5029-48C7-A6FF-63BD5E7FA996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8190C9F-B4C5-4408-9550-66101DFC591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Rectangle 6">
              <a:extLst>
                <a:ext uri="{FF2B5EF4-FFF2-40B4-BE49-F238E27FC236}">
                  <a16:creationId xmlns:a16="http://schemas.microsoft.com/office/drawing/2014/main" id="{95435857-C8E6-4A62-8D07-002A3417B7B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DC9D34E-6669-4642-9EE5-53319F35BC15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9074C1B1-0B9A-4333-8630-4D101FF8965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15AED72B-DD6E-4458-9036-7DF4522D896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4" name="Espace réservé du texte 2">
            <a:extLst>
              <a:ext uri="{FF2B5EF4-FFF2-40B4-BE49-F238E27FC236}">
                <a16:creationId xmlns:a16="http://schemas.microsoft.com/office/drawing/2014/main" id="{DA2652C7-FC22-4C7B-B515-4AED821A34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028" y="972088"/>
            <a:ext cx="11385551" cy="400110"/>
          </a:xfrm>
        </p:spPr>
        <p:txBody>
          <a:bodyPr anchor="ctr" anchorCtr="0">
            <a:sp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6DE6646E-6236-42C0-84D6-80C1677D7FE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752020" y="2236898"/>
            <a:ext cx="3077738" cy="307930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79800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Emphase text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 userDrawn="1"/>
        </p:nvSpPr>
        <p:spPr>
          <a:xfrm flipH="1">
            <a:off x="6832600" y="0"/>
            <a:ext cx="535940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0061EAE-646C-4B45-9FFE-3953B923EB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401" y="460376"/>
            <a:ext cx="798285" cy="483054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4686" y="460375"/>
            <a:ext cx="10580913" cy="489365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75500" y="2340261"/>
            <a:ext cx="4610098" cy="2872581"/>
          </a:xfrm>
        </p:spPr>
        <p:txBody>
          <a:bodyPr wrap="square" anchor="ctr">
            <a:spAutoFit/>
          </a:bodyPr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40CA73D6-5029-48C7-A6FF-63BD5E7FA996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8190C9F-B4C5-4408-9550-66101DFC591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Rectangle 6">
              <a:extLst>
                <a:ext uri="{FF2B5EF4-FFF2-40B4-BE49-F238E27FC236}">
                  <a16:creationId xmlns:a16="http://schemas.microsoft.com/office/drawing/2014/main" id="{95435857-C8E6-4A62-8D07-002A3417B7B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DC9D34E-6669-4642-9EE5-53319F35BC15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9074C1B1-0B9A-4333-8630-4D101FF8965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15AED72B-DD6E-4458-9036-7DF4522D896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4" name="Espace réservé du texte 2">
            <a:extLst>
              <a:ext uri="{FF2B5EF4-FFF2-40B4-BE49-F238E27FC236}">
                <a16:creationId xmlns:a16="http://schemas.microsoft.com/office/drawing/2014/main" id="{DA2652C7-FC22-4C7B-B515-4AED821A34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028" y="972088"/>
            <a:ext cx="11385551" cy="400110"/>
          </a:xfrm>
        </p:spPr>
        <p:txBody>
          <a:bodyPr anchor="ctr" anchorCtr="0">
            <a:sp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0D0A6FB-C38B-4D86-9AB1-D5CBF9A308E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06402" y="2105004"/>
            <a:ext cx="5689598" cy="33430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903637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s + Emphase text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 userDrawn="1"/>
        </p:nvSpPr>
        <p:spPr>
          <a:xfrm flipH="1">
            <a:off x="6832600" y="0"/>
            <a:ext cx="535940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0061EAE-646C-4B45-9FFE-3953B923EB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401" y="460376"/>
            <a:ext cx="798285" cy="483054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4686" y="460375"/>
            <a:ext cx="10580913" cy="489365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75500" y="2340261"/>
            <a:ext cx="4610098" cy="2872581"/>
          </a:xfrm>
        </p:spPr>
        <p:txBody>
          <a:bodyPr wrap="square" anchor="ctr">
            <a:spAutoFit/>
          </a:bodyPr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40CA73D6-5029-48C7-A6FF-63BD5E7FA996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8190C9F-B4C5-4408-9550-66101DFC591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Rectangle 6">
              <a:extLst>
                <a:ext uri="{FF2B5EF4-FFF2-40B4-BE49-F238E27FC236}">
                  <a16:creationId xmlns:a16="http://schemas.microsoft.com/office/drawing/2014/main" id="{95435857-C8E6-4A62-8D07-002A3417B7B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DC9D34E-6669-4642-9EE5-53319F35BC15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9074C1B1-0B9A-4333-8630-4D101FF8965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15AED72B-DD6E-4458-9036-7DF4522D896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4" name="Espace réservé du texte 2">
            <a:extLst>
              <a:ext uri="{FF2B5EF4-FFF2-40B4-BE49-F238E27FC236}">
                <a16:creationId xmlns:a16="http://schemas.microsoft.com/office/drawing/2014/main" id="{DA2652C7-FC22-4C7B-B515-4AED821A34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028" y="972088"/>
            <a:ext cx="11385551" cy="400110"/>
          </a:xfrm>
        </p:spPr>
        <p:txBody>
          <a:bodyPr anchor="ctr" anchorCtr="0">
            <a:sp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213685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Emphase text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 userDrawn="1"/>
        </p:nvSpPr>
        <p:spPr>
          <a:xfrm flipH="1">
            <a:off x="6832600" y="0"/>
            <a:ext cx="535940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0061EAE-646C-4B45-9FFE-3953B923EB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401" y="460376"/>
            <a:ext cx="798285" cy="483054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4686" y="460375"/>
            <a:ext cx="10580913" cy="489365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75500" y="2340261"/>
            <a:ext cx="4610098" cy="2872581"/>
          </a:xfrm>
        </p:spPr>
        <p:txBody>
          <a:bodyPr wrap="square" anchor="ctr">
            <a:spAutoFit/>
          </a:bodyPr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40CA73D6-5029-48C7-A6FF-63BD5E7FA996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8190C9F-B4C5-4408-9550-66101DFC591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Rectangle 6">
              <a:extLst>
                <a:ext uri="{FF2B5EF4-FFF2-40B4-BE49-F238E27FC236}">
                  <a16:creationId xmlns:a16="http://schemas.microsoft.com/office/drawing/2014/main" id="{95435857-C8E6-4A62-8D07-002A3417B7B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DC9D34E-6669-4642-9EE5-53319F35BC15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9074C1B1-0B9A-4333-8630-4D101FF8965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15AED72B-DD6E-4458-9036-7DF4522D896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4" name="Espace réservé du texte 2">
            <a:extLst>
              <a:ext uri="{FF2B5EF4-FFF2-40B4-BE49-F238E27FC236}">
                <a16:creationId xmlns:a16="http://schemas.microsoft.com/office/drawing/2014/main" id="{DA2652C7-FC22-4C7B-B515-4AED821A34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028" y="972088"/>
            <a:ext cx="11385551" cy="400110"/>
          </a:xfrm>
        </p:spPr>
        <p:txBody>
          <a:bodyPr anchor="ctr" anchorCtr="0">
            <a:sp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6DE6646E-6236-42C0-84D6-80C1677D7FE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752020" y="2236898"/>
            <a:ext cx="3077738" cy="3079305"/>
          </a:xfrm>
          <a:prstGeom prst="ellipse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1907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Emphase text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 userDrawn="1"/>
        </p:nvSpPr>
        <p:spPr>
          <a:xfrm flipH="1">
            <a:off x="6832600" y="0"/>
            <a:ext cx="535940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0061EAE-646C-4B45-9FFE-3953B923EB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401" y="460376"/>
            <a:ext cx="798285" cy="483054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4686" y="460375"/>
            <a:ext cx="10580913" cy="489365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75500" y="2340261"/>
            <a:ext cx="4610098" cy="2872581"/>
          </a:xfrm>
        </p:spPr>
        <p:txBody>
          <a:bodyPr wrap="square" anchor="ctr">
            <a:spAutoFit/>
          </a:bodyPr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40CA73D6-5029-48C7-A6FF-63BD5E7FA996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8190C9F-B4C5-4408-9550-66101DFC591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Rectangle 6">
              <a:extLst>
                <a:ext uri="{FF2B5EF4-FFF2-40B4-BE49-F238E27FC236}">
                  <a16:creationId xmlns:a16="http://schemas.microsoft.com/office/drawing/2014/main" id="{95435857-C8E6-4A62-8D07-002A3417B7B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DC9D34E-6669-4642-9EE5-53319F35BC15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9074C1B1-0B9A-4333-8630-4D101FF8965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15AED72B-DD6E-4458-9036-7DF4522D896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4" name="Espace réservé du texte 2">
            <a:extLst>
              <a:ext uri="{FF2B5EF4-FFF2-40B4-BE49-F238E27FC236}">
                <a16:creationId xmlns:a16="http://schemas.microsoft.com/office/drawing/2014/main" id="{DA2652C7-FC22-4C7B-B515-4AED821A34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028" y="972088"/>
            <a:ext cx="11385551" cy="400110"/>
          </a:xfrm>
        </p:spPr>
        <p:txBody>
          <a:bodyPr anchor="ctr" anchorCtr="0">
            <a:sp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0D0A6FB-C38B-4D86-9AB1-D5CBF9A308E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06402" y="2105004"/>
            <a:ext cx="5689598" cy="334309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606180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2D08959-DE77-46DB-ABA7-DC0CEC766780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C9181A6-DF10-441F-B476-018408812D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028" y="972088"/>
            <a:ext cx="11375571" cy="400110"/>
          </a:xfrm>
        </p:spPr>
        <p:txBody>
          <a:bodyPr wrap="square" anchor="ctr" anchorCtr="0">
            <a:sp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E790565F-4A33-4A20-98C7-DBFC1613A7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0049" y="1825625"/>
            <a:ext cx="11385551" cy="435133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0061EAE-646C-4B45-9FFE-3953B923EB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401" y="460376"/>
            <a:ext cx="798285" cy="483054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32B9077-4CB3-48CE-B975-B3418C13E6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961F6ADB-74F1-4286-8558-6F1B3887B790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EBC84BDB-EEB1-426C-87EB-4DDF8F085ED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Rectangle 6">
              <a:extLst>
                <a:ext uri="{FF2B5EF4-FFF2-40B4-BE49-F238E27FC236}">
                  <a16:creationId xmlns:a16="http://schemas.microsoft.com/office/drawing/2014/main" id="{753F6D4A-E9A4-4C73-8E79-92709FBA8ED5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45123BFB-EC65-468C-A7A3-5103B0C631E2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ABA70597-AB77-420E-9F18-9520F1CD378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FCBB9ACF-C421-4A74-A5F1-E82EA01F21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442819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s + Emphase text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orme libre : forme 34">
            <a:extLst>
              <a:ext uri="{FF2B5EF4-FFF2-40B4-BE49-F238E27FC236}">
                <a16:creationId xmlns:a16="http://schemas.microsoft.com/office/drawing/2014/main" id="{86F958CF-9779-4E87-A829-D59667F94C49}"/>
              </a:ext>
            </a:extLst>
          </p:cNvPr>
          <p:cNvSpPr/>
          <p:nvPr userDrawn="1"/>
        </p:nvSpPr>
        <p:spPr>
          <a:xfrm flipH="1">
            <a:off x="6832600" y="0"/>
            <a:ext cx="5359400" cy="6858001"/>
          </a:xfrm>
          <a:custGeom>
            <a:avLst/>
            <a:gdLst>
              <a:gd name="connsiteX0" fmla="*/ 5359400 w 5359400"/>
              <a:gd name="connsiteY0" fmla="*/ 0 h 6719502"/>
              <a:gd name="connsiteX1" fmla="*/ 0 w 5359400"/>
              <a:gd name="connsiteY1" fmla="*/ 0 h 6719502"/>
              <a:gd name="connsiteX2" fmla="*/ 0 w 5359400"/>
              <a:gd name="connsiteY2" fmla="*/ 6719502 h 6719502"/>
              <a:gd name="connsiteX3" fmla="*/ 5359400 w 5359400"/>
              <a:gd name="connsiteY3" fmla="*/ 6719502 h 6719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2">
                <a:moveTo>
                  <a:pt x="5359400" y="0"/>
                </a:moveTo>
                <a:lnTo>
                  <a:pt x="0" y="0"/>
                </a:lnTo>
                <a:lnTo>
                  <a:pt x="0" y="6719502"/>
                </a:lnTo>
                <a:lnTo>
                  <a:pt x="5359400" y="6719502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464C299-B9F3-4B34-A3C9-DE1E4411716E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0061EAE-646C-4B45-9FFE-3953B923EB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401" y="460376"/>
            <a:ext cx="798285" cy="483054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4686" y="460375"/>
            <a:ext cx="10580913" cy="489365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75500" y="2105004"/>
            <a:ext cx="4610098" cy="3343095"/>
          </a:xfrm>
        </p:spPr>
        <p:txBody>
          <a:bodyPr wrap="square" anchor="ctr">
            <a:sp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9AE5977-DD37-4F0E-8185-0FACFC40A7A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08297" y="2453112"/>
            <a:ext cx="4616007" cy="2646878"/>
          </a:xfrm>
        </p:spPr>
        <p:txBody>
          <a:bodyPr wrap="none" anchor="ctr">
            <a:spAutoFit/>
          </a:bodyPr>
          <a:lstStyle>
            <a:lvl1pPr marL="0" indent="0" algn="ctr">
              <a:lnSpc>
                <a:spcPct val="100000"/>
              </a:lnSpc>
              <a:buNone/>
              <a:defRPr sz="16600" b="0">
                <a:solidFill>
                  <a:schemeClr val="accent1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52%</a:t>
            </a:r>
          </a:p>
        </p:txBody>
      </p:sp>
      <p:grpSp>
        <p:nvGrpSpPr>
          <p:cNvPr id="15" name="Group 4">
            <a:extLst>
              <a:ext uri="{FF2B5EF4-FFF2-40B4-BE49-F238E27FC236}">
                <a16:creationId xmlns:a16="http://schemas.microsoft.com/office/drawing/2014/main" id="{035FEF06-8C0C-4CE1-B81B-406E4BB28C7B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DB2D83AB-A346-4B84-AFB6-5FBAEAE5335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Rectangle 6">
              <a:extLst>
                <a:ext uri="{FF2B5EF4-FFF2-40B4-BE49-F238E27FC236}">
                  <a16:creationId xmlns:a16="http://schemas.microsoft.com/office/drawing/2014/main" id="{EAE5CA97-D3D8-41C1-A06A-E074C25EDA6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EA2BCF23-7EC7-4B91-8C6E-F94D422EE136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F638DC63-51C8-4EE3-BDA5-6B658F409B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070E8995-2555-4052-AAA5-A88D8D02D87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7" name="Espace réservé du texte 2">
            <a:extLst>
              <a:ext uri="{FF2B5EF4-FFF2-40B4-BE49-F238E27FC236}">
                <a16:creationId xmlns:a16="http://schemas.microsoft.com/office/drawing/2014/main" id="{C95F4AA7-DC43-4F48-A521-39EA6BAE856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028" y="972088"/>
            <a:ext cx="11385551" cy="400110"/>
          </a:xfrm>
        </p:spPr>
        <p:txBody>
          <a:bodyPr anchor="ctr" anchorCtr="0">
            <a:sp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2021631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Emphase text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 userDrawn="1"/>
        </p:nvSpPr>
        <p:spPr>
          <a:xfrm flipH="1">
            <a:off x="6832600" y="0"/>
            <a:ext cx="535940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0061EAE-646C-4B45-9FFE-3953B923EB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401" y="460376"/>
            <a:ext cx="798285" cy="483054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4686" y="460375"/>
            <a:ext cx="10580913" cy="489365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75500" y="2340261"/>
            <a:ext cx="4610098" cy="2872581"/>
          </a:xfrm>
        </p:spPr>
        <p:txBody>
          <a:bodyPr wrap="square" anchor="ctr">
            <a:spAutoFit/>
          </a:bodyPr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40CA73D6-5029-48C7-A6FF-63BD5E7FA996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8190C9F-B4C5-4408-9550-66101DFC591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Rectangle 6">
              <a:extLst>
                <a:ext uri="{FF2B5EF4-FFF2-40B4-BE49-F238E27FC236}">
                  <a16:creationId xmlns:a16="http://schemas.microsoft.com/office/drawing/2014/main" id="{95435857-C8E6-4A62-8D07-002A3417B7B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DC9D34E-6669-4642-9EE5-53319F35BC15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9074C1B1-0B9A-4333-8630-4D101FF8965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15AED72B-DD6E-4458-9036-7DF4522D896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4" name="Espace réservé du texte 2">
            <a:extLst>
              <a:ext uri="{FF2B5EF4-FFF2-40B4-BE49-F238E27FC236}">
                <a16:creationId xmlns:a16="http://schemas.microsoft.com/office/drawing/2014/main" id="{DA2652C7-FC22-4C7B-B515-4AED821A34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028" y="972088"/>
            <a:ext cx="11385551" cy="400110"/>
          </a:xfrm>
        </p:spPr>
        <p:txBody>
          <a:bodyPr anchor="ctr" anchorCtr="0">
            <a:sp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6DE6646E-6236-42C0-84D6-80C1677D7FE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06401" y="1981221"/>
            <a:ext cx="1191495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4754A0E4-1B40-4D75-9EBC-E95D5EB912B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767222" y="1981221"/>
            <a:ext cx="1191495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F94AC08A-DC54-4569-9E46-A5DEB54EA49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128043" y="1981221"/>
            <a:ext cx="1191495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55CEF124-2140-4B8F-970B-1EB5471F84B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06401" y="3978128"/>
            <a:ext cx="1191495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97EC0EB0-D71E-4DBA-9E3B-0974C7F446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2767222" y="3978128"/>
            <a:ext cx="1191495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12DF89A0-EEA6-4611-8D03-AA7331B76599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128043" y="3978128"/>
            <a:ext cx="1191495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90159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Emphase text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 userDrawn="1"/>
        </p:nvSpPr>
        <p:spPr>
          <a:xfrm flipH="1">
            <a:off x="6832600" y="0"/>
            <a:ext cx="535940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0061EAE-646C-4B45-9FFE-3953B923EB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401" y="460376"/>
            <a:ext cx="798285" cy="483054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4686" y="460375"/>
            <a:ext cx="10580913" cy="489365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75500" y="2340261"/>
            <a:ext cx="4610098" cy="2872581"/>
          </a:xfrm>
        </p:spPr>
        <p:txBody>
          <a:bodyPr wrap="square" anchor="ctr">
            <a:spAutoFit/>
          </a:bodyPr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40CA73D6-5029-48C7-A6FF-63BD5E7FA996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8190C9F-B4C5-4408-9550-66101DFC591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Rectangle 6">
              <a:extLst>
                <a:ext uri="{FF2B5EF4-FFF2-40B4-BE49-F238E27FC236}">
                  <a16:creationId xmlns:a16="http://schemas.microsoft.com/office/drawing/2014/main" id="{95435857-C8E6-4A62-8D07-002A3417B7B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DC9D34E-6669-4642-9EE5-53319F35BC15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9074C1B1-0B9A-4333-8630-4D101FF8965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15AED72B-DD6E-4458-9036-7DF4522D896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4" name="Espace réservé du texte 2">
            <a:extLst>
              <a:ext uri="{FF2B5EF4-FFF2-40B4-BE49-F238E27FC236}">
                <a16:creationId xmlns:a16="http://schemas.microsoft.com/office/drawing/2014/main" id="{DA2652C7-FC22-4C7B-B515-4AED821A34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028" y="972088"/>
            <a:ext cx="11385551" cy="400110"/>
          </a:xfrm>
        </p:spPr>
        <p:txBody>
          <a:bodyPr anchor="ctr" anchorCtr="0">
            <a:sp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0D0A6FB-C38B-4D86-9AB1-D5CBF9A308E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06402" y="1902076"/>
            <a:ext cx="6019796" cy="1060889"/>
          </a:xfr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F2919BC3-406A-48E3-9A33-E2354A0DA4CE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06402" y="3169321"/>
            <a:ext cx="6019796" cy="1060889"/>
          </a:xfr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B8AA2B86-C6BF-4413-821D-369BD1A48C2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06402" y="4436566"/>
            <a:ext cx="6019796" cy="1060889"/>
          </a:xfrm>
        </p:spPr>
        <p:txBody>
          <a:bodyPr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712561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re et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64BF591-850E-49B2-98D8-C2C56C02AB06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C9181A6-DF10-441F-B476-018408812D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028" y="972088"/>
            <a:ext cx="11385551" cy="400110"/>
          </a:xfrm>
        </p:spPr>
        <p:txBody>
          <a:bodyPr anchor="ctr" anchorCtr="0">
            <a:sp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0061EAE-646C-4B45-9FFE-3953B923EB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401" y="460376"/>
            <a:ext cx="798285" cy="483054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4686" y="460375"/>
            <a:ext cx="10580913" cy="489365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75500" y="2817312"/>
            <a:ext cx="4610098" cy="1918474"/>
          </a:xfrm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3" name="Espace réservé pour une image  22">
            <a:extLst>
              <a:ext uri="{FF2B5EF4-FFF2-40B4-BE49-F238E27FC236}">
                <a16:creationId xmlns:a16="http://schemas.microsoft.com/office/drawing/2014/main" id="{C3A2AC48-8A60-4346-99E2-C569274B193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1777999"/>
            <a:ext cx="6832601" cy="4098926"/>
          </a:xfrm>
          <a:custGeom>
            <a:avLst/>
            <a:gdLst>
              <a:gd name="connsiteX0" fmla="*/ 0 w 6663711"/>
              <a:gd name="connsiteY0" fmla="*/ 0 h 4098926"/>
              <a:gd name="connsiteX1" fmla="*/ 6663711 w 6663711"/>
              <a:gd name="connsiteY1" fmla="*/ 0 h 4098926"/>
              <a:gd name="connsiteX2" fmla="*/ 6663711 w 6663711"/>
              <a:gd name="connsiteY2" fmla="*/ 4098926 h 4098926"/>
              <a:gd name="connsiteX3" fmla="*/ 0 w 6663711"/>
              <a:gd name="connsiteY3" fmla="*/ 4098926 h 4098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63711" h="4098926">
                <a:moveTo>
                  <a:pt x="0" y="0"/>
                </a:moveTo>
                <a:lnTo>
                  <a:pt x="6663711" y="0"/>
                </a:lnTo>
                <a:lnTo>
                  <a:pt x="6663711" y="4098926"/>
                </a:lnTo>
                <a:lnTo>
                  <a:pt x="0" y="4098926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7267A47F-6538-403B-9482-1E09DB8AD8EF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E4EE2078-EAB6-43FC-8FD5-AA95173CDCD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Rectangle 6">
              <a:extLst>
                <a:ext uri="{FF2B5EF4-FFF2-40B4-BE49-F238E27FC236}">
                  <a16:creationId xmlns:a16="http://schemas.microsoft.com/office/drawing/2014/main" id="{3073D684-4B07-4CA5-AE27-B65ACE038AF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2625B056-3BF9-4B8D-93C0-825B6D0634B6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B46037BA-695E-45D8-B78B-0E9ACB4A8FE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AFB8E467-7C23-4076-B48D-292EBD1719F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4056769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Accentuation v1">
    <p:bg>
      <p:bgPr>
        <a:solidFill>
          <a:schemeClr val="accent4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F35FFE8-8C10-4D16-BAD1-37CF34655284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C9181A6-DF10-441F-B476-018408812D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028" y="972088"/>
            <a:ext cx="11385551" cy="400110"/>
          </a:xfrm>
        </p:spPr>
        <p:txBody>
          <a:bodyPr anchor="ctr" anchorCtr="0">
            <a:sp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0061EAE-646C-4B45-9FFE-3953B923EB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401" y="460376"/>
            <a:ext cx="798285" cy="483054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6399" y="3484162"/>
            <a:ext cx="11385551" cy="584775"/>
          </a:xfrm>
        </p:spPr>
        <p:txBody>
          <a:bodyPr wrap="square" anchor="ctr">
            <a:spAutoFit/>
          </a:bodyPr>
          <a:lstStyle>
            <a:lvl1pPr marL="0" indent="0">
              <a:buNone/>
              <a:defRPr sz="3200" b="0">
                <a:solidFill>
                  <a:schemeClr val="tx1"/>
                </a:solidFill>
                <a:latin typeface="+mj-lt"/>
              </a:defRPr>
            </a:lvl1pPr>
            <a:lvl2pPr marL="131763" indent="0">
              <a:buFont typeface="Arial" panose="020B0604020202020204" pitchFamily="34" charset="0"/>
              <a:buNone/>
              <a:defRPr sz="2800" b="0">
                <a:latin typeface="+mj-lt"/>
              </a:defRPr>
            </a:lvl2pPr>
            <a:lvl3pPr marL="398463" indent="0">
              <a:buNone/>
              <a:defRPr sz="2400" b="0">
                <a:latin typeface="+mj-lt"/>
              </a:defRPr>
            </a:lvl3pPr>
            <a:lvl4pPr marL="665163" indent="0">
              <a:buNone/>
              <a:defRPr sz="2000" b="0">
                <a:latin typeface="+mj-lt"/>
              </a:defRPr>
            </a:lvl4pPr>
            <a:lvl5pPr marL="931863" indent="0">
              <a:buNone/>
              <a:defRPr sz="2000" b="0">
                <a:latin typeface="+mj-lt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D725C2BD-BE79-4322-BEFD-B6560ABE7F3D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26BC2FA4-44DC-4D8A-BC22-FB01F3B5D61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Rectangle 6">
              <a:extLst>
                <a:ext uri="{FF2B5EF4-FFF2-40B4-BE49-F238E27FC236}">
                  <a16:creationId xmlns:a16="http://schemas.microsoft.com/office/drawing/2014/main" id="{2DFBAE50-2A0E-4A01-AA98-5F04927753F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63A1CF91-3F5D-4F03-8A85-8F958E24D67C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6D0AEA0C-AD73-43E0-A20D-A8BBBCA5612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4F1E026B-EE52-4F04-AF2E-FAE681A0112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647402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Accentuation v2">
    <p:bg>
      <p:bgPr>
        <a:solidFill>
          <a:schemeClr val="accent2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6B77D9F-424D-4DDA-B3D8-60D2F8A8CB97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C9181A6-DF10-441F-B476-018408812D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028" y="972088"/>
            <a:ext cx="11385551" cy="400110"/>
          </a:xfrm>
        </p:spPr>
        <p:txBody>
          <a:bodyPr anchor="ctr" anchorCtr="0">
            <a:sp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0061EAE-646C-4B45-9FFE-3953B923EB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401" y="460376"/>
            <a:ext cx="798285" cy="483054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6399" y="3484162"/>
            <a:ext cx="11385551" cy="584775"/>
          </a:xfrm>
        </p:spPr>
        <p:txBody>
          <a:bodyPr wrap="square" anchor="ctr">
            <a:spAutoFit/>
          </a:bodyPr>
          <a:lstStyle>
            <a:lvl1pPr marL="0" indent="0">
              <a:buNone/>
              <a:defRPr sz="3200" b="0">
                <a:solidFill>
                  <a:schemeClr val="tx1"/>
                </a:solidFill>
                <a:latin typeface="+mj-lt"/>
              </a:defRPr>
            </a:lvl1pPr>
            <a:lvl2pPr marL="131763" indent="0">
              <a:buFont typeface="Arial" panose="020B0604020202020204" pitchFamily="34" charset="0"/>
              <a:buNone/>
              <a:defRPr sz="2800" b="0">
                <a:latin typeface="+mj-lt"/>
              </a:defRPr>
            </a:lvl2pPr>
            <a:lvl3pPr marL="398463" indent="0">
              <a:buNone/>
              <a:defRPr sz="2400" b="0">
                <a:latin typeface="+mj-lt"/>
              </a:defRPr>
            </a:lvl3pPr>
            <a:lvl4pPr marL="665163" indent="0">
              <a:buNone/>
              <a:defRPr sz="2000" b="0">
                <a:latin typeface="+mj-lt"/>
              </a:defRPr>
            </a:lvl4pPr>
            <a:lvl5pPr marL="931863" indent="0">
              <a:buNone/>
              <a:defRPr sz="2000" b="0">
                <a:latin typeface="+mj-lt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FF250CB-5F9B-401F-8150-514565415CC9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E2F6C317-4462-4BA1-8348-EF0CE4E9A67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Rectangle 6">
              <a:extLst>
                <a:ext uri="{FF2B5EF4-FFF2-40B4-BE49-F238E27FC236}">
                  <a16:creationId xmlns:a16="http://schemas.microsoft.com/office/drawing/2014/main" id="{D9265160-9D1A-475C-B212-05B2054512F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E2DDAE82-9B40-4721-9BE7-B9E1F72AFFCA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D5870439-A04B-482B-A638-A5A801C042B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7CF18DF6-51BF-4630-9521-067B6EB7288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876286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Accentuation v3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F8A5EC5-A781-43B0-9E3D-2F51247B7DBE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C9181A6-DF10-441F-B476-018408812D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028" y="972088"/>
            <a:ext cx="11385551" cy="400110"/>
          </a:xfrm>
        </p:spPr>
        <p:txBody>
          <a:bodyPr anchor="ctr" anchorCtr="0">
            <a:sp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0061EAE-646C-4B45-9FFE-3953B923EB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401" y="460376"/>
            <a:ext cx="798285" cy="483054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6399" y="3484162"/>
            <a:ext cx="11385551" cy="584775"/>
          </a:xfrm>
        </p:spPr>
        <p:txBody>
          <a:bodyPr wrap="square" anchor="ctr">
            <a:spAutoFit/>
          </a:bodyPr>
          <a:lstStyle>
            <a:lvl1pPr marL="0" indent="0">
              <a:buNone/>
              <a:defRPr sz="3200" b="0">
                <a:solidFill>
                  <a:schemeClr val="tx1"/>
                </a:solidFill>
                <a:latin typeface="+mj-lt"/>
              </a:defRPr>
            </a:lvl1pPr>
            <a:lvl2pPr marL="131763" indent="0">
              <a:buFont typeface="Arial" panose="020B0604020202020204" pitchFamily="34" charset="0"/>
              <a:buNone/>
              <a:defRPr sz="2800" b="0">
                <a:latin typeface="+mj-lt"/>
              </a:defRPr>
            </a:lvl2pPr>
            <a:lvl3pPr marL="398463" indent="0">
              <a:buNone/>
              <a:defRPr sz="2400" b="0">
                <a:latin typeface="+mj-lt"/>
              </a:defRPr>
            </a:lvl3pPr>
            <a:lvl4pPr marL="665163" indent="0">
              <a:buNone/>
              <a:defRPr sz="2000" b="0">
                <a:latin typeface="+mj-lt"/>
              </a:defRPr>
            </a:lvl4pPr>
            <a:lvl5pPr marL="931863" indent="0">
              <a:buNone/>
              <a:defRPr sz="2000" b="0">
                <a:latin typeface="+mj-lt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42CBA7F9-90FD-4868-B191-4FCC59432AB1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7C1BA118-BF97-4EA4-9634-8C18831C198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Rectangle 6">
              <a:extLst>
                <a:ext uri="{FF2B5EF4-FFF2-40B4-BE49-F238E27FC236}">
                  <a16:creationId xmlns:a16="http://schemas.microsoft.com/office/drawing/2014/main" id="{AE82A1EC-AA06-44DF-BEB9-95BBFB57DBA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7DEE7AE0-6B3C-4E61-8382-5ADD9088CB73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8FD97833-49A5-490B-B6FB-364A89637CE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47B43D41-F1CB-4CB0-AC7F-EE77ACC84E1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043634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77143" y="754288"/>
            <a:ext cx="1567543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660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77143" y="2917372"/>
            <a:ext cx="8287658" cy="544765"/>
          </a:xfrm>
        </p:spPr>
        <p:txBody>
          <a:bodyPr anchor="t" anchorCtr="0">
            <a:spAutoFit/>
          </a:bodyPr>
          <a:lstStyle>
            <a:lvl1pPr marL="0" indent="0">
              <a:buNone/>
              <a:defRPr sz="360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79513E41-B7E0-4789-B168-0F0B8E0569F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77143" y="4168004"/>
            <a:ext cx="505908" cy="369332"/>
          </a:xfrm>
        </p:spPr>
        <p:txBody>
          <a:bodyPr wrap="none">
            <a:spAutoFit/>
          </a:bodyPr>
          <a:lstStyle>
            <a:lvl1pPr>
              <a:defRPr sz="1800">
                <a:solidFill>
                  <a:schemeClr val="tx1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16" name="Espace réservé du texte 3">
            <a:extLst>
              <a:ext uri="{FF2B5EF4-FFF2-40B4-BE49-F238E27FC236}">
                <a16:creationId xmlns:a16="http://schemas.microsoft.com/office/drawing/2014/main" id="{5FE700EE-0FCE-49C5-9867-C349D931C4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01829" y="4168004"/>
            <a:ext cx="7762972" cy="36933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7" name="Espace réservé du texte 3">
            <a:extLst>
              <a:ext uri="{FF2B5EF4-FFF2-40B4-BE49-F238E27FC236}">
                <a16:creationId xmlns:a16="http://schemas.microsoft.com/office/drawing/2014/main" id="{C4754D67-D3BB-48E1-8246-80DAF6C48B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7143" y="4574404"/>
            <a:ext cx="520335" cy="369332"/>
          </a:xfrm>
        </p:spPr>
        <p:txBody>
          <a:bodyPr wrap="none">
            <a:spAutoFit/>
          </a:bodyPr>
          <a:lstStyle>
            <a:lvl1pPr>
              <a:defRPr sz="1800">
                <a:solidFill>
                  <a:schemeClr val="tx1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B42A68A0-E21A-44A9-8FEB-8A6846AFD4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01829" y="4574404"/>
            <a:ext cx="7762972" cy="36933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id="{C8A4DCDE-E5F2-49C5-9231-9F014186E7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77143" y="4980804"/>
            <a:ext cx="523541" cy="369332"/>
          </a:xfrm>
        </p:spPr>
        <p:txBody>
          <a:bodyPr wrap="none">
            <a:spAutoFit/>
          </a:bodyPr>
          <a:lstStyle>
            <a:lvl1pPr>
              <a:defRPr sz="1800">
                <a:solidFill>
                  <a:schemeClr val="tx1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id="{E739E720-FF0C-4CF2-A2A5-7D83611C23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01829" y="4980804"/>
            <a:ext cx="7762972" cy="36933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id="{B468561D-E402-46B2-92AA-C03E0CA710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77143" y="5387204"/>
            <a:ext cx="526747" cy="369332"/>
          </a:xfrm>
        </p:spPr>
        <p:txBody>
          <a:bodyPr wrap="none">
            <a:spAutoFit/>
          </a:bodyPr>
          <a:lstStyle>
            <a:lvl1pPr>
              <a:defRPr sz="1800">
                <a:solidFill>
                  <a:schemeClr val="tx1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22" name="Espace réservé du texte 3">
            <a:extLst>
              <a:ext uri="{FF2B5EF4-FFF2-40B4-BE49-F238E27FC236}">
                <a16:creationId xmlns:a16="http://schemas.microsoft.com/office/drawing/2014/main" id="{8F0F2270-5736-48F1-B31A-BCD2AEA038A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01829" y="5387204"/>
            <a:ext cx="7762972" cy="36933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23" name="Espace réservé du texte 3">
            <a:extLst>
              <a:ext uri="{FF2B5EF4-FFF2-40B4-BE49-F238E27FC236}">
                <a16:creationId xmlns:a16="http://schemas.microsoft.com/office/drawing/2014/main" id="{9A2FF6D0-8561-4DE2-8AD7-693A51B1E17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177143" y="5793604"/>
            <a:ext cx="525144" cy="369332"/>
          </a:xfrm>
        </p:spPr>
        <p:txBody>
          <a:bodyPr wrap="none">
            <a:spAutoFit/>
          </a:bodyPr>
          <a:lstStyle>
            <a:lvl1pPr>
              <a:defRPr sz="1800">
                <a:solidFill>
                  <a:schemeClr val="tx1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24" name="Espace réservé du texte 3">
            <a:extLst>
              <a:ext uri="{FF2B5EF4-FFF2-40B4-BE49-F238E27FC236}">
                <a16:creationId xmlns:a16="http://schemas.microsoft.com/office/drawing/2014/main" id="{0A9979DA-ADC5-4B49-9DFC-C025BE6A689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01829" y="5793604"/>
            <a:ext cx="7762972" cy="36933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grpSp>
        <p:nvGrpSpPr>
          <p:cNvPr id="25" name="Group 4">
            <a:extLst>
              <a:ext uri="{FF2B5EF4-FFF2-40B4-BE49-F238E27FC236}">
                <a16:creationId xmlns:a16="http://schemas.microsoft.com/office/drawing/2014/main" id="{8B47341E-095F-44EE-AEC0-BFB705D0696C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0CBD2506-8381-43B4-A24D-1F6E0EF43EA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Rectangle 6">
              <a:extLst>
                <a:ext uri="{FF2B5EF4-FFF2-40B4-BE49-F238E27FC236}">
                  <a16:creationId xmlns:a16="http://schemas.microsoft.com/office/drawing/2014/main" id="{FAF3353B-C698-4F6B-ACC2-22E5CFB3132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BF053C87-0885-4A32-A539-35C6D81EA5C4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7504B799-9806-49A7-A023-055912C92B7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0C79957D-5535-47A6-8AED-11D5E403DF2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840506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77143" y="2917372"/>
            <a:ext cx="8287658" cy="544765"/>
          </a:xfrm>
        </p:spPr>
        <p:txBody>
          <a:bodyPr anchor="t" anchorCtr="0">
            <a:spAutoFit/>
          </a:bodyPr>
          <a:lstStyle>
            <a:lvl1pPr marL="0" indent="0">
              <a:buNone/>
              <a:defRPr sz="36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77143" y="754288"/>
            <a:ext cx="1567543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660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8" name="Espace réservé du texte 3">
            <a:extLst>
              <a:ext uri="{FF2B5EF4-FFF2-40B4-BE49-F238E27FC236}">
                <a16:creationId xmlns:a16="http://schemas.microsoft.com/office/drawing/2014/main" id="{9EAF5090-4FE4-40D4-B56D-DEC1B9C912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77143" y="4168004"/>
            <a:ext cx="505908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6B0E5530-DB90-4BBD-8D09-D36F0EDF75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01829" y="41680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02B62836-B07B-4DA3-A36E-FA590D2582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7143" y="4574404"/>
            <a:ext cx="520335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992700A3-94B4-4595-9D72-478A947D075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01829" y="45744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44C72D99-87A0-40D6-B32A-0088521FA0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77143" y="4980804"/>
            <a:ext cx="523541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B6E3E8C4-BA6A-4942-A1CD-821391D0C5C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01829" y="49808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CDA6CB76-3F86-4AFF-B4BE-A48EA53D7EC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77143" y="5387204"/>
            <a:ext cx="526747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16" name="Espace réservé du texte 3">
            <a:extLst>
              <a:ext uri="{FF2B5EF4-FFF2-40B4-BE49-F238E27FC236}">
                <a16:creationId xmlns:a16="http://schemas.microsoft.com/office/drawing/2014/main" id="{1E9E25CB-2472-4E9B-87B3-F475B2541D5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01829" y="53872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7" name="Espace réservé du texte 3">
            <a:extLst>
              <a:ext uri="{FF2B5EF4-FFF2-40B4-BE49-F238E27FC236}">
                <a16:creationId xmlns:a16="http://schemas.microsoft.com/office/drawing/2014/main" id="{99F92B3B-3A14-4AB6-AF6C-516B73AD606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177143" y="5793604"/>
            <a:ext cx="525144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E5C8FB09-71D9-4892-9A1A-346414281A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01829" y="57936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grpSp>
        <p:nvGrpSpPr>
          <p:cNvPr id="19" name="Group 4">
            <a:extLst>
              <a:ext uri="{FF2B5EF4-FFF2-40B4-BE49-F238E27FC236}">
                <a16:creationId xmlns:a16="http://schemas.microsoft.com/office/drawing/2014/main" id="{442F0C3D-4E30-4254-8F62-93C200D27D5D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D35E87A7-3937-4B24-AFC2-F29C362622D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Rectangle 6">
              <a:extLst>
                <a:ext uri="{FF2B5EF4-FFF2-40B4-BE49-F238E27FC236}">
                  <a16:creationId xmlns:a16="http://schemas.microsoft.com/office/drawing/2014/main" id="{9E77ED0B-9C38-4367-8ADF-F6636D86B4F5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7E6147CA-A2AC-437E-B1CA-53FD7C71167D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1459B17D-4CB8-4433-B800-051F9F82AED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308F9214-A676-4D8B-9785-AECA77BF059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4052819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77143" y="2917372"/>
            <a:ext cx="8287658" cy="544765"/>
          </a:xfrm>
        </p:spPr>
        <p:txBody>
          <a:bodyPr anchor="t" anchorCtr="0">
            <a:spAutoFit/>
          </a:bodyPr>
          <a:lstStyle>
            <a:lvl1pPr marL="0" indent="0">
              <a:buNone/>
              <a:defRPr sz="36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77143" y="754288"/>
            <a:ext cx="1567543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660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8" name="Espace réservé du texte 3">
            <a:extLst>
              <a:ext uri="{FF2B5EF4-FFF2-40B4-BE49-F238E27FC236}">
                <a16:creationId xmlns:a16="http://schemas.microsoft.com/office/drawing/2014/main" id="{BD8CE2C9-4ADF-4537-B1E3-6638B9C9DC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77143" y="4168004"/>
            <a:ext cx="505908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5DC57868-3A89-4EBE-A976-5DFBFB22A6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01829" y="41680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1E124F59-291D-4EDB-9036-740B4F3FED1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7143" y="4574404"/>
            <a:ext cx="520335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A7E88F9F-8644-418A-849C-2C3A0B9545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01829" y="45744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FABA6DC2-0DE5-4454-A517-E1F3EC0DCF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77143" y="4980804"/>
            <a:ext cx="523541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93056303-DEC0-46FE-9E9D-663B08E827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01829" y="49808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4AE4E4D4-F945-432F-8A71-AC1B5FD0C5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77143" y="5387204"/>
            <a:ext cx="526747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16" name="Espace réservé du texte 3">
            <a:extLst>
              <a:ext uri="{FF2B5EF4-FFF2-40B4-BE49-F238E27FC236}">
                <a16:creationId xmlns:a16="http://schemas.microsoft.com/office/drawing/2014/main" id="{FB655D46-92B2-403E-A003-816C25E0F25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01829" y="53872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7" name="Espace réservé du texte 3">
            <a:extLst>
              <a:ext uri="{FF2B5EF4-FFF2-40B4-BE49-F238E27FC236}">
                <a16:creationId xmlns:a16="http://schemas.microsoft.com/office/drawing/2014/main" id="{BFAE204D-8189-4996-8585-E9B70BCCA44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177143" y="5793604"/>
            <a:ext cx="525144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19000C0F-60DF-4688-9F01-4FF4EC9BB08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01829" y="57936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grpSp>
        <p:nvGrpSpPr>
          <p:cNvPr id="19" name="Group 4">
            <a:extLst>
              <a:ext uri="{FF2B5EF4-FFF2-40B4-BE49-F238E27FC236}">
                <a16:creationId xmlns:a16="http://schemas.microsoft.com/office/drawing/2014/main" id="{02BF7A19-F712-42B1-90FC-BB7DB4B3D5F7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04724D9A-7656-46BD-83AF-499752D70BA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Rectangle 6">
              <a:extLst>
                <a:ext uri="{FF2B5EF4-FFF2-40B4-BE49-F238E27FC236}">
                  <a16:creationId xmlns:a16="http://schemas.microsoft.com/office/drawing/2014/main" id="{4CEB56BB-DA51-401C-B494-1F6CE4AFE76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C87D8022-F56D-48C7-91AF-DAAC185DAA5D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75C77E67-AD25-4D82-8145-EB45A4B66A6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78247136-828C-44F9-9C1D-09D388FEC3E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618359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uverture Fond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8EDF1C6-E97E-48D9-8D20-948AB20D5E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0049" y="803048"/>
            <a:ext cx="10267951" cy="706437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4800">
                <a:solidFill>
                  <a:schemeClr val="tx1"/>
                </a:solidFill>
                <a:latin typeface="MAIF Light" panose="020B0403020200030B04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54CD9051-5A79-4E1B-B914-7591251C62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0049" y="1468438"/>
            <a:ext cx="10267951" cy="505505"/>
          </a:xfrm>
        </p:spPr>
        <p:txBody>
          <a:bodyPr/>
          <a:lstStyle>
            <a:lvl1pPr marL="174625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1D1F3D4-7166-4EA4-8112-066CDB4B6D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00049" y="464456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fld id="{9047EA75-1571-4DC8-8712-B6EC444F4368}" type="datetime1">
              <a:rPr lang="en-GB" smtClean="0"/>
              <a:pPr/>
              <a:t>02/10/2019</a:t>
            </a:fld>
            <a:endParaRPr lang="en-GB" dirty="0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F0C570F8-2A59-4F84-AA9E-36ED9DD1E66D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4592701" y="2373766"/>
            <a:ext cx="2687284" cy="2110468"/>
            <a:chOff x="2652" y="1228"/>
            <a:chExt cx="2376" cy="186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D6F15B3C-6051-4198-84F6-AEFB19EAB56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Rectangle 6">
              <a:extLst>
                <a:ext uri="{FF2B5EF4-FFF2-40B4-BE49-F238E27FC236}">
                  <a16:creationId xmlns:a16="http://schemas.microsoft.com/office/drawing/2014/main" id="{11EA7D39-A205-454B-8D3B-DB22021166F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EAD5D91B-ED2A-4F70-96DB-4CB326761404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FFCCFE80-2081-4C0A-879D-F0EA9D4D626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804CC746-347A-4FAF-8385-0EB43FA5FDC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4294C3B9-F982-4AA5-A713-6AE0D66D91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33450" y="6858000"/>
            <a:ext cx="1724025" cy="365125"/>
          </a:xfrm>
        </p:spPr>
        <p:txBody>
          <a:bodyPr/>
          <a:lstStyle>
            <a:lvl1pPr>
              <a:defRPr sz="100"/>
            </a:lvl1pPr>
          </a:lstStyle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A0F35AB9-B9F0-4DCB-A010-640FCC46F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00049" y="6858000"/>
            <a:ext cx="523875" cy="365125"/>
          </a:xfrm>
        </p:spPr>
        <p:txBody>
          <a:bodyPr/>
          <a:lstStyle>
            <a:lvl1pPr>
              <a:defRPr sz="100"/>
            </a:lvl1pPr>
          </a:lstStyle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9803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77143" y="2917372"/>
            <a:ext cx="8287658" cy="544765"/>
          </a:xfrm>
        </p:spPr>
        <p:txBody>
          <a:bodyPr anchor="t" anchorCtr="0">
            <a:spAutoFit/>
          </a:bodyPr>
          <a:lstStyle>
            <a:lvl1pPr marL="0" indent="0">
              <a:buNone/>
              <a:defRPr sz="36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77143" y="754288"/>
            <a:ext cx="1567543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66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8" name="Espace réservé du texte 3">
            <a:extLst>
              <a:ext uri="{FF2B5EF4-FFF2-40B4-BE49-F238E27FC236}">
                <a16:creationId xmlns:a16="http://schemas.microsoft.com/office/drawing/2014/main" id="{4ED6EE49-C01D-427E-9971-559F076BC5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77143" y="4168004"/>
            <a:ext cx="505908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C266B2C0-5096-4069-89A0-57E8A7C8D9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01829" y="41680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6407A47F-55DC-4608-A587-D1C6F57C2F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7143" y="4574404"/>
            <a:ext cx="520335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6323D45E-4E10-4BA3-ABD9-987A3180DD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01829" y="45744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CAF60788-8485-42CA-9661-79C991A57E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77143" y="4980804"/>
            <a:ext cx="523541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036F8739-67B1-4659-96EE-1AE1AFAA7B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01829" y="49808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439F7334-832D-48D2-8645-52EA8DD250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77143" y="5387204"/>
            <a:ext cx="526747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16" name="Espace réservé du texte 3">
            <a:extLst>
              <a:ext uri="{FF2B5EF4-FFF2-40B4-BE49-F238E27FC236}">
                <a16:creationId xmlns:a16="http://schemas.microsoft.com/office/drawing/2014/main" id="{B108639E-445A-4771-BCAF-5DF90C4185E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01829" y="53872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7" name="Espace réservé du texte 3">
            <a:extLst>
              <a:ext uri="{FF2B5EF4-FFF2-40B4-BE49-F238E27FC236}">
                <a16:creationId xmlns:a16="http://schemas.microsoft.com/office/drawing/2014/main" id="{D7A32799-57C3-46A4-B322-7467175A5C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177143" y="5793604"/>
            <a:ext cx="525144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E580E110-951D-4FA2-A284-0E9F75ABCF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01829" y="57936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grpSp>
        <p:nvGrpSpPr>
          <p:cNvPr id="19" name="Group 4">
            <a:extLst>
              <a:ext uri="{FF2B5EF4-FFF2-40B4-BE49-F238E27FC236}">
                <a16:creationId xmlns:a16="http://schemas.microsoft.com/office/drawing/2014/main" id="{038B4B20-6966-43EF-AFB1-4E29F8D7C2A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E0749E06-0443-438C-ADBC-D2E49C30D4A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Rectangle 6">
              <a:extLst>
                <a:ext uri="{FF2B5EF4-FFF2-40B4-BE49-F238E27FC236}">
                  <a16:creationId xmlns:a16="http://schemas.microsoft.com/office/drawing/2014/main" id="{E6C1B587-E9C2-405A-938A-A7F294DCCD8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20A8481A-81A9-4710-9068-C5F5021457FF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2D599603-10FF-483D-953B-17C34A98CD1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5CBA25E4-E879-477F-9E28-FE10C8CA118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310044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77143" y="2917372"/>
            <a:ext cx="8287658" cy="544765"/>
          </a:xfrm>
        </p:spPr>
        <p:txBody>
          <a:bodyPr anchor="t" anchorCtr="0">
            <a:spAutoFit/>
          </a:bodyPr>
          <a:lstStyle>
            <a:lvl1pPr marL="0" indent="0">
              <a:buNone/>
              <a:defRPr sz="36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77143" y="754288"/>
            <a:ext cx="1567543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6600" b="1">
                <a:solidFill>
                  <a:schemeClr val="bg2">
                    <a:lumMod val="40000"/>
                    <a:lumOff val="6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8" name="Espace réservé du texte 3">
            <a:extLst>
              <a:ext uri="{FF2B5EF4-FFF2-40B4-BE49-F238E27FC236}">
                <a16:creationId xmlns:a16="http://schemas.microsoft.com/office/drawing/2014/main" id="{344F9780-3BC2-4DCA-BCB7-32A341A9C24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77143" y="4168004"/>
            <a:ext cx="505908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ACA71369-E1EC-416B-90B8-3319A35AC5C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01829" y="41680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721FDE0B-8F69-4445-B5A7-D2DDE21EBF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7143" y="4574404"/>
            <a:ext cx="520335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00E24EFB-E577-4529-B112-03A3EB1B944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01829" y="45744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7F47570A-1821-4415-90F5-8AB04A43FAF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77143" y="4980804"/>
            <a:ext cx="523541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F96201E5-1332-499D-AB0F-DD33A55983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01829" y="49808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BC483EEE-F7F3-4CCA-BC8A-AC5F8AFE31D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77143" y="5387204"/>
            <a:ext cx="526747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16" name="Espace réservé du texte 3">
            <a:extLst>
              <a:ext uri="{FF2B5EF4-FFF2-40B4-BE49-F238E27FC236}">
                <a16:creationId xmlns:a16="http://schemas.microsoft.com/office/drawing/2014/main" id="{FEFD8D03-C23A-4F5F-B6B2-A3FC4C820F7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01829" y="53872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7" name="Espace réservé du texte 3">
            <a:extLst>
              <a:ext uri="{FF2B5EF4-FFF2-40B4-BE49-F238E27FC236}">
                <a16:creationId xmlns:a16="http://schemas.microsoft.com/office/drawing/2014/main" id="{EB6DE3C7-ECE1-4451-82EB-F81CEC27247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177143" y="5793604"/>
            <a:ext cx="525144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FDFC5C4E-56AB-41D9-9B49-DD1FDEFCC24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01829" y="57936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grpSp>
        <p:nvGrpSpPr>
          <p:cNvPr id="19" name="Group 4">
            <a:extLst>
              <a:ext uri="{FF2B5EF4-FFF2-40B4-BE49-F238E27FC236}">
                <a16:creationId xmlns:a16="http://schemas.microsoft.com/office/drawing/2014/main" id="{F5A87900-577A-440A-8F86-2F05BD925FAB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AEE6844D-47C9-427E-ADD5-340B0C662EE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Rectangle 6">
              <a:extLst>
                <a:ext uri="{FF2B5EF4-FFF2-40B4-BE49-F238E27FC236}">
                  <a16:creationId xmlns:a16="http://schemas.microsoft.com/office/drawing/2014/main" id="{AA564F6D-4A24-4BF0-B1AA-6A0B72F19EF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0AE94768-2070-40A5-B7CF-B077B13765B3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E8F8086E-D17F-426D-BD1E-57264E865C6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5C940AA6-5E97-49FC-8B8A-DBDA836795E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476825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77143" y="2917372"/>
            <a:ext cx="8287658" cy="544765"/>
          </a:xfrm>
        </p:spPr>
        <p:txBody>
          <a:bodyPr anchor="t" anchorCtr="0">
            <a:spAutoFit/>
          </a:bodyPr>
          <a:lstStyle>
            <a:lvl1pPr marL="0" indent="0">
              <a:buNone/>
              <a:defRPr sz="36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77143" y="754288"/>
            <a:ext cx="1567543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660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6</a:t>
            </a:r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8A56F5D4-35C3-43EA-9B85-FE09FC4FD8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77143" y="4168004"/>
            <a:ext cx="505908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6" name="Espace réservé du texte 3">
            <a:extLst>
              <a:ext uri="{FF2B5EF4-FFF2-40B4-BE49-F238E27FC236}">
                <a16:creationId xmlns:a16="http://schemas.microsoft.com/office/drawing/2014/main" id="{865224EF-520D-4A61-A9CD-1794B89EC0E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01829" y="41680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8" name="Espace réservé du texte 3">
            <a:extLst>
              <a:ext uri="{FF2B5EF4-FFF2-40B4-BE49-F238E27FC236}">
                <a16:creationId xmlns:a16="http://schemas.microsoft.com/office/drawing/2014/main" id="{ABC2CBBC-F556-4FF3-8A9F-6A9FB12196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7143" y="4574404"/>
            <a:ext cx="520335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53190E06-4B1A-4858-9780-EB47216170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01829" y="45744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976D4931-0083-4642-9F17-BEBCFE7EA7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77143" y="4980804"/>
            <a:ext cx="523541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317138B0-D8EC-4DEF-A40C-79D7152FE28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01829" y="49808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E6F6F5D2-DCDA-4F63-AD99-57607C36403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77143" y="5387204"/>
            <a:ext cx="526747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85697789-13C1-4071-AC58-68FC1CF24E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01829" y="53872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C27627A5-52A2-4C1C-974F-7732B12A218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177143" y="5793604"/>
            <a:ext cx="525144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16" name="Espace réservé du texte 3">
            <a:extLst>
              <a:ext uri="{FF2B5EF4-FFF2-40B4-BE49-F238E27FC236}">
                <a16:creationId xmlns:a16="http://schemas.microsoft.com/office/drawing/2014/main" id="{14E5DCAC-2335-4D19-B523-7A9738914F4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01829" y="57936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grpSp>
        <p:nvGrpSpPr>
          <p:cNvPr id="17" name="Group 4">
            <a:extLst>
              <a:ext uri="{FF2B5EF4-FFF2-40B4-BE49-F238E27FC236}">
                <a16:creationId xmlns:a16="http://schemas.microsoft.com/office/drawing/2014/main" id="{AE6F0C8F-E548-4150-99B5-295258939E45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446E118E-F8ED-4F48-B015-CFA3876C47A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Rectangle 6">
              <a:extLst>
                <a:ext uri="{FF2B5EF4-FFF2-40B4-BE49-F238E27FC236}">
                  <a16:creationId xmlns:a16="http://schemas.microsoft.com/office/drawing/2014/main" id="{8586F94C-11AF-4829-9C47-65154924C0F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A8B6B660-BECE-4626-BF89-176946B7EF21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8D677946-AE87-469F-AFE3-B69623769DA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44A50D08-62D8-49D4-A672-648D4521542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947950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77143" y="2917372"/>
            <a:ext cx="8287658" cy="544765"/>
          </a:xfrm>
        </p:spPr>
        <p:txBody>
          <a:bodyPr anchor="t" anchorCtr="0">
            <a:spAutoFit/>
          </a:bodyPr>
          <a:lstStyle>
            <a:lvl1pPr marL="0" indent="0">
              <a:buNone/>
              <a:defRPr sz="36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77143" y="754288"/>
            <a:ext cx="1567543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660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7</a:t>
            </a:r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6AED7A9C-6157-43EF-8D42-871C4CCD58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77143" y="4168004"/>
            <a:ext cx="505908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6" name="Espace réservé du texte 3">
            <a:extLst>
              <a:ext uri="{FF2B5EF4-FFF2-40B4-BE49-F238E27FC236}">
                <a16:creationId xmlns:a16="http://schemas.microsoft.com/office/drawing/2014/main" id="{4EF451D5-E080-4BAA-9440-38F316F2F3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01829" y="41680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8" name="Espace réservé du texte 3">
            <a:extLst>
              <a:ext uri="{FF2B5EF4-FFF2-40B4-BE49-F238E27FC236}">
                <a16:creationId xmlns:a16="http://schemas.microsoft.com/office/drawing/2014/main" id="{DBF92288-D235-4E9B-98BD-DC04DB9EEB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7143" y="4574404"/>
            <a:ext cx="520335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2C4432C3-B016-4D6E-B540-03C87FD42B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01829" y="45744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60201200-941F-4F1A-B7B8-D348C88570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77143" y="4980804"/>
            <a:ext cx="523541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E96965D5-C624-42F0-9B32-356A86762F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01829" y="49808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9BA458BF-860A-4510-9FA7-9A831F7DF9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77143" y="5387204"/>
            <a:ext cx="526747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F5895E3D-9CEF-4E89-9792-7572BEC59B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01829" y="53872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0D10D285-F641-40A5-AECC-0C17E2D1FA6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177143" y="5793604"/>
            <a:ext cx="525144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16" name="Espace réservé du texte 3">
            <a:extLst>
              <a:ext uri="{FF2B5EF4-FFF2-40B4-BE49-F238E27FC236}">
                <a16:creationId xmlns:a16="http://schemas.microsoft.com/office/drawing/2014/main" id="{EBF95156-E010-4568-9905-108C9FB126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01829" y="57936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grpSp>
        <p:nvGrpSpPr>
          <p:cNvPr id="17" name="Group 4">
            <a:extLst>
              <a:ext uri="{FF2B5EF4-FFF2-40B4-BE49-F238E27FC236}">
                <a16:creationId xmlns:a16="http://schemas.microsoft.com/office/drawing/2014/main" id="{A4A456FA-281A-4396-BDF9-EBA53A5CB203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2636B978-D149-4A8C-A377-7B346CFD4BB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Rectangle 6">
              <a:extLst>
                <a:ext uri="{FF2B5EF4-FFF2-40B4-BE49-F238E27FC236}">
                  <a16:creationId xmlns:a16="http://schemas.microsoft.com/office/drawing/2014/main" id="{02B48DB7-33A6-411C-BA65-78AB62D9C5A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FC104DA1-9402-44E8-A5D5-3AA0BD0A5485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FF25C28B-D16B-4F5B-800E-C62FFB4A97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8812DE43-7F0B-40BF-BFBC-4E92881BABB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382569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77143" y="2917372"/>
            <a:ext cx="8287658" cy="544765"/>
          </a:xfrm>
        </p:spPr>
        <p:txBody>
          <a:bodyPr anchor="t" anchorCtr="0">
            <a:spAutoFit/>
          </a:bodyPr>
          <a:lstStyle>
            <a:lvl1pPr marL="0" indent="0">
              <a:buNone/>
              <a:defRPr sz="36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77143" y="754288"/>
            <a:ext cx="1567543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660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8</a:t>
            </a:r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DECB97CD-E7BA-4476-A814-98C96161435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77143" y="4168004"/>
            <a:ext cx="505908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6" name="Espace réservé du texte 3">
            <a:extLst>
              <a:ext uri="{FF2B5EF4-FFF2-40B4-BE49-F238E27FC236}">
                <a16:creationId xmlns:a16="http://schemas.microsoft.com/office/drawing/2014/main" id="{2CD0AFA0-E147-4173-AD99-5AD14E4EB9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01829" y="41680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8" name="Espace réservé du texte 3">
            <a:extLst>
              <a:ext uri="{FF2B5EF4-FFF2-40B4-BE49-F238E27FC236}">
                <a16:creationId xmlns:a16="http://schemas.microsoft.com/office/drawing/2014/main" id="{D16E42BF-6759-4CB1-AF65-6657BA35BE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7143" y="4574404"/>
            <a:ext cx="520335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235352E7-1F4A-4D2A-97DC-F09CC2C3A02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01829" y="45744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7C206E2D-13C4-4C66-A415-3D34951C8B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77143" y="4980804"/>
            <a:ext cx="523541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BE1C12DB-69C3-481E-A2BB-0954482BD72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01829" y="49808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A4B3E7F2-B991-4DC0-AA8B-4B5A0345E7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177143" y="5387204"/>
            <a:ext cx="526747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F187B41D-CCF3-4267-91B4-F9F01FDCE4E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01829" y="53872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88E046F5-AB8E-4B7D-BACA-948223D99D6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177143" y="5793604"/>
            <a:ext cx="525144" cy="390492"/>
          </a:xfrm>
        </p:spPr>
        <p:txBody>
          <a:bodyPr wrap="none">
            <a:spAutoFit/>
          </a:bodyPr>
          <a:lstStyle>
            <a:lvl1pPr>
              <a:defRPr sz="180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16" name="Espace réservé du texte 3">
            <a:extLst>
              <a:ext uri="{FF2B5EF4-FFF2-40B4-BE49-F238E27FC236}">
                <a16:creationId xmlns:a16="http://schemas.microsoft.com/office/drawing/2014/main" id="{A1CAAB98-2C0D-4532-AFE9-2EFEE4D98ED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01829" y="5793604"/>
            <a:ext cx="7762972" cy="390492"/>
          </a:xfrm>
        </p:spPr>
        <p:txBody>
          <a:bodyPr wrap="square">
            <a:spAutoFit/>
          </a:bodyPr>
          <a:lstStyle>
            <a:lvl1pPr marL="177800" indent="-177800">
              <a:buSzPct val="90000"/>
              <a:buFontTx/>
              <a:buBlip>
                <a:blip r:embed="rId2"/>
              </a:buBlip>
              <a:defRPr sz="180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grpSp>
        <p:nvGrpSpPr>
          <p:cNvPr id="17" name="Group 4">
            <a:extLst>
              <a:ext uri="{FF2B5EF4-FFF2-40B4-BE49-F238E27FC236}">
                <a16:creationId xmlns:a16="http://schemas.microsoft.com/office/drawing/2014/main" id="{5DF3B9CC-75E9-4482-86A4-A5AAB3468A70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E0B139B6-CF31-490A-B736-B827ECE69DA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Rectangle 6">
              <a:extLst>
                <a:ext uri="{FF2B5EF4-FFF2-40B4-BE49-F238E27FC236}">
                  <a16:creationId xmlns:a16="http://schemas.microsoft.com/office/drawing/2014/main" id="{8A6BB0A2-664B-4228-A406-E33BF663C91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26EABC4A-7534-4AC4-88A4-3CB666FB69FD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B6240C34-44AB-4F38-8298-4986FCE3DC5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B3F0F238-8F43-4151-B22D-B551BBAC2F9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212913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x3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036984-6B1F-4717-A7B5-1CA2E4F4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EE2679-2293-4EE2-AF72-2D882294BC4D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185322-2AEA-4AF4-920D-39157C247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C07A07-D6CF-4003-A86C-F3CD68E3D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E6F86AB2-B8AA-4545-80F8-506E3D3D9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17978" y="1633299"/>
            <a:ext cx="931345" cy="2286075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380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7FAFD40C-B13A-49FB-A5EC-F0F885ABA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00226" y="1633299"/>
            <a:ext cx="1049967" cy="2123658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380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5C3E11C3-98EB-4F5E-95B2-A823DDCB2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64744" y="1633299"/>
            <a:ext cx="1074012" cy="2286075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380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96A25C-D84C-4ED3-9EEA-4C6443FE84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17979" y="3644900"/>
            <a:ext cx="2027297" cy="1001410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8DB14E76-B90F-45C7-9ADC-D2B920F9D3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00227" y="3644900"/>
            <a:ext cx="2027297" cy="1001410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9C05545E-3201-4F02-B663-B1B104C6F7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64745" y="3644900"/>
            <a:ext cx="2027297" cy="1001410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grpSp>
        <p:nvGrpSpPr>
          <p:cNvPr id="12" name="Group 4">
            <a:extLst>
              <a:ext uri="{FF2B5EF4-FFF2-40B4-BE49-F238E27FC236}">
                <a16:creationId xmlns:a16="http://schemas.microsoft.com/office/drawing/2014/main" id="{0AB9F307-D64D-4B7E-9987-80A99A96C4C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7D6B1980-5B3A-4BE8-AF40-76324A08715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Rectangle 6">
              <a:extLst>
                <a:ext uri="{FF2B5EF4-FFF2-40B4-BE49-F238E27FC236}">
                  <a16:creationId xmlns:a16="http://schemas.microsoft.com/office/drawing/2014/main" id="{CE9DFD7F-4713-4EED-B39A-9C2B3266A8D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57090A80-8115-470F-9FF2-C5F074104B4E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4C1B6CB2-B5D3-439E-8CD0-0719E2239C4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BAAFB55A-7161-410C-A757-BF97B19FCCA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4170184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x4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036984-6B1F-4717-A7B5-1CA2E4F4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CCACE2-EA77-45FD-A93F-2E529D01EC2D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185322-2AEA-4AF4-920D-39157C247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C07A07-D6CF-4003-A86C-F3CD68E3D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E6F86AB2-B8AA-4545-80F8-506E3D3D9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72295" y="1633299"/>
            <a:ext cx="931345" cy="2286075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380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7FAFD40C-B13A-49FB-A5EC-F0F885ABA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98484" y="1633299"/>
            <a:ext cx="1049967" cy="2123658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380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5C3E11C3-98EB-4F5E-95B2-A823DDCB2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24673" y="1633299"/>
            <a:ext cx="1074012" cy="2286075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380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9" name="Espace réservé du texte 8">
            <a:extLst>
              <a:ext uri="{FF2B5EF4-FFF2-40B4-BE49-F238E27FC236}">
                <a16:creationId xmlns:a16="http://schemas.microsoft.com/office/drawing/2014/main" id="{B05D0E55-8AB3-4FB3-8D8A-73B52919A2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50862" y="1633299"/>
            <a:ext cx="1093248" cy="2286075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38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96A25C-D84C-4ED3-9EEA-4C6443FE84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72296" y="3644900"/>
            <a:ext cx="2027297" cy="1001410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8DB14E76-B90F-45C7-9ADC-D2B920F9D3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8485" y="3644900"/>
            <a:ext cx="2027297" cy="1001410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9C05545E-3201-4F02-B663-B1B104C6F7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24674" y="3644900"/>
            <a:ext cx="2027297" cy="1001410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CAB5A30C-13AF-4B7F-958A-BE56189D20F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50863" y="3644900"/>
            <a:ext cx="2027297" cy="1001410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FBF067F3-2157-4A48-A0EA-BBA2F484ED80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873C2225-C8FE-4FA3-8032-E5D7575C0C1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Rectangle 6">
              <a:extLst>
                <a:ext uri="{FF2B5EF4-FFF2-40B4-BE49-F238E27FC236}">
                  <a16:creationId xmlns:a16="http://schemas.microsoft.com/office/drawing/2014/main" id="{84B8B2B5-F99C-44A1-AEFD-3F3E1BE7797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7F34901B-0DDB-462A-81AE-0A17AA053BF7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78AFD6EA-DD3C-420D-9F1A-3C3115EF260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0B22679F-CD20-4487-9BA8-C9D8393FFEC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891672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x6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E6F86AB2-B8AA-4545-80F8-506E3D3D9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17978" y="410924"/>
            <a:ext cx="775853" cy="1905073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150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7FAFD40C-B13A-49FB-A5EC-F0F885ABA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00226" y="410924"/>
            <a:ext cx="875240" cy="1769715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150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5C3E11C3-98EB-4F5E-95B2-A823DDCB2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64744" y="410924"/>
            <a:ext cx="894476" cy="1905073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150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96A25C-D84C-4ED3-9EEA-4C6443FE84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17979" y="2003668"/>
            <a:ext cx="2027297" cy="1001410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8DB14E76-B90F-45C7-9ADC-D2B920F9D3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00227" y="2003668"/>
            <a:ext cx="2027297" cy="1001410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9C05545E-3201-4F02-B663-B1B104C6F7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64745" y="2003668"/>
            <a:ext cx="2027297" cy="1001410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12" name="Espace réservé du texte 8">
            <a:extLst>
              <a:ext uri="{FF2B5EF4-FFF2-40B4-BE49-F238E27FC236}">
                <a16:creationId xmlns:a16="http://schemas.microsoft.com/office/drawing/2014/main" id="{E67AEA97-2A80-4B1A-8D8F-665E9213C9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17978" y="3217624"/>
            <a:ext cx="912109" cy="1905073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15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2CBD14F2-4104-4AFC-93CB-807180114F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00226" y="3217624"/>
            <a:ext cx="912109" cy="1905073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1500" b="1">
                <a:solidFill>
                  <a:schemeClr val="bg2">
                    <a:lumMod val="40000"/>
                    <a:lumOff val="6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14" name="Espace réservé du texte 8">
            <a:extLst>
              <a:ext uri="{FF2B5EF4-FFF2-40B4-BE49-F238E27FC236}">
                <a16:creationId xmlns:a16="http://schemas.microsoft.com/office/drawing/2014/main" id="{4231E674-025C-4D45-B0E2-9EFD5583C51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164744" y="3217624"/>
            <a:ext cx="968214" cy="1905073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150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6</a:t>
            </a:r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62B904D8-2935-4B88-B7B5-FD8E5BFFE6F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17979" y="4810368"/>
            <a:ext cx="2027297" cy="1001410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08BC004F-4D9F-48C5-8C74-93C5330B52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000227" y="4810368"/>
            <a:ext cx="2027297" cy="1001410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0FCFB2F1-F090-43D6-A41A-A250BBA2DD0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64745" y="4810368"/>
            <a:ext cx="2027297" cy="1001410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grpSp>
        <p:nvGrpSpPr>
          <p:cNvPr id="19" name="Group 4">
            <a:extLst>
              <a:ext uri="{FF2B5EF4-FFF2-40B4-BE49-F238E27FC236}">
                <a16:creationId xmlns:a16="http://schemas.microsoft.com/office/drawing/2014/main" id="{F5D9727B-17A9-4C51-B6A4-36668367C93C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2B436A94-0805-420F-ACE9-3F0AA62E791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Rectangle 6">
              <a:extLst>
                <a:ext uri="{FF2B5EF4-FFF2-40B4-BE49-F238E27FC236}">
                  <a16:creationId xmlns:a16="http://schemas.microsoft.com/office/drawing/2014/main" id="{9569508B-6494-40F5-BFF8-4EC4D664C01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4CF5E278-40E4-4E02-8D86-B7D87994F235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712BDD50-4BDF-48DD-BB42-5278BEABE34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9">
              <a:extLst>
                <a:ext uri="{FF2B5EF4-FFF2-40B4-BE49-F238E27FC236}">
                  <a16:creationId xmlns:a16="http://schemas.microsoft.com/office/drawing/2014/main" id="{DE556A97-A79A-4A60-9381-240C251AEB6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5" name="Espace réservé de la date 4">
            <a:extLst>
              <a:ext uri="{FF2B5EF4-FFF2-40B4-BE49-F238E27FC236}">
                <a16:creationId xmlns:a16="http://schemas.microsoft.com/office/drawing/2014/main" id="{47322995-2F9C-4D31-A140-243C2A39394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23924" y="6184900"/>
            <a:ext cx="1057274" cy="365125"/>
          </a:xfrm>
        </p:spPr>
        <p:txBody>
          <a:bodyPr/>
          <a:lstStyle/>
          <a:p>
            <a:fld id="{F46A375B-85F4-4E44-AE49-D509ECD85CB1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26" name="Espace réservé du pied de page 5">
            <a:extLst>
              <a:ext uri="{FF2B5EF4-FFF2-40B4-BE49-F238E27FC236}">
                <a16:creationId xmlns:a16="http://schemas.microsoft.com/office/drawing/2014/main" id="{328A7114-3311-4155-AEB4-5D5A07423E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1197" y="6184900"/>
            <a:ext cx="9804402" cy="365125"/>
          </a:xfrm>
        </p:spPr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7" name="Espace réservé du numéro de diapositive 6">
            <a:extLst>
              <a:ext uri="{FF2B5EF4-FFF2-40B4-BE49-F238E27FC236}">
                <a16:creationId xmlns:a16="http://schemas.microsoft.com/office/drawing/2014/main" id="{5BDFC56C-D542-46BA-95AE-6A044D90F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00049" y="6184900"/>
            <a:ext cx="523875" cy="365125"/>
          </a:xfrm>
        </p:spPr>
        <p:txBody>
          <a:bodyPr/>
          <a:lstStyle/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27647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x8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036984-6B1F-4717-A7B5-1CA2E4F4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64D48B-2CC2-4314-82E3-2E3E060C17F0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185322-2AEA-4AF4-920D-39157C247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C07A07-D6CF-4003-A86C-F3CD68E3D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E6F86AB2-B8AA-4545-80F8-506E3D3D9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72295" y="410924"/>
            <a:ext cx="775853" cy="1769715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1500" b="1">
                <a:solidFill>
                  <a:srgbClr val="B3B8B6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7FAFD40C-B13A-49FB-A5EC-F0F885ABA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98484" y="410924"/>
            <a:ext cx="875240" cy="1769715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1500" b="1">
                <a:solidFill>
                  <a:srgbClr val="FFAC9B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5C3E11C3-98EB-4F5E-95B2-A823DDCB2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24673" y="410924"/>
            <a:ext cx="894476" cy="1769715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1500" b="1">
                <a:solidFill>
                  <a:srgbClr val="C49FBB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9" name="Espace réservé du texte 8">
            <a:extLst>
              <a:ext uri="{FF2B5EF4-FFF2-40B4-BE49-F238E27FC236}">
                <a16:creationId xmlns:a16="http://schemas.microsoft.com/office/drawing/2014/main" id="{B05D0E55-8AB3-4FB3-8D8A-73B52919A2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50862" y="410924"/>
            <a:ext cx="912109" cy="1769715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1500" b="1">
                <a:solidFill>
                  <a:srgbClr val="ACB8D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96A25C-D84C-4ED3-9EEA-4C6443FE84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72296" y="2003668"/>
            <a:ext cx="2027297" cy="1001410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8DB14E76-B90F-45C7-9ADC-D2B920F9D3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8485" y="2003668"/>
            <a:ext cx="2027297" cy="1001410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9C05545E-3201-4F02-B663-B1B104C6F7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24674" y="2003668"/>
            <a:ext cx="2027297" cy="1001410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CAB5A30C-13AF-4B7F-958A-BE56189D20F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50863" y="2003668"/>
            <a:ext cx="2027297" cy="1001410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25FFA469-1790-4B1F-82BD-D23D92E4D4C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72295" y="3217624"/>
            <a:ext cx="912109" cy="1769715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1500" b="1">
                <a:solidFill>
                  <a:srgbClr val="FE9EA3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18" name="Espace réservé du texte 8">
            <a:extLst>
              <a:ext uri="{FF2B5EF4-FFF2-40B4-BE49-F238E27FC236}">
                <a16:creationId xmlns:a16="http://schemas.microsoft.com/office/drawing/2014/main" id="{255A5C79-8D96-4EF2-89D6-9D0D0A18446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98484" y="3217624"/>
            <a:ext cx="968214" cy="1905073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150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6</a:t>
            </a:r>
          </a:p>
        </p:txBody>
      </p:sp>
      <p:sp>
        <p:nvSpPr>
          <p:cNvPr id="19" name="Espace réservé du texte 8">
            <a:extLst>
              <a:ext uri="{FF2B5EF4-FFF2-40B4-BE49-F238E27FC236}">
                <a16:creationId xmlns:a16="http://schemas.microsoft.com/office/drawing/2014/main" id="{AE81CA01-710E-459E-AD91-A1EE1773D8F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24673" y="3217624"/>
            <a:ext cx="841577" cy="1769715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150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7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95392AA8-7479-4878-8C89-79A0EBF0100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50862" y="3217624"/>
            <a:ext cx="982641" cy="1905073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150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8</a:t>
            </a:r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88BB30E1-3A7E-43C1-AC08-6B2DC08EE43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72296" y="4810368"/>
            <a:ext cx="2027297" cy="1001410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7B454139-21E4-4C7E-8B7D-F149CC48DA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798485" y="4810368"/>
            <a:ext cx="2027297" cy="1001410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9C880DAC-8E40-4388-B765-B20DDF4D215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424674" y="4810368"/>
            <a:ext cx="2027297" cy="1001410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004EF11D-40F2-4FA6-9116-B5CEA55158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50863" y="4810368"/>
            <a:ext cx="2027297" cy="1001410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6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600">
                <a:latin typeface="+mj-lt"/>
              </a:defRPr>
            </a:lvl3pPr>
            <a:lvl4pPr>
              <a:defRPr sz="1600">
                <a:latin typeface="+mj-lt"/>
              </a:defRPr>
            </a:lvl4pPr>
            <a:lvl5pPr>
              <a:defRPr sz="16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grpSp>
        <p:nvGrpSpPr>
          <p:cNvPr id="31" name="Group 4">
            <a:extLst>
              <a:ext uri="{FF2B5EF4-FFF2-40B4-BE49-F238E27FC236}">
                <a16:creationId xmlns:a16="http://schemas.microsoft.com/office/drawing/2014/main" id="{FFC39845-EDD7-458F-9A0E-C8BE69F966AD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DA9BBFDB-299F-4510-809B-08AFF42CDE0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Rectangle 6">
              <a:extLst>
                <a:ext uri="{FF2B5EF4-FFF2-40B4-BE49-F238E27FC236}">
                  <a16:creationId xmlns:a16="http://schemas.microsoft.com/office/drawing/2014/main" id="{B1868C62-559B-485F-BDB2-85A01A21A41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id="{5B418BD3-1C29-424D-8FFA-3AF7C654807B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EA6DD134-1C04-4355-9E87-6A35EACF8C0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F16245E0-63E6-4EC4-81C2-7606D561620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513822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036984-6B1F-4717-A7B5-1CA2E4F4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64D48B-2CC2-4314-82E3-2E3E060C17F0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185322-2AEA-4AF4-920D-39157C247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C07A07-D6CF-4003-A86C-F3CD68E3D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grpSp>
        <p:nvGrpSpPr>
          <p:cNvPr id="31" name="Group 4">
            <a:extLst>
              <a:ext uri="{FF2B5EF4-FFF2-40B4-BE49-F238E27FC236}">
                <a16:creationId xmlns:a16="http://schemas.microsoft.com/office/drawing/2014/main" id="{FFC39845-EDD7-458F-9A0E-C8BE69F966AD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DA9BBFDB-299F-4510-809B-08AFF42CDE0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Rectangle 6">
              <a:extLst>
                <a:ext uri="{FF2B5EF4-FFF2-40B4-BE49-F238E27FC236}">
                  <a16:creationId xmlns:a16="http://schemas.microsoft.com/office/drawing/2014/main" id="{B1868C62-559B-485F-BDB2-85A01A21A41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id="{5B418BD3-1C29-424D-8FFA-3AF7C654807B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EA6DD134-1C04-4355-9E87-6A35EACF8C0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F16245E0-63E6-4EC4-81C2-7606D561620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6CEB87CB-D597-4E20-9CFB-A496C0452A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4610" y="1352550"/>
            <a:ext cx="11310989" cy="4639930"/>
          </a:xfrm>
        </p:spPr>
        <p:txBody>
          <a:bodyPr lIns="72000">
            <a:normAutofit/>
          </a:bodyPr>
          <a:lstStyle>
            <a:lvl1pPr marL="895350" indent="-895350">
              <a:spcBef>
                <a:spcPts val="1800"/>
              </a:spcBef>
              <a:buClr>
                <a:srgbClr val="B3B8B6"/>
              </a:buClr>
              <a:buSzPct val="190000"/>
              <a:buFont typeface="+mj-lt"/>
              <a:buAutoNum type="arabicPeriod"/>
              <a:defRPr b="0">
                <a:latin typeface="+mj-lt"/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D630E963-AB47-49F2-BC02-F467223F97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610" y="460375"/>
            <a:ext cx="11310989" cy="489365"/>
          </a:xfrm>
        </p:spPr>
        <p:txBody>
          <a:bodyPr/>
          <a:lstStyle/>
          <a:p>
            <a:r>
              <a:rPr lang="fr-FR" dirty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335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Espace réservé pour une image  29">
            <a:extLst>
              <a:ext uri="{FF2B5EF4-FFF2-40B4-BE49-F238E27FC236}">
                <a16:creationId xmlns:a16="http://schemas.microsoft.com/office/drawing/2014/main" id="{C3EAC9BA-B968-4C41-AC86-FB77484D6C0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auto">
          <a:xfrm>
            <a:off x="0" y="0"/>
            <a:ext cx="7561263" cy="6858000"/>
          </a:xfrm>
          <a:custGeom>
            <a:avLst/>
            <a:gdLst>
              <a:gd name="connsiteX0" fmla="*/ 0 w 7561263"/>
              <a:gd name="connsiteY0" fmla="*/ 0 h 6570421"/>
              <a:gd name="connsiteX1" fmla="*/ 7561263 w 7561263"/>
              <a:gd name="connsiteY1" fmla="*/ 0 h 6570421"/>
              <a:gd name="connsiteX2" fmla="*/ 7561263 w 7561263"/>
              <a:gd name="connsiteY2" fmla="*/ 6570421 h 6570421"/>
              <a:gd name="connsiteX3" fmla="*/ 0 w 7561263"/>
              <a:gd name="connsiteY3" fmla="*/ 6570421 h 6570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61263" h="6570421">
                <a:moveTo>
                  <a:pt x="0" y="0"/>
                </a:moveTo>
                <a:lnTo>
                  <a:pt x="7561263" y="0"/>
                </a:lnTo>
                <a:lnTo>
                  <a:pt x="7561263" y="6570421"/>
                </a:lnTo>
                <a:lnTo>
                  <a:pt x="0" y="6570421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</p:spPr>
        <p:txBody>
          <a:bodyPr wrap="square" tIns="2520000" rIns="0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1F49297-1EC0-4B8B-8F1E-B4D8459BC84C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5" name="Titre 14">
            <a:extLst>
              <a:ext uri="{FF2B5EF4-FFF2-40B4-BE49-F238E27FC236}">
                <a16:creationId xmlns:a16="http://schemas.microsoft.com/office/drawing/2014/main" id="{097A2C2F-B838-4408-A260-70C94E843A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4687" y="460375"/>
            <a:ext cx="6089966" cy="48936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5077BEED-2020-4253-BC28-B38D837182CF}"/>
              </a:ext>
            </a:extLst>
          </p:cNvPr>
          <p:cNvSpPr txBox="1"/>
          <p:nvPr userDrawn="1"/>
        </p:nvSpPr>
        <p:spPr>
          <a:xfrm>
            <a:off x="7808360" y="660429"/>
            <a:ext cx="1213794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500" b="1" dirty="0">
                <a:solidFill>
                  <a:schemeClr val="bg2"/>
                </a:solidFill>
                <a:latin typeface="+mn-lt"/>
              </a:rPr>
              <a:t>«</a:t>
            </a:r>
          </a:p>
        </p:txBody>
      </p:sp>
      <p:sp>
        <p:nvSpPr>
          <p:cNvPr id="18" name="Espace réservé du texte 9">
            <a:extLst>
              <a:ext uri="{FF2B5EF4-FFF2-40B4-BE49-F238E27FC236}">
                <a16:creationId xmlns:a16="http://schemas.microsoft.com/office/drawing/2014/main" id="{CB1B2466-A48E-4DEB-BA38-9122FC8D20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401" y="460376"/>
            <a:ext cx="798285" cy="483054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F9F8FD93-E74C-4FEE-8D34-9104CE922062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184A3E2B-4067-4C68-9A47-D172A3DF574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Rectangle 6">
              <a:extLst>
                <a:ext uri="{FF2B5EF4-FFF2-40B4-BE49-F238E27FC236}">
                  <a16:creationId xmlns:a16="http://schemas.microsoft.com/office/drawing/2014/main" id="{4B85AE6A-C9CE-445B-8A56-2002BE3A33B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B1135EA4-AF99-4763-92E3-155EECB0AD6F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C45DC9E2-AB09-49C7-85E2-ED6D410681F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9C4F4121-4CC3-4703-A2C9-1D60B6A0D60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652B062-66E9-4F36-942E-BBBB6F9C62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49456" y="2260316"/>
            <a:ext cx="3936144" cy="374313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257119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e l'élément multimédia 12">
            <a:extLst>
              <a:ext uri="{FF2B5EF4-FFF2-40B4-BE49-F238E27FC236}">
                <a16:creationId xmlns:a16="http://schemas.microsoft.com/office/drawing/2014/main" id="{633CA40B-1351-4CB2-ADEA-FB98FC2251A0}"/>
              </a:ext>
            </a:extLst>
          </p:cNvPr>
          <p:cNvSpPr>
            <a:spLocks noGrp="1"/>
          </p:cNvSpPr>
          <p:nvPr>
            <p:ph type="media" sz="quarter" idx="13" hasCustomPrompt="1"/>
          </p:nvPr>
        </p:nvSpPr>
        <p:spPr>
          <a:xfrm>
            <a:off x="0" y="1131683"/>
            <a:ext cx="12192000" cy="5726316"/>
          </a:xfrm>
          <a:custGeom>
            <a:avLst/>
            <a:gdLst>
              <a:gd name="connsiteX0" fmla="*/ 0 w 12192000"/>
              <a:gd name="connsiteY0" fmla="*/ 0 h 6719500"/>
              <a:gd name="connsiteX1" fmla="*/ 12192000 w 12192000"/>
              <a:gd name="connsiteY1" fmla="*/ 0 h 6719500"/>
              <a:gd name="connsiteX2" fmla="*/ 12192000 w 12192000"/>
              <a:gd name="connsiteY2" fmla="*/ 6719500 h 6719500"/>
              <a:gd name="connsiteX3" fmla="*/ 0 w 12192000"/>
              <a:gd name="connsiteY3" fmla="*/ 6719500 h 6719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719500">
                <a:moveTo>
                  <a:pt x="0" y="0"/>
                </a:moveTo>
                <a:lnTo>
                  <a:pt x="12192000" y="0"/>
                </a:lnTo>
                <a:lnTo>
                  <a:pt x="12192000" y="6719500"/>
                </a:lnTo>
                <a:lnTo>
                  <a:pt x="0" y="6719500"/>
                </a:lnTo>
                <a:close/>
              </a:path>
            </a:pathLst>
          </a:custGeom>
        </p:spPr>
        <p:txBody>
          <a:bodyPr wrap="square" tIns="2520000" rIns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Cliquez pour insérer une vidéo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E162749-2B71-4A76-BA2A-146A33E08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4" name="Espace réservé du texte 9">
            <a:extLst>
              <a:ext uri="{FF2B5EF4-FFF2-40B4-BE49-F238E27FC236}">
                <a16:creationId xmlns:a16="http://schemas.microsoft.com/office/drawing/2014/main" id="{3D9E737B-87EC-45BA-B1E0-66751A987A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6401" y="460376"/>
            <a:ext cx="798285" cy="483054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6" name="Espace réservé du pied de page 6">
            <a:extLst>
              <a:ext uri="{FF2B5EF4-FFF2-40B4-BE49-F238E27FC236}">
                <a16:creationId xmlns:a16="http://schemas.microsoft.com/office/drawing/2014/main" id="{ACF00948-B478-469F-9E85-E979A0506F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33450" y="6858000"/>
            <a:ext cx="1724025" cy="365125"/>
          </a:xfrm>
        </p:spPr>
        <p:txBody>
          <a:bodyPr/>
          <a:lstStyle>
            <a:lvl1pPr>
              <a:defRPr sz="100"/>
            </a:lvl1pPr>
          </a:lstStyle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7" name="Espace réservé du numéro de diapositive 7">
            <a:extLst>
              <a:ext uri="{FF2B5EF4-FFF2-40B4-BE49-F238E27FC236}">
                <a16:creationId xmlns:a16="http://schemas.microsoft.com/office/drawing/2014/main" id="{85335176-C1AD-4FA4-B220-8FAB921D62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00049" y="6858000"/>
            <a:ext cx="523875" cy="365125"/>
          </a:xfrm>
        </p:spPr>
        <p:txBody>
          <a:bodyPr/>
          <a:lstStyle>
            <a:lvl1pPr>
              <a:defRPr sz="100"/>
            </a:lvl1pPr>
          </a:lstStyle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8" name="Espace réservé de la date 28">
            <a:extLst>
              <a:ext uri="{FF2B5EF4-FFF2-40B4-BE49-F238E27FC236}">
                <a16:creationId xmlns:a16="http://schemas.microsoft.com/office/drawing/2014/main" id="{CA011B3F-2DAE-4923-AAF8-1055D795E588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2657475" y="6857999"/>
            <a:ext cx="1057274" cy="365125"/>
          </a:xfrm>
        </p:spPr>
        <p:txBody>
          <a:bodyPr/>
          <a:lstStyle>
            <a:lvl1pPr>
              <a:defRPr sz="100"/>
            </a:lvl1pPr>
          </a:lstStyle>
          <a:p>
            <a:fld id="{F8CBF2ED-D57E-4540-B0DC-903A49215537}" type="datetime1">
              <a:rPr lang="en-GB" smtClean="0"/>
              <a:pPr/>
              <a:t>02/10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0589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image plein écr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BB79399B-5EC3-4C9D-A070-4998B51AD9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1"/>
            <a:ext cx="12192000" cy="6857998"/>
          </a:xfrm>
          <a:prstGeom prst="rect">
            <a:avLst/>
          </a:prstGeom>
        </p:spPr>
        <p:txBody>
          <a:bodyPr wrap="square" tIns="2520000" rIns="0">
            <a:noAutofit/>
          </a:bodyPr>
          <a:lstStyle>
            <a:lvl1pPr marL="0" indent="0" algn="ctr">
              <a:buNone/>
              <a:defRPr/>
            </a:lvl1pPr>
          </a:lstStyle>
          <a:p>
            <a:endParaRPr lang="fr-FR"/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C5551DB3-DF9A-4476-8D12-D7DB2C01DE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4686" y="460375"/>
            <a:ext cx="10580913" cy="489365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A0B6CD9-8D18-45FB-9B5C-E7D9DCB9D8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6401" y="460376"/>
            <a:ext cx="798285" cy="483054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7" name="Espace réservé du pied de page 6">
            <a:extLst>
              <a:ext uri="{FF2B5EF4-FFF2-40B4-BE49-F238E27FC236}">
                <a16:creationId xmlns:a16="http://schemas.microsoft.com/office/drawing/2014/main" id="{C0B498F4-B82E-44A1-B511-CFF8CC43E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33450" y="6858000"/>
            <a:ext cx="1724025" cy="365125"/>
          </a:xfrm>
        </p:spPr>
        <p:txBody>
          <a:bodyPr/>
          <a:lstStyle>
            <a:lvl1pPr>
              <a:defRPr sz="100"/>
            </a:lvl1pPr>
          </a:lstStyle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8" name="Espace réservé du numéro de diapositive 7">
            <a:extLst>
              <a:ext uri="{FF2B5EF4-FFF2-40B4-BE49-F238E27FC236}">
                <a16:creationId xmlns:a16="http://schemas.microsoft.com/office/drawing/2014/main" id="{2611A3B7-53F7-47B3-A920-B52F60AC1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00049" y="6858000"/>
            <a:ext cx="523875" cy="365125"/>
          </a:xfrm>
        </p:spPr>
        <p:txBody>
          <a:bodyPr/>
          <a:lstStyle>
            <a:lvl1pPr>
              <a:defRPr sz="100"/>
            </a:lvl1pPr>
          </a:lstStyle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29" name="Espace réservé de la date 28">
            <a:extLst>
              <a:ext uri="{FF2B5EF4-FFF2-40B4-BE49-F238E27FC236}">
                <a16:creationId xmlns:a16="http://schemas.microsoft.com/office/drawing/2014/main" id="{C392EFA1-8B6E-49B5-8B88-77FDC8CC8B78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2657475" y="6857999"/>
            <a:ext cx="1057274" cy="365125"/>
          </a:xfrm>
        </p:spPr>
        <p:txBody>
          <a:bodyPr/>
          <a:lstStyle>
            <a:lvl1pPr>
              <a:defRPr sz="100"/>
            </a:lvl1pPr>
          </a:lstStyle>
          <a:p>
            <a:fld id="{F8CBF2ED-D57E-4540-B0DC-903A49215537}" type="datetime1">
              <a:rPr lang="en-GB" smtClean="0"/>
              <a:pPr/>
              <a:t>02/10/2019</a:t>
            </a:fld>
            <a:endParaRPr lang="en-GB" dirty="0"/>
          </a:p>
        </p:txBody>
      </p:sp>
      <p:sp>
        <p:nvSpPr>
          <p:cNvPr id="30" name="Espace réservé du texte 18">
            <a:extLst>
              <a:ext uri="{FF2B5EF4-FFF2-40B4-BE49-F238E27FC236}">
                <a16:creationId xmlns:a16="http://schemas.microsoft.com/office/drawing/2014/main" id="{69400CB7-545C-405F-BB48-5AE6AAE5D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1699" y="3943350"/>
            <a:ext cx="5674302" cy="523220"/>
          </a:xfrm>
        </p:spPr>
        <p:txBody>
          <a:bodyPr wrap="square">
            <a:sp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fr-FR" dirty="0"/>
              <a:t>Ajouter du texte ici</a:t>
            </a:r>
          </a:p>
        </p:txBody>
      </p:sp>
    </p:spTree>
    <p:extLst>
      <p:ext uri="{BB962C8B-B14F-4D97-AF65-F5344CB8AC3E}">
        <p14:creationId xmlns:p14="http://schemas.microsoft.com/office/powerpoint/2010/main" val="561635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loss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792EE7-A8C5-472D-8079-BD5E8323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2691548F-36F4-4E4A-941B-4963296E8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A2B0F3-172A-4B8C-B0CC-842007854858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B27F3B3-E17F-40F6-9D97-F2EBDA94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B693D4A-B803-496F-AD48-87223303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32DE65F4-D6CF-4F47-80B7-A3A593F9A0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401" y="460376"/>
            <a:ext cx="798285" cy="483054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D632DA8-49BD-4615-B53F-ACBA16EC893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4FCA561C-E31E-4BD9-B1B7-FCED88970A7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Rectangle 6">
              <a:extLst>
                <a:ext uri="{FF2B5EF4-FFF2-40B4-BE49-F238E27FC236}">
                  <a16:creationId xmlns:a16="http://schemas.microsoft.com/office/drawing/2014/main" id="{C23FC89F-0C74-4C5D-8D75-9EF30A40343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65D081A3-869C-4735-B5B4-F8B21DA4A4D5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51F4603A-0D64-4E87-BF3F-BD7DAA96C5E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20CADA23-20CC-47FF-8414-1E1DBB7B744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18" name="Espace réservé du texte 9">
            <a:extLst>
              <a:ext uri="{FF2B5EF4-FFF2-40B4-BE49-F238E27FC236}">
                <a16:creationId xmlns:a16="http://schemas.microsoft.com/office/drawing/2014/main" id="{A1E9CD74-BC12-4D27-AFBE-D1E8A53E12C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049" y="1339200"/>
            <a:ext cx="11385550" cy="4834800"/>
          </a:xfrm>
        </p:spPr>
        <p:txBody>
          <a:bodyPr numCol="2">
            <a:normAutofit/>
          </a:bodyPr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SzPct val="100000"/>
              <a:buFont typeface="MAIF" panose="020B0503020200030B04" pitchFamily="34" charset="0"/>
              <a:buNone/>
              <a:defRPr sz="1400"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dirty="0"/>
              <a:t>Terme</a:t>
            </a:r>
          </a:p>
        </p:txBody>
      </p:sp>
    </p:spTree>
    <p:extLst>
      <p:ext uri="{BB962C8B-B14F-4D97-AF65-F5344CB8AC3E}">
        <p14:creationId xmlns:p14="http://schemas.microsoft.com/office/powerpoint/2010/main" val="1010915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érieur Sans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E5C7993-F39D-4134-B406-99342B04AD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EBF7224-7C25-4612-9DA7-3CBE776BA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3200" y="1339200"/>
            <a:ext cx="11311200" cy="48348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8" name="Espace réservé du texte 9">
            <a:extLst>
              <a:ext uri="{FF2B5EF4-FFF2-40B4-BE49-F238E27FC236}">
                <a16:creationId xmlns:a16="http://schemas.microsoft.com/office/drawing/2014/main" id="{6AC76D56-7E31-4262-BA2A-25E3A5FB48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401" y="460376"/>
            <a:ext cx="798285" cy="483054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E3F7C2C7-3DC5-430B-BFE0-6CD182B0F02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1BEC124-A68F-481D-9580-BF1E236CDFB6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C9FBD7F0-4926-4783-8096-097BD01EDA5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1A21131-4AF7-4913-A5D9-CE9F7CD51C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grpSp>
        <p:nvGrpSpPr>
          <p:cNvPr id="12" name="Group 4">
            <a:extLst>
              <a:ext uri="{FF2B5EF4-FFF2-40B4-BE49-F238E27FC236}">
                <a16:creationId xmlns:a16="http://schemas.microsoft.com/office/drawing/2014/main" id="{C2B3BE51-F4E1-42F5-9FBD-F55D29EDD6A6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4573C7B3-88AB-41CD-9916-77AAF0D24EE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Rectangle 6">
              <a:extLst>
                <a:ext uri="{FF2B5EF4-FFF2-40B4-BE49-F238E27FC236}">
                  <a16:creationId xmlns:a16="http://schemas.microsoft.com/office/drawing/2014/main" id="{2C4A0DBB-CF5E-46A4-B1F2-96C52A35154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F2247EB6-0288-46AB-880C-162DDF0A8654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2D8A871F-C18A-47A2-962B-20BC3C685FB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3D55A40A-375A-482E-AAC2-D4C1205B3E3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610002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792EE7-A8C5-472D-8079-BD5E8323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2691548F-36F4-4E4A-941B-4963296E8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278F62-1FD0-46C6-A8BA-A1F8609DB71D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B27F3B3-E17F-40F6-9D97-F2EBDA94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B693D4A-B803-496F-AD48-87223303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32DE65F4-D6CF-4F47-80B7-A3A593F9A0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401" y="460376"/>
            <a:ext cx="798285" cy="483054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CF68A874-91A3-4166-A404-C7D59011EA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028" y="972088"/>
            <a:ext cx="11375571" cy="400110"/>
          </a:xfrm>
        </p:spPr>
        <p:txBody>
          <a:bodyPr wrap="square" anchor="ctr" anchorCtr="0">
            <a:sp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1EB5603A-01F4-490D-8BA0-AD897FB68DD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14F9A94F-8A64-4C2A-B7CD-15C8E801AD9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Rectangle 6">
              <a:extLst>
                <a:ext uri="{FF2B5EF4-FFF2-40B4-BE49-F238E27FC236}">
                  <a16:creationId xmlns:a16="http://schemas.microsoft.com/office/drawing/2014/main" id="{E627E65A-AED7-4F1F-9E28-017B418140E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30DAE8E3-58E4-494C-A460-6157F85F61D9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12DBC6E7-7A77-42D9-ADCD-20D985B41F9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F51B78AD-EBF0-482C-B2EF-670833D683D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19227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792EE7-A8C5-472D-8079-BD5E8323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2691548F-36F4-4E4A-941B-4963296E8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A2B0F3-172A-4B8C-B0CC-842007854858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B27F3B3-E17F-40F6-9D97-F2EBDA94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B693D4A-B803-496F-AD48-87223303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32DE65F4-D6CF-4F47-80B7-A3A593F9A0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401" y="460376"/>
            <a:ext cx="798285" cy="483054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D632DA8-49BD-4615-B53F-ACBA16EC893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4FCA561C-E31E-4BD9-B1B7-FCED88970A7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Rectangle 6">
              <a:extLst>
                <a:ext uri="{FF2B5EF4-FFF2-40B4-BE49-F238E27FC236}">
                  <a16:creationId xmlns:a16="http://schemas.microsoft.com/office/drawing/2014/main" id="{C23FC89F-0C74-4C5D-8D75-9EF30A40343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65D081A3-869C-4735-B5B4-F8B21DA4A4D5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51F4603A-0D64-4E87-BF3F-BD7DAA96C5E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20CADA23-20CC-47FF-8414-1E1DBB7B744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467962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ase texte +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7448D68-BE53-4145-938F-A0147C6CE82A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C9181A6-DF10-441F-B476-018408812D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029" y="972088"/>
            <a:ext cx="11385550" cy="400110"/>
          </a:xfrm>
        </p:spPr>
        <p:txBody>
          <a:bodyPr wrap="square" anchor="ctr" anchorCtr="0">
            <a:sp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0061EAE-646C-4B45-9FFE-3953B923EB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401" y="460376"/>
            <a:ext cx="798285" cy="483054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5" name="Espace réservé du texte 5">
            <a:extLst>
              <a:ext uri="{FF2B5EF4-FFF2-40B4-BE49-F238E27FC236}">
                <a16:creationId xmlns:a16="http://schemas.microsoft.com/office/drawing/2014/main" id="{329B1868-03B7-40DD-828E-2E3F816182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0050" y="1825625"/>
            <a:ext cx="11385550" cy="1335109"/>
          </a:xfrm>
        </p:spPr>
        <p:txBody>
          <a:bodyPr>
            <a:normAutofit/>
          </a:bodyPr>
          <a:lstStyle>
            <a:lvl1pPr marL="85725" indent="-85725">
              <a:buFont typeface="MAIF" panose="020B0503020200030B04" pitchFamily="34" charset="0"/>
              <a:buChar char=" "/>
              <a:defRPr sz="2800">
                <a:solidFill>
                  <a:schemeClr val="tx1"/>
                </a:solidFill>
              </a:defRPr>
            </a:lvl1pPr>
            <a:lvl2pPr marL="361950" indent="-180975">
              <a:defRPr>
                <a:solidFill>
                  <a:schemeClr val="tx1"/>
                </a:solidFill>
              </a:defRPr>
            </a:lvl2pPr>
            <a:lvl3pPr marL="542925" indent="-180975"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6400" y="3289466"/>
            <a:ext cx="3569690" cy="2205797"/>
          </a:xfrm>
        </p:spPr>
        <p:txBody>
          <a:bodyPr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11154" y="3289466"/>
            <a:ext cx="3569690" cy="2205797"/>
          </a:xfrm>
        </p:spPr>
        <p:txBody>
          <a:bodyPr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1" name="Espace réservé du texte 8">
            <a:extLst>
              <a:ext uri="{FF2B5EF4-FFF2-40B4-BE49-F238E27FC236}">
                <a16:creationId xmlns:a16="http://schemas.microsoft.com/office/drawing/2014/main" id="{C7193C76-4249-49B5-B9AE-627D5534467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15908" y="3289466"/>
            <a:ext cx="3569690" cy="2205797"/>
          </a:xfrm>
        </p:spPr>
        <p:txBody>
          <a:bodyPr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grpSp>
        <p:nvGrpSpPr>
          <p:cNvPr id="16" name="Group 4">
            <a:extLst>
              <a:ext uri="{FF2B5EF4-FFF2-40B4-BE49-F238E27FC236}">
                <a16:creationId xmlns:a16="http://schemas.microsoft.com/office/drawing/2014/main" id="{C5EB538D-1FA4-46A1-A2DF-FBC679AEFA2A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9CED1C77-AE00-42EF-A6EF-381F6E7F5D7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Rectangle 6">
              <a:extLst>
                <a:ext uri="{FF2B5EF4-FFF2-40B4-BE49-F238E27FC236}">
                  <a16:creationId xmlns:a16="http://schemas.microsoft.com/office/drawing/2014/main" id="{4679170E-A03A-4120-A6CD-16CEA21AAC8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1EE21A07-5FF1-4DE4-81D3-BB52E858F552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CFF0E00A-B92D-4FBE-B9A3-681E93FE32B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798472A3-0EF5-4B2F-831D-8D777065A7C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684128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C517D40-BFCA-4FE5-B3CF-A4A8E87F95DA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C9181A6-DF10-441F-B476-018408812D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028" y="972088"/>
            <a:ext cx="11385551" cy="400110"/>
          </a:xfrm>
        </p:spPr>
        <p:txBody>
          <a:bodyPr anchor="ctr" anchorCtr="0">
            <a:spAutoFit/>
          </a:bodyPr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0061EAE-646C-4B45-9FFE-3953B923EB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401" y="460376"/>
            <a:ext cx="798285" cy="483054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32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6399" y="1825625"/>
            <a:ext cx="5522067" cy="1918474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63531" y="1825625"/>
            <a:ext cx="5522067" cy="1918474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AA7C295C-71BE-4233-A388-632F57CEBBBB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177588" y="6099587"/>
            <a:ext cx="546099" cy="428881"/>
            <a:chOff x="2652" y="1228"/>
            <a:chExt cx="2376" cy="186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8A46BF3F-D5DC-4FAD-AB33-8A6C2DF6666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Rectangle 6">
              <a:extLst>
                <a:ext uri="{FF2B5EF4-FFF2-40B4-BE49-F238E27FC236}">
                  <a16:creationId xmlns:a16="http://schemas.microsoft.com/office/drawing/2014/main" id="{7595EFD8-12F5-43B2-B395-568ACBB0B38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92C03085-5A1E-40CE-B6E5-62A98A6C182F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D26D90D2-CF19-41DF-BF07-DB4AABDF39D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DBAD0410-B1C9-426E-A589-4FAC2D78CDD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812893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AF10D4F-EE9A-49F9-97BC-79244A8EC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4686" y="460375"/>
            <a:ext cx="10580913" cy="489365"/>
          </a:xfrm>
          <a:prstGeom prst="rect">
            <a:avLst/>
          </a:prstGeom>
        </p:spPr>
        <p:txBody>
          <a:bodyPr vert="horz" lIns="91440" tIns="45720" rIns="91440" bIns="0" rtlCol="0" anchor="t" anchorCtr="0">
            <a:sp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A786472-6B91-41A5-90A3-AE7356C622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0049" y="1825625"/>
            <a:ext cx="11385551" cy="435133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41E5F0-1F9C-4B6D-8B09-23B85D4E24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81197" y="6184900"/>
            <a:ext cx="980440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6FB4FC-EA8D-4460-B283-67C7A60E46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00049" y="6184900"/>
            <a:ext cx="5238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/>
                </a:solidFill>
                <a:latin typeface="MAIF Black" panose="020B0803020200030B04" pitchFamily="34" charset="0"/>
              </a:defRPr>
            </a:lvl1pPr>
          </a:lstStyle>
          <a:p>
            <a:fld id="{6920E67E-33A7-49D9-8949-B2F0A74DF94C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5712A3B-D87F-4ABD-B865-0524072080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3924" y="6184900"/>
            <a:ext cx="10572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050" smtClean="0">
                <a:solidFill>
                  <a:schemeClr val="tx1"/>
                </a:solidFill>
              </a:defRPr>
            </a:lvl1pPr>
          </a:lstStyle>
          <a:p>
            <a:fld id="{F8CBF2ED-D57E-4540-B0DC-903A49215537}" type="datetime1">
              <a:rPr lang="en-GB" smtClean="0"/>
              <a:pPr/>
              <a:t>02/10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7851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4" r:id="rId2"/>
    <p:sldLayoutId id="2147483665" r:id="rId3"/>
    <p:sldLayoutId id="2147483650" r:id="rId4"/>
    <p:sldLayoutId id="2147483686" r:id="rId5"/>
    <p:sldLayoutId id="2147483654" r:id="rId6"/>
    <p:sldLayoutId id="2147483687" r:id="rId7"/>
    <p:sldLayoutId id="2147483674" r:id="rId8"/>
    <p:sldLayoutId id="2147483675" r:id="rId9"/>
    <p:sldLayoutId id="2147483689" r:id="rId10"/>
    <p:sldLayoutId id="2147483685" r:id="rId11"/>
    <p:sldLayoutId id="2147483684" r:id="rId12"/>
    <p:sldLayoutId id="2147483679" r:id="rId13"/>
    <p:sldLayoutId id="2147483681" r:id="rId14"/>
    <p:sldLayoutId id="2147483694" r:id="rId15"/>
    <p:sldLayoutId id="2147483695" r:id="rId16"/>
    <p:sldLayoutId id="2147483680" r:id="rId17"/>
    <p:sldLayoutId id="2147483692" r:id="rId18"/>
    <p:sldLayoutId id="2147483696" r:id="rId19"/>
    <p:sldLayoutId id="2147483682" r:id="rId20"/>
    <p:sldLayoutId id="2147483693" r:id="rId21"/>
    <p:sldLayoutId id="2147483697" r:id="rId22"/>
    <p:sldLayoutId id="2147483683" r:id="rId23"/>
    <p:sldLayoutId id="2147483676" r:id="rId24"/>
    <p:sldLayoutId id="2147483677" r:id="rId25"/>
    <p:sldLayoutId id="2147483678" r:id="rId26"/>
    <p:sldLayoutId id="2147483651" r:id="rId27"/>
    <p:sldLayoutId id="2147483660" r:id="rId28"/>
    <p:sldLayoutId id="2147483661" r:id="rId29"/>
    <p:sldLayoutId id="2147483662" r:id="rId30"/>
    <p:sldLayoutId id="2147483663" r:id="rId31"/>
    <p:sldLayoutId id="2147483671" r:id="rId32"/>
    <p:sldLayoutId id="2147483672" r:id="rId33"/>
    <p:sldLayoutId id="2147483673" r:id="rId34"/>
    <p:sldLayoutId id="2147483655" r:id="rId35"/>
    <p:sldLayoutId id="2147483666" r:id="rId36"/>
    <p:sldLayoutId id="2147483668" r:id="rId37"/>
    <p:sldLayoutId id="2147483669" r:id="rId38"/>
    <p:sldLayoutId id="2147483698" r:id="rId39"/>
    <p:sldLayoutId id="2147483688" r:id="rId40"/>
    <p:sldLayoutId id="2147483690" r:id="rId41"/>
    <p:sldLayoutId id="2147483691" r:id="rId4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SzPct val="90000"/>
        <a:buFont typeface="Arial" panose="020B0604020202020204" pitchFamily="34" charset="0"/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2075" indent="-92075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MAIF" panose="020B0503020200030B04" pitchFamily="34" charset="0"/>
        <a:buChar char=" 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SzPct val="90000"/>
        <a:buFontTx/>
        <a:buBlip>
          <a:blip r:embed="rId44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27063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SzPct val="90000"/>
        <a:buFontTx/>
        <a:buBlip>
          <a:blip r:embed="rId45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93763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MAIF" panose="020B0503020200030B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60463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0"/>
        </a:spcAft>
        <a:buFont typeface="MAIF" panose="020B0503020200030B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3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6.xml"/><Relationship Id="rId5" Type="http://schemas.openxmlformats.org/officeDocument/2006/relationships/slide" Target="slide46.xml"/><Relationship Id="rId4" Type="http://schemas.openxmlformats.org/officeDocument/2006/relationships/image" Target="../media/image16.jp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6.xml"/><Relationship Id="rId5" Type="http://schemas.openxmlformats.org/officeDocument/2006/relationships/slide" Target="slide46.xml"/><Relationship Id="rId4" Type="http://schemas.openxmlformats.org/officeDocument/2006/relationships/image" Target="../media/image16.jp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emedia.maif.fr/" TargetMode="External"/><Relationship Id="rId3" Type="http://schemas.openxmlformats.org/officeDocument/2006/relationships/image" Target="../media/image2.emf"/><Relationship Id="rId7" Type="http://schemas.openxmlformats.org/officeDocument/2006/relationships/hyperlink" Target="https://design.maif.fr/identite-de-marque/iconographie/pictogrammes.html" TargetMode="External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design.maif.fr/identite-de-marque/iconographie/illustrations.html" TargetMode="External"/><Relationship Id="rId5" Type="http://schemas.openxmlformats.org/officeDocument/2006/relationships/hyperlink" Target="https://design.maif.fr/identite-de-marque/iconographie/photographies.html" TargetMode="External"/><Relationship Id="rId10" Type="http://schemas.openxmlformats.org/officeDocument/2006/relationships/hyperlink" Target="https://bo.emedia.maif.fr/tw-MjA1NA" TargetMode="External"/><Relationship Id="rId4" Type="http://schemas.openxmlformats.org/officeDocument/2006/relationships/image" Target="../media/image3.emf"/><Relationship Id="rId9" Type="http://schemas.openxmlformats.org/officeDocument/2006/relationships/hyperlink" Target="https://bo.emedia.maif.fr/tw-MjA1NQ" TargetMode="Externa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40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41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svg"/><Relationship Id="rId18" Type="http://schemas.openxmlformats.org/officeDocument/2006/relationships/image" Target="../media/image35.png"/><Relationship Id="rId3" Type="http://schemas.openxmlformats.org/officeDocument/2006/relationships/image" Target="../media/image20.svg"/><Relationship Id="rId21" Type="http://schemas.openxmlformats.org/officeDocument/2006/relationships/image" Target="../media/image38.svg"/><Relationship Id="rId7" Type="http://schemas.openxmlformats.org/officeDocument/2006/relationships/image" Target="../media/image24.svg"/><Relationship Id="rId12" Type="http://schemas.openxmlformats.org/officeDocument/2006/relationships/image" Target="../media/image29.png"/><Relationship Id="rId17" Type="http://schemas.openxmlformats.org/officeDocument/2006/relationships/image" Target="../media/image34.svg"/><Relationship Id="rId2" Type="http://schemas.openxmlformats.org/officeDocument/2006/relationships/image" Target="../media/image19.png"/><Relationship Id="rId16" Type="http://schemas.openxmlformats.org/officeDocument/2006/relationships/image" Target="../media/image33.png"/><Relationship Id="rId20" Type="http://schemas.openxmlformats.org/officeDocument/2006/relationships/image" Target="../media/image3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.png"/><Relationship Id="rId11" Type="http://schemas.openxmlformats.org/officeDocument/2006/relationships/image" Target="../media/image28.svg"/><Relationship Id="rId5" Type="http://schemas.openxmlformats.org/officeDocument/2006/relationships/image" Target="../media/image22.svg"/><Relationship Id="rId15" Type="http://schemas.openxmlformats.org/officeDocument/2006/relationships/image" Target="../media/image32.svg"/><Relationship Id="rId10" Type="http://schemas.openxmlformats.org/officeDocument/2006/relationships/image" Target="../media/image27.png"/><Relationship Id="rId19" Type="http://schemas.openxmlformats.org/officeDocument/2006/relationships/image" Target="../media/image36.svg"/><Relationship Id="rId4" Type="http://schemas.openxmlformats.org/officeDocument/2006/relationships/image" Target="../media/image21.png"/><Relationship Id="rId9" Type="http://schemas.openxmlformats.org/officeDocument/2006/relationships/image" Target="../media/image26.svg"/><Relationship Id="rId14" Type="http://schemas.openxmlformats.org/officeDocument/2006/relationships/image" Target="../media/image31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bo.emedia.maif.fr/tw-MjA1NA" TargetMode="Externa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svg"/><Relationship Id="rId18" Type="http://schemas.openxmlformats.org/officeDocument/2006/relationships/image" Target="../media/image51.png"/><Relationship Id="rId26" Type="http://schemas.openxmlformats.org/officeDocument/2006/relationships/image" Target="../media/image59.png"/><Relationship Id="rId39" Type="http://schemas.openxmlformats.org/officeDocument/2006/relationships/image" Target="../media/image72.svg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54.svg"/><Relationship Id="rId34" Type="http://schemas.openxmlformats.org/officeDocument/2006/relationships/image" Target="../media/image67.png"/><Relationship Id="rId42" Type="http://schemas.openxmlformats.org/officeDocument/2006/relationships/image" Target="../media/image75.png"/><Relationship Id="rId7" Type="http://schemas.openxmlformats.org/officeDocument/2006/relationships/image" Target="../media/image40.svg"/><Relationship Id="rId12" Type="http://schemas.openxmlformats.org/officeDocument/2006/relationships/image" Target="../media/image45.png"/><Relationship Id="rId17" Type="http://schemas.openxmlformats.org/officeDocument/2006/relationships/image" Target="../media/image50.svg"/><Relationship Id="rId25" Type="http://schemas.openxmlformats.org/officeDocument/2006/relationships/image" Target="../media/image58.svg"/><Relationship Id="rId33" Type="http://schemas.openxmlformats.org/officeDocument/2006/relationships/image" Target="../media/image66.svg"/><Relationship Id="rId38" Type="http://schemas.openxmlformats.org/officeDocument/2006/relationships/image" Target="../media/image71.png"/><Relationship Id="rId46" Type="http://schemas.openxmlformats.org/officeDocument/2006/relationships/hyperlink" Target="https://bo.emedia.maif.fr/tw-MjA1NQ" TargetMode="External"/><Relationship Id="rId2" Type="http://schemas.openxmlformats.org/officeDocument/2006/relationships/tags" Target="../tags/tag7.xml"/><Relationship Id="rId16" Type="http://schemas.openxmlformats.org/officeDocument/2006/relationships/image" Target="../media/image49.png"/><Relationship Id="rId20" Type="http://schemas.openxmlformats.org/officeDocument/2006/relationships/image" Target="../media/image53.png"/><Relationship Id="rId29" Type="http://schemas.openxmlformats.org/officeDocument/2006/relationships/image" Target="../media/image62.svg"/><Relationship Id="rId41" Type="http://schemas.openxmlformats.org/officeDocument/2006/relationships/image" Target="../media/image74.svg"/><Relationship Id="rId1" Type="http://schemas.openxmlformats.org/officeDocument/2006/relationships/vmlDrawing" Target="../drawings/vmlDrawing4.vml"/><Relationship Id="rId6" Type="http://schemas.openxmlformats.org/officeDocument/2006/relationships/image" Target="../media/image39.png"/><Relationship Id="rId11" Type="http://schemas.openxmlformats.org/officeDocument/2006/relationships/image" Target="../media/image44.svg"/><Relationship Id="rId24" Type="http://schemas.openxmlformats.org/officeDocument/2006/relationships/image" Target="../media/image57.png"/><Relationship Id="rId32" Type="http://schemas.openxmlformats.org/officeDocument/2006/relationships/image" Target="../media/image65.png"/><Relationship Id="rId37" Type="http://schemas.openxmlformats.org/officeDocument/2006/relationships/image" Target="../media/image70.svg"/><Relationship Id="rId40" Type="http://schemas.openxmlformats.org/officeDocument/2006/relationships/image" Target="../media/image73.png"/><Relationship Id="rId45" Type="http://schemas.openxmlformats.org/officeDocument/2006/relationships/image" Target="../media/image78.svg"/><Relationship Id="rId5" Type="http://schemas.openxmlformats.org/officeDocument/2006/relationships/image" Target="../media/image7.emf"/><Relationship Id="rId15" Type="http://schemas.openxmlformats.org/officeDocument/2006/relationships/image" Target="../media/image48.svg"/><Relationship Id="rId23" Type="http://schemas.openxmlformats.org/officeDocument/2006/relationships/image" Target="../media/image56.svg"/><Relationship Id="rId28" Type="http://schemas.openxmlformats.org/officeDocument/2006/relationships/image" Target="../media/image61.png"/><Relationship Id="rId36" Type="http://schemas.openxmlformats.org/officeDocument/2006/relationships/image" Target="../media/image69.png"/><Relationship Id="rId10" Type="http://schemas.openxmlformats.org/officeDocument/2006/relationships/image" Target="../media/image43.png"/><Relationship Id="rId19" Type="http://schemas.openxmlformats.org/officeDocument/2006/relationships/image" Target="../media/image52.svg"/><Relationship Id="rId31" Type="http://schemas.openxmlformats.org/officeDocument/2006/relationships/image" Target="../media/image64.svg"/><Relationship Id="rId44" Type="http://schemas.openxmlformats.org/officeDocument/2006/relationships/image" Target="../media/image77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42.svg"/><Relationship Id="rId14" Type="http://schemas.openxmlformats.org/officeDocument/2006/relationships/image" Target="../media/image47.png"/><Relationship Id="rId22" Type="http://schemas.openxmlformats.org/officeDocument/2006/relationships/image" Target="../media/image55.png"/><Relationship Id="rId27" Type="http://schemas.openxmlformats.org/officeDocument/2006/relationships/image" Target="../media/image60.svg"/><Relationship Id="rId30" Type="http://schemas.openxmlformats.org/officeDocument/2006/relationships/image" Target="../media/image63.png"/><Relationship Id="rId35" Type="http://schemas.openxmlformats.org/officeDocument/2006/relationships/image" Target="../media/image68.svg"/><Relationship Id="rId43" Type="http://schemas.openxmlformats.org/officeDocument/2006/relationships/image" Target="../media/image76.sv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13" Type="http://schemas.openxmlformats.org/officeDocument/2006/relationships/image" Target="../media/image86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0.svg"/><Relationship Id="rId12" Type="http://schemas.openxmlformats.org/officeDocument/2006/relationships/image" Target="../media/image85.png"/><Relationship Id="rId17" Type="http://schemas.openxmlformats.org/officeDocument/2006/relationships/hyperlink" Target="https://bo.emedia.maif.fr/tw-MjA1NQ" TargetMode="External"/><Relationship Id="rId2" Type="http://schemas.openxmlformats.org/officeDocument/2006/relationships/tags" Target="../tags/tag8.xml"/><Relationship Id="rId16" Type="http://schemas.openxmlformats.org/officeDocument/2006/relationships/image" Target="../media/image89.emf"/><Relationship Id="rId1" Type="http://schemas.openxmlformats.org/officeDocument/2006/relationships/vmlDrawing" Target="../drawings/vmlDrawing5.vml"/><Relationship Id="rId6" Type="http://schemas.openxmlformats.org/officeDocument/2006/relationships/image" Target="../media/image79.png"/><Relationship Id="rId11" Type="http://schemas.openxmlformats.org/officeDocument/2006/relationships/image" Target="../media/image84.svg"/><Relationship Id="rId5" Type="http://schemas.openxmlformats.org/officeDocument/2006/relationships/image" Target="../media/image7.emf"/><Relationship Id="rId15" Type="http://schemas.openxmlformats.org/officeDocument/2006/relationships/image" Target="../media/image88.svg"/><Relationship Id="rId10" Type="http://schemas.openxmlformats.org/officeDocument/2006/relationships/image" Target="../media/image83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82.svg"/><Relationship Id="rId14" Type="http://schemas.openxmlformats.org/officeDocument/2006/relationships/image" Target="../media/image8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g"/><Relationship Id="rId3" Type="http://schemas.openxmlformats.org/officeDocument/2006/relationships/tags" Target="../tags/tag3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3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5.xml"/><Relationship Id="rId7" Type="http://schemas.openxmlformats.org/officeDocument/2006/relationships/slide" Target="slide46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emedia.maif.fr/" TargetMode="Externa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D8D0309-B1B6-4963-8654-4D60F5DA8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34" name="Espace réservé du texte 6">
            <a:extLst>
              <a:ext uri="{FF2B5EF4-FFF2-40B4-BE49-F238E27FC236}">
                <a16:creationId xmlns:a16="http://schemas.microsoft.com/office/drawing/2014/main" id="{2C387925-3364-4079-9DCD-F295918357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b="1" dirty="0">
                <a:solidFill>
                  <a:schemeClr val="bg2"/>
                </a:solidFill>
              </a:rPr>
              <a:t>Couverture</a:t>
            </a:r>
          </a:p>
          <a:p>
            <a:pPr lvl="1"/>
            <a:r>
              <a:rPr lang="fr-FR" b="1" dirty="0"/>
              <a:t>Texte</a:t>
            </a:r>
          </a:p>
          <a:p>
            <a:pPr lvl="2"/>
            <a:r>
              <a:rPr lang="fr-FR" dirty="0"/>
              <a:t>Polices par défaut </a:t>
            </a:r>
          </a:p>
          <a:p>
            <a:pPr lvl="3"/>
            <a:r>
              <a:rPr lang="fr-FR" dirty="0"/>
              <a:t>Titre : MAIF Light – Noir - 48 pts</a:t>
            </a:r>
            <a:br>
              <a:rPr lang="fr-FR" dirty="0"/>
            </a:br>
            <a:r>
              <a:rPr lang="fr-FR" dirty="0"/>
              <a:t>&amp; mises en valeur : MAIF Black – Rouge – 48 pts</a:t>
            </a:r>
          </a:p>
          <a:p>
            <a:pPr lvl="3"/>
            <a:r>
              <a:rPr lang="fr-FR" dirty="0"/>
              <a:t>Sous-titre : MAIF - Noir – 24 pts</a:t>
            </a:r>
          </a:p>
          <a:p>
            <a:pPr lvl="3"/>
            <a:r>
              <a:rPr lang="fr-FR" dirty="0"/>
              <a:t>Date : MAIF Medium – Noir – 14 pts</a:t>
            </a:r>
          </a:p>
          <a:p>
            <a:pPr lvl="1"/>
            <a:r>
              <a:rPr lang="fr-FR" b="1" dirty="0"/>
              <a:t>Image</a:t>
            </a:r>
          </a:p>
          <a:p>
            <a:pPr lvl="2"/>
            <a:r>
              <a:rPr lang="fr-FR" dirty="0"/>
              <a:t>Pour changer l’image de la couverture ou du chapitre </a:t>
            </a:r>
          </a:p>
          <a:p>
            <a:pPr lvl="3"/>
            <a:r>
              <a:rPr lang="fr-FR" dirty="0"/>
              <a:t>Clic droit avec la souris sur l’image de fond</a:t>
            </a:r>
          </a:p>
          <a:p>
            <a:pPr lvl="3"/>
            <a:r>
              <a:rPr lang="fr-FR" dirty="0"/>
              <a:t>Cliquer sur « Mise en forme de l’arrière-plan »</a:t>
            </a:r>
          </a:p>
          <a:p>
            <a:pPr lvl="3"/>
            <a:r>
              <a:rPr lang="fr-FR" dirty="0"/>
              <a:t>Cliquer sur « Remplissage avec image ou texture »</a:t>
            </a:r>
          </a:p>
          <a:p>
            <a:pPr lvl="3"/>
            <a:r>
              <a:rPr lang="fr-FR" dirty="0"/>
              <a:t>Cliquer sur « Fichier » pour sélectionner l’image</a:t>
            </a:r>
          </a:p>
          <a:p>
            <a:pPr lvl="3"/>
            <a:r>
              <a:rPr lang="fr-FR" dirty="0"/>
              <a:t>Cliquer sur « Ouvrir »</a:t>
            </a:r>
            <a:br>
              <a:rPr lang="fr-FR" dirty="0"/>
            </a:br>
            <a:r>
              <a:rPr lang="fr-FR" dirty="0"/>
              <a:t>(format préconisé : 1920 x 1080 px)</a:t>
            </a:r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23834388-02F6-4478-B485-B922F8476B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/>
              <a:t>0.1</a:t>
            </a:r>
            <a:endParaRPr lang="fr-FR" dirty="0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4F30DF41-5B2D-41E1-959C-C8ECFF09110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103C846-A6B9-4F13-A740-99B1A4CE791B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F3B3FFE-6908-4AF8-9671-D6F51BC26F6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 dirty="0"/>
              <a:t>Titre de la présentation</a:t>
            </a:r>
          </a:p>
        </p:txBody>
      </p:sp>
      <p:sp>
        <p:nvSpPr>
          <p:cNvPr id="30" name="Espace réservé du numéro de diapositive 29">
            <a:extLst>
              <a:ext uri="{FF2B5EF4-FFF2-40B4-BE49-F238E27FC236}">
                <a16:creationId xmlns:a16="http://schemas.microsoft.com/office/drawing/2014/main" id="{1C0B2117-A2D8-485E-A559-6DB40327AF8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94254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1BCAC031-C0C2-43FB-92F2-B353477C01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B402D950-D5F9-4EB5-ADCD-7639C2DA4A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2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D2B78F25-B01E-4719-923F-8A6874083AA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3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B1C3D98-E50F-4E5C-8F95-A64EAA23A4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43B5739B-DCBC-4C50-8880-19D34EF427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FD5CE9FF-C6D0-444B-89C8-5D009197FCC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52F99FD4-0727-4CC3-91A3-D405ED30A8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0B8D0157-7CAC-4017-9A94-E743DE7ECB7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8444D725-B6E1-4F99-8147-E2A48D18E7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10</a:t>
            </a:fld>
            <a:endParaRPr lang="fr-FR" dirty="0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0635999E-499B-4990-BD4A-12B294F9BE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03DBFC-901B-4CBF-BCE4-30B1AA6A713B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BA67D5D1-6A8F-483F-979E-BA3C21B063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51424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8D82D64F-01F2-4C00-A6C0-FB5C2B7E92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46116F4-1F38-48A7-9F1E-1B30A44763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2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F01FD15B-3D25-46DF-967F-B5BD8C7400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3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703D530B-54DA-4F3F-AB8F-C2E37AB11A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A473F1D-2B52-4455-AADC-1C4F8165776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172296" y="2003668"/>
            <a:ext cx="2027297" cy="1001410"/>
          </a:xfrm>
        </p:spPr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3E3F928-5451-4BCE-AE1D-FF9F83ACABE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8485" y="2003668"/>
            <a:ext cx="2027297" cy="1001410"/>
          </a:xfrm>
        </p:spPr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09EEDFB0-FD0F-4D7C-8F9F-37A33B08EC6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EFBD08AA-8008-4A54-B2C5-F7E999465DB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937F9034-8ED6-420A-B3E8-A43C0D132FE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fr-FR" dirty="0"/>
              <a:t>5</a:t>
            </a:r>
          </a:p>
        </p:txBody>
      </p:sp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FCAEE848-EA8C-4BCA-8498-1B5AFC2E103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fr-FR" dirty="0"/>
              <a:t>6</a:t>
            </a:r>
          </a:p>
        </p:txBody>
      </p:sp>
      <p:sp>
        <p:nvSpPr>
          <p:cNvPr id="26" name="Espace réservé du texte 25">
            <a:extLst>
              <a:ext uri="{FF2B5EF4-FFF2-40B4-BE49-F238E27FC236}">
                <a16:creationId xmlns:a16="http://schemas.microsoft.com/office/drawing/2014/main" id="{BE7B5885-886C-47F1-AB86-8C9887FE369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7</a:t>
            </a:r>
          </a:p>
        </p:txBody>
      </p:sp>
      <p:sp>
        <p:nvSpPr>
          <p:cNvPr id="27" name="Espace réservé du texte 26">
            <a:extLst>
              <a:ext uri="{FF2B5EF4-FFF2-40B4-BE49-F238E27FC236}">
                <a16:creationId xmlns:a16="http://schemas.microsoft.com/office/drawing/2014/main" id="{9A859257-EEF7-4BD1-803B-DDDFDDA6391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fr-FR" dirty="0"/>
              <a:t>8</a:t>
            </a:r>
          </a:p>
        </p:txBody>
      </p:sp>
      <p:sp>
        <p:nvSpPr>
          <p:cNvPr id="28" name="Espace réservé du texte 27">
            <a:extLst>
              <a:ext uri="{FF2B5EF4-FFF2-40B4-BE49-F238E27FC236}">
                <a16:creationId xmlns:a16="http://schemas.microsoft.com/office/drawing/2014/main" id="{626FF03F-26C5-49B2-A6D6-D73EE095F97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29" name="Espace réservé du texte 28">
            <a:extLst>
              <a:ext uri="{FF2B5EF4-FFF2-40B4-BE49-F238E27FC236}">
                <a16:creationId xmlns:a16="http://schemas.microsoft.com/office/drawing/2014/main" id="{77C53528-1557-4EDF-BD77-B790BB7D873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2D025E01-8565-4DFF-8069-39D064D10D6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31" name="Espace réservé du texte 30">
            <a:extLst>
              <a:ext uri="{FF2B5EF4-FFF2-40B4-BE49-F238E27FC236}">
                <a16:creationId xmlns:a16="http://schemas.microsoft.com/office/drawing/2014/main" id="{F70E1C24-47C3-451C-B5F2-EBC4EA2FE1B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99F4A62F-92A8-4A29-BDEA-69A97E9805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11</a:t>
            </a:fld>
            <a:endParaRPr lang="fr-FR" dirty="0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68C11A44-65AB-4F40-895D-3341A87248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5B55C4-894F-40D2-856F-B1AD3F69E7C0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828DEB2-9414-4986-A5A5-419A8B4500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91188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1A76C2B6-113D-41E3-82CA-BA8C6891E7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64D48B-2CC2-4314-82E3-2E3E060C17F0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E4B7B47D-231F-4F3B-A5F0-C2B14C2DF4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FD0E45D-5E18-4BB5-AB80-BAA58F1721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12</a:t>
            </a:fld>
            <a:endParaRPr lang="fr-FR" dirty="0"/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529F0E50-EDFA-465D-B7B0-FFDF0543BD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premier</a:t>
            </a:r>
            <a:r>
              <a:rPr lang="fr-FR" dirty="0"/>
              <a:t> </a:t>
            </a:r>
            <a:r>
              <a:rPr lang="fr-FR" sz="2100" dirty="0"/>
              <a:t>chapitre</a:t>
            </a:r>
          </a:p>
          <a:p>
            <a:pPr>
              <a:buClr>
                <a:srgbClr val="C49FBB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deuxième</a:t>
            </a:r>
            <a:r>
              <a:rPr lang="fr-FR" dirty="0"/>
              <a:t> chapitre </a:t>
            </a:r>
          </a:p>
          <a:p>
            <a:pPr>
              <a:buClr>
                <a:srgbClr val="ACB8D2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troisième</a:t>
            </a:r>
            <a:r>
              <a:rPr lang="fr-FR" dirty="0"/>
              <a:t> chapitre</a:t>
            </a:r>
          </a:p>
          <a:p>
            <a:pPr>
              <a:buClr>
                <a:srgbClr val="FE9EA3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quatrième</a:t>
            </a:r>
            <a:r>
              <a:rPr lang="fr-FR" dirty="0"/>
              <a:t> chapitre</a:t>
            </a:r>
          </a:p>
          <a:p>
            <a:pPr>
              <a:buClr>
                <a:srgbClr val="FFAC9B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cinquième</a:t>
            </a:r>
            <a:r>
              <a:rPr lang="fr-FR" dirty="0"/>
              <a:t> chapitre</a:t>
            </a:r>
          </a:p>
          <a:p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sixième</a:t>
            </a:r>
            <a:r>
              <a:rPr lang="fr-FR" dirty="0"/>
              <a:t> chapitre</a:t>
            </a:r>
          </a:p>
          <a:p>
            <a:pPr>
              <a:buClr>
                <a:srgbClr val="C49FBB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septième</a:t>
            </a:r>
            <a:r>
              <a:rPr lang="fr-FR" dirty="0"/>
              <a:t> chapitre</a:t>
            </a:r>
          </a:p>
          <a:p>
            <a:pPr>
              <a:buClr>
                <a:srgbClr val="ACB8D2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huitième</a:t>
            </a:r>
            <a:r>
              <a:rPr lang="fr-FR" dirty="0"/>
              <a:t> chapitre</a:t>
            </a:r>
          </a:p>
          <a:p>
            <a:pPr>
              <a:buClr>
                <a:srgbClr val="FE9EA3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neuvième</a:t>
            </a:r>
            <a:r>
              <a:rPr lang="fr-FR" dirty="0"/>
              <a:t> chapitre</a:t>
            </a:r>
          </a:p>
          <a:p>
            <a:pPr>
              <a:buClr>
                <a:srgbClr val="FFAC9B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dixième</a:t>
            </a:r>
            <a:r>
              <a:rPr lang="fr-FR" dirty="0"/>
              <a:t> chapitre</a:t>
            </a:r>
          </a:p>
        </p:txBody>
      </p:sp>
      <p:sp>
        <p:nvSpPr>
          <p:cNvPr id="26" name="Titre 25">
            <a:extLst>
              <a:ext uri="{FF2B5EF4-FFF2-40B4-BE49-F238E27FC236}">
                <a16:creationId xmlns:a16="http://schemas.microsoft.com/office/drawing/2014/main" id="{A3A143DB-1D01-46E7-B100-B03735E502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610" y="460375"/>
            <a:ext cx="11310989" cy="489365"/>
          </a:xfrm>
        </p:spPr>
        <p:txBody>
          <a:bodyPr/>
          <a:lstStyle/>
          <a:p>
            <a:r>
              <a:rPr lang="fr-FR" dirty="0"/>
              <a:t>Sommaire</a:t>
            </a:r>
            <a:endParaRPr lang="en-GB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FED4D98-6823-40F5-A653-EB7AC588D838}"/>
              </a:ext>
            </a:extLst>
          </p:cNvPr>
          <p:cNvSpPr/>
          <p:nvPr/>
        </p:nvSpPr>
        <p:spPr>
          <a:xfrm>
            <a:off x="12287374" y="0"/>
            <a:ext cx="1885826" cy="2015936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lang="fr-FR" sz="1000" dirty="0">
                <a:solidFill>
                  <a:schemeClr val="tx1"/>
                </a:solidFill>
                <a:latin typeface="+mj-lt"/>
              </a:rPr>
              <a:t>Pour changer la couleur des chiffres (La couleur automatique est le vert clair ) :</a:t>
            </a:r>
          </a:p>
          <a:p>
            <a:pPr marL="171450" indent="-171450">
              <a:spcBef>
                <a:spcPts val="600"/>
              </a:spcBef>
              <a:buBlip>
                <a:blip r:embed="rId2"/>
              </a:buBlip>
            </a:pPr>
            <a:r>
              <a:rPr lang="fr-FR" sz="1000" dirty="0">
                <a:solidFill>
                  <a:schemeClr val="tx1"/>
                </a:solidFill>
              </a:rPr>
              <a:t>Clic droit sur la ligne du chapitre souhaité</a:t>
            </a:r>
          </a:p>
          <a:p>
            <a:pPr marL="171450" indent="-171450">
              <a:spcBef>
                <a:spcPts val="600"/>
              </a:spcBef>
              <a:buBlip>
                <a:blip r:embed="rId2"/>
              </a:buBlip>
            </a:pPr>
            <a:r>
              <a:rPr lang="fr-FR" sz="1000" dirty="0">
                <a:solidFill>
                  <a:schemeClr val="tx1"/>
                </a:solidFill>
              </a:rPr>
              <a:t>Dans « Numérotation », cliquer sur « Puces et numéros… »</a:t>
            </a:r>
          </a:p>
          <a:p>
            <a:pPr marL="171450" indent="-171450">
              <a:spcBef>
                <a:spcPts val="600"/>
              </a:spcBef>
              <a:buBlip>
                <a:blip r:embed="rId2"/>
              </a:buBlip>
            </a:pPr>
            <a:r>
              <a:rPr lang="fr-FR" sz="1000" dirty="0">
                <a:solidFill>
                  <a:schemeClr val="tx1"/>
                </a:solidFill>
              </a:rPr>
              <a:t>Modifier la couleur du chiffre</a:t>
            </a:r>
          </a:p>
        </p:txBody>
      </p:sp>
    </p:spTree>
    <p:extLst>
      <p:ext uri="{BB962C8B-B14F-4D97-AF65-F5344CB8AC3E}">
        <p14:creationId xmlns:p14="http://schemas.microsoft.com/office/powerpoint/2010/main" val="3051807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FFCD9885-B4E7-4B34-AA08-9041F2246C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77143" y="2917372"/>
            <a:ext cx="8287658" cy="1043363"/>
          </a:xfrm>
        </p:spPr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 lignes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B4D7BB23-64D0-40A2-9241-EF9A64377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915075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FFCD9885-B4E7-4B34-AA08-9041F2246C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77143" y="2917372"/>
            <a:ext cx="8287658" cy="1043363"/>
          </a:xfrm>
        </p:spPr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deux lignes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B4D7BB23-64D0-40A2-9241-EF9A64377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77143" y="754288"/>
            <a:ext cx="1567543" cy="2163083"/>
          </a:xfrm>
        </p:spPr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9B2F1D73-A509-42B5-8293-599E153CBA77}"/>
              </a:ext>
            </a:extLst>
          </p:cNvPr>
          <p:cNvSpPr txBox="1"/>
          <p:nvPr/>
        </p:nvSpPr>
        <p:spPr>
          <a:xfrm>
            <a:off x="2612572" y="4151085"/>
            <a:ext cx="48077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4625" indent="-174625">
              <a:buSzPct val="90000"/>
              <a:buBlip>
                <a:blip r:embed="rId2"/>
              </a:buBlip>
            </a:pPr>
            <a:r>
              <a:rPr lang="fr-FR" dirty="0">
                <a:solidFill>
                  <a:schemeClr val="tx2"/>
                </a:solidFill>
              </a:rPr>
              <a:t>Lorem ipsum </a:t>
            </a:r>
            <a:r>
              <a:rPr lang="fr-FR" dirty="0" err="1">
                <a:solidFill>
                  <a:schemeClr val="tx2"/>
                </a:solidFill>
              </a:rPr>
              <a:t>lorem</a:t>
            </a:r>
            <a:r>
              <a:rPr lang="fr-FR" dirty="0">
                <a:solidFill>
                  <a:schemeClr val="tx2"/>
                </a:solidFill>
              </a:rPr>
              <a:t> ipsum </a:t>
            </a:r>
            <a:r>
              <a:rPr lang="fr-FR" dirty="0" err="1">
                <a:solidFill>
                  <a:schemeClr val="tx2"/>
                </a:solidFill>
              </a:rPr>
              <a:t>lorem</a:t>
            </a:r>
            <a:r>
              <a:rPr lang="fr-FR" dirty="0">
                <a:solidFill>
                  <a:schemeClr val="tx2"/>
                </a:solidFill>
              </a:rPr>
              <a:t> </a:t>
            </a:r>
            <a:r>
              <a:rPr lang="fr-FR" dirty="0" err="1">
                <a:solidFill>
                  <a:schemeClr val="tx2"/>
                </a:solidFill>
              </a:rPr>
              <a:t>ispum</a:t>
            </a:r>
            <a:endParaRPr lang="fr-FR" dirty="0">
              <a:solidFill>
                <a:schemeClr val="tx2"/>
              </a:solidFill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2C24B56-845F-454C-878A-79C5CC5D657B}"/>
              </a:ext>
            </a:extLst>
          </p:cNvPr>
          <p:cNvSpPr txBox="1"/>
          <p:nvPr/>
        </p:nvSpPr>
        <p:spPr>
          <a:xfrm>
            <a:off x="2177143" y="4151085"/>
            <a:ext cx="5052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>
                <a:solidFill>
                  <a:schemeClr val="tx2"/>
                </a:solidFill>
                <a:latin typeface="MAIF Black" panose="020B0803020200030B04" pitchFamily="34" charset="0"/>
              </a:rPr>
              <a:t>1.1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C1ABD172-A8FF-4594-AFE3-2B8489E5D908}"/>
              </a:ext>
            </a:extLst>
          </p:cNvPr>
          <p:cNvSpPr txBox="1"/>
          <p:nvPr/>
        </p:nvSpPr>
        <p:spPr>
          <a:xfrm>
            <a:off x="2612572" y="4520417"/>
            <a:ext cx="48077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4625" indent="-174625">
              <a:buSzPct val="90000"/>
              <a:buBlip>
                <a:blip r:embed="rId2"/>
              </a:buBlip>
            </a:pPr>
            <a:r>
              <a:rPr lang="fr-FR" dirty="0">
                <a:solidFill>
                  <a:schemeClr val="tx2"/>
                </a:solidFill>
              </a:rPr>
              <a:t>Lorem ipsum </a:t>
            </a:r>
            <a:r>
              <a:rPr lang="fr-FR" dirty="0" err="1">
                <a:solidFill>
                  <a:schemeClr val="tx2"/>
                </a:solidFill>
              </a:rPr>
              <a:t>lorem</a:t>
            </a:r>
            <a:r>
              <a:rPr lang="fr-FR" dirty="0">
                <a:solidFill>
                  <a:schemeClr val="tx2"/>
                </a:solidFill>
              </a:rPr>
              <a:t> ipsum </a:t>
            </a:r>
            <a:r>
              <a:rPr lang="fr-FR" dirty="0" err="1">
                <a:solidFill>
                  <a:schemeClr val="tx2"/>
                </a:solidFill>
              </a:rPr>
              <a:t>lorem</a:t>
            </a:r>
            <a:r>
              <a:rPr lang="fr-FR" dirty="0">
                <a:solidFill>
                  <a:schemeClr val="tx2"/>
                </a:solidFill>
              </a:rPr>
              <a:t> </a:t>
            </a:r>
            <a:r>
              <a:rPr lang="fr-FR" dirty="0" err="1">
                <a:solidFill>
                  <a:schemeClr val="tx2"/>
                </a:solidFill>
              </a:rPr>
              <a:t>ispum</a:t>
            </a:r>
            <a:endParaRPr lang="fr-FR" dirty="0">
              <a:solidFill>
                <a:schemeClr val="tx2"/>
              </a:solidFill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911B0A8E-0C6A-4734-8159-E525C950EE31}"/>
              </a:ext>
            </a:extLst>
          </p:cNvPr>
          <p:cNvSpPr txBox="1"/>
          <p:nvPr/>
        </p:nvSpPr>
        <p:spPr>
          <a:xfrm>
            <a:off x="2177143" y="4520417"/>
            <a:ext cx="5196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>
                <a:solidFill>
                  <a:schemeClr val="tx2"/>
                </a:solidFill>
                <a:latin typeface="MAIF Black" panose="020B0803020200030B04" pitchFamily="34" charset="0"/>
              </a:rPr>
              <a:t>1.2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3E115905-5498-426E-AE78-29D64FA94CD0}"/>
              </a:ext>
            </a:extLst>
          </p:cNvPr>
          <p:cNvSpPr txBox="1"/>
          <p:nvPr/>
        </p:nvSpPr>
        <p:spPr>
          <a:xfrm>
            <a:off x="2612572" y="4889749"/>
            <a:ext cx="48077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4625" indent="-174625">
              <a:buSzPct val="90000"/>
              <a:buBlip>
                <a:blip r:embed="rId2"/>
              </a:buBlip>
            </a:pPr>
            <a:r>
              <a:rPr lang="fr-FR" dirty="0">
                <a:solidFill>
                  <a:schemeClr val="tx2"/>
                </a:solidFill>
              </a:rPr>
              <a:t>Lorem ipsum </a:t>
            </a:r>
            <a:r>
              <a:rPr lang="fr-FR" dirty="0" err="1">
                <a:solidFill>
                  <a:schemeClr val="tx2"/>
                </a:solidFill>
              </a:rPr>
              <a:t>lorem</a:t>
            </a:r>
            <a:r>
              <a:rPr lang="fr-FR" dirty="0">
                <a:solidFill>
                  <a:schemeClr val="tx2"/>
                </a:solidFill>
              </a:rPr>
              <a:t> ipsum </a:t>
            </a:r>
            <a:r>
              <a:rPr lang="fr-FR" dirty="0" err="1">
                <a:solidFill>
                  <a:schemeClr val="tx2"/>
                </a:solidFill>
              </a:rPr>
              <a:t>lorem</a:t>
            </a:r>
            <a:r>
              <a:rPr lang="fr-FR" dirty="0">
                <a:solidFill>
                  <a:schemeClr val="tx2"/>
                </a:solidFill>
              </a:rPr>
              <a:t> </a:t>
            </a:r>
            <a:r>
              <a:rPr lang="fr-FR" dirty="0" err="1">
                <a:solidFill>
                  <a:schemeClr val="tx2"/>
                </a:solidFill>
              </a:rPr>
              <a:t>ispum</a:t>
            </a:r>
            <a:endParaRPr lang="fr-FR" dirty="0">
              <a:solidFill>
                <a:schemeClr val="tx2"/>
              </a:solidFill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6A8C610-3970-47E3-9A72-FE09DA47D259}"/>
              </a:ext>
            </a:extLst>
          </p:cNvPr>
          <p:cNvSpPr txBox="1"/>
          <p:nvPr/>
        </p:nvSpPr>
        <p:spPr>
          <a:xfrm>
            <a:off x="2177143" y="4889749"/>
            <a:ext cx="5229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>
                <a:solidFill>
                  <a:schemeClr val="tx2"/>
                </a:solidFill>
                <a:latin typeface="MAIF Black" panose="020B0803020200030B04" pitchFamily="34" charset="0"/>
              </a:rPr>
              <a:t>1.3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22AC3ABD-23D2-4566-AF4B-D1D04B4F9459}"/>
              </a:ext>
            </a:extLst>
          </p:cNvPr>
          <p:cNvSpPr txBox="1"/>
          <p:nvPr/>
        </p:nvSpPr>
        <p:spPr>
          <a:xfrm>
            <a:off x="2612572" y="5259081"/>
            <a:ext cx="48077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4625" indent="-174625">
              <a:buSzPct val="90000"/>
              <a:buBlip>
                <a:blip r:embed="rId2"/>
              </a:buBlip>
            </a:pPr>
            <a:r>
              <a:rPr lang="fr-FR" dirty="0">
                <a:solidFill>
                  <a:schemeClr val="tx2"/>
                </a:solidFill>
              </a:rPr>
              <a:t>Lorem ipsum </a:t>
            </a:r>
            <a:r>
              <a:rPr lang="fr-FR" dirty="0" err="1">
                <a:solidFill>
                  <a:schemeClr val="tx2"/>
                </a:solidFill>
              </a:rPr>
              <a:t>lorem</a:t>
            </a:r>
            <a:r>
              <a:rPr lang="fr-FR" dirty="0">
                <a:solidFill>
                  <a:schemeClr val="tx2"/>
                </a:solidFill>
              </a:rPr>
              <a:t> ipsum </a:t>
            </a:r>
            <a:r>
              <a:rPr lang="fr-FR" dirty="0" err="1">
                <a:solidFill>
                  <a:schemeClr val="tx2"/>
                </a:solidFill>
              </a:rPr>
              <a:t>lorem</a:t>
            </a:r>
            <a:r>
              <a:rPr lang="fr-FR" dirty="0">
                <a:solidFill>
                  <a:schemeClr val="tx2"/>
                </a:solidFill>
              </a:rPr>
              <a:t> </a:t>
            </a:r>
            <a:r>
              <a:rPr lang="fr-FR" dirty="0" err="1">
                <a:solidFill>
                  <a:schemeClr val="tx2"/>
                </a:solidFill>
              </a:rPr>
              <a:t>ispum</a:t>
            </a:r>
            <a:endParaRPr lang="fr-FR" dirty="0">
              <a:solidFill>
                <a:schemeClr val="tx2"/>
              </a:solidFill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5A0D9299-3B69-4984-A5A8-A74798E76996}"/>
              </a:ext>
            </a:extLst>
          </p:cNvPr>
          <p:cNvSpPr txBox="1"/>
          <p:nvPr/>
        </p:nvSpPr>
        <p:spPr>
          <a:xfrm>
            <a:off x="2177143" y="5259081"/>
            <a:ext cx="5261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>
                <a:solidFill>
                  <a:schemeClr val="tx2"/>
                </a:solidFill>
                <a:latin typeface="MAIF Black" panose="020B0803020200030B04" pitchFamily="34" charset="0"/>
              </a:rPr>
              <a:t>1.4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965ADFA1-52A4-4654-935D-1EC67330AB64}"/>
              </a:ext>
            </a:extLst>
          </p:cNvPr>
          <p:cNvSpPr txBox="1"/>
          <p:nvPr/>
        </p:nvSpPr>
        <p:spPr>
          <a:xfrm>
            <a:off x="2612572" y="5628413"/>
            <a:ext cx="48077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4625" indent="-174625">
              <a:buSzPct val="90000"/>
              <a:buBlip>
                <a:blip r:embed="rId2"/>
              </a:buBlip>
            </a:pPr>
            <a:r>
              <a:rPr lang="fr-FR" dirty="0">
                <a:solidFill>
                  <a:schemeClr val="tx2"/>
                </a:solidFill>
              </a:rPr>
              <a:t>Lorem ipsum </a:t>
            </a:r>
            <a:r>
              <a:rPr lang="fr-FR" dirty="0" err="1">
                <a:solidFill>
                  <a:schemeClr val="tx2"/>
                </a:solidFill>
              </a:rPr>
              <a:t>lorem</a:t>
            </a:r>
            <a:r>
              <a:rPr lang="fr-FR" dirty="0">
                <a:solidFill>
                  <a:schemeClr val="tx2"/>
                </a:solidFill>
              </a:rPr>
              <a:t> ipsum </a:t>
            </a:r>
            <a:r>
              <a:rPr lang="fr-FR" dirty="0" err="1">
                <a:solidFill>
                  <a:schemeClr val="tx2"/>
                </a:solidFill>
              </a:rPr>
              <a:t>lorem</a:t>
            </a:r>
            <a:r>
              <a:rPr lang="fr-FR" dirty="0">
                <a:solidFill>
                  <a:schemeClr val="tx2"/>
                </a:solidFill>
              </a:rPr>
              <a:t> </a:t>
            </a:r>
            <a:r>
              <a:rPr lang="fr-FR" dirty="0" err="1">
                <a:solidFill>
                  <a:schemeClr val="tx2"/>
                </a:solidFill>
              </a:rPr>
              <a:t>ispum</a:t>
            </a:r>
            <a:endParaRPr lang="fr-FR" dirty="0">
              <a:solidFill>
                <a:schemeClr val="tx2"/>
              </a:solidFill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65D24222-06CB-4B63-92B0-A7C7A1F28E15}"/>
              </a:ext>
            </a:extLst>
          </p:cNvPr>
          <p:cNvSpPr txBox="1"/>
          <p:nvPr/>
        </p:nvSpPr>
        <p:spPr>
          <a:xfrm>
            <a:off x="2177143" y="5628413"/>
            <a:ext cx="5245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>
                <a:solidFill>
                  <a:schemeClr val="tx2"/>
                </a:solidFill>
                <a:latin typeface="MAIF Black" panose="020B0803020200030B04" pitchFamily="34" charset="0"/>
              </a:rPr>
              <a:t>1.5</a:t>
            </a:r>
          </a:p>
        </p:txBody>
      </p:sp>
    </p:spTree>
    <p:extLst>
      <p:ext uri="{BB962C8B-B14F-4D97-AF65-F5344CB8AC3E}">
        <p14:creationId xmlns:p14="http://schemas.microsoft.com/office/powerpoint/2010/main" val="1507727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Espace réservé pour une image  6">
            <a:extLst>
              <a:ext uri="{FF2B5EF4-FFF2-40B4-BE49-F238E27FC236}">
                <a16:creationId xmlns:a16="http://schemas.microsoft.com/office/drawing/2014/main" id="{EBAB6891-FFBB-4FC0-9DF5-3BF32C3DC131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50" b="4650"/>
          <a:stretch>
            <a:fillRect/>
          </a:stretch>
        </p:blipFill>
        <p:spPr/>
      </p:pic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EA44B572-2C6D-4ECB-B9DA-896F89D8FA2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79048D2-9AA3-45DD-899E-F34DDFEFCFA8}" type="datetime1">
              <a:rPr lang="fr-FR" smtClean="0">
                <a:solidFill>
                  <a:schemeClr val="tx2">
                    <a:lumMod val="95000"/>
                    <a:lumOff val="5000"/>
                  </a:schemeClr>
                </a:solidFill>
              </a:rPr>
              <a:pPr/>
              <a:t>02/10/2019</a:t>
            </a:fld>
            <a:endParaRPr lang="fr-FR" dirty="0">
              <a:solidFill>
                <a:schemeClr val="tx2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411A3791-CDCD-4A32-9EAB-F9839CE9EF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>
                <a:solidFill>
                  <a:schemeClr val="tx2">
                    <a:lumMod val="95000"/>
                    <a:lumOff val="5000"/>
                  </a:schemeClr>
                </a:solidFill>
              </a:rPr>
              <a:t>Titre de la présentation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1BB1F3F1-0E0F-4EFB-B13B-53D93B01F1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>
                <a:solidFill>
                  <a:schemeClr val="tx2">
                    <a:lumMod val="95000"/>
                    <a:lumOff val="5000"/>
                  </a:schemeClr>
                </a:solidFill>
              </a:rPr>
              <a:pPr/>
              <a:t>15</a:t>
            </a:fld>
            <a:endParaRPr lang="fr-FR" dirty="0">
              <a:solidFill>
                <a:schemeClr val="tx2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4865B9BB-4214-43AE-96F3-E4F1C6208E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>
              <a:solidFill>
                <a:schemeClr val="tx2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34A2CBAC-F0FC-43F8-9954-0ABD25F5E8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.1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F477EB7F-0740-4BD5-A13B-1750BDE8036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3B9FE3E-91BD-4428-AE6D-B74A4C0F2DCD}"/>
              </a:ext>
            </a:extLst>
          </p:cNvPr>
          <p:cNvSpPr/>
          <p:nvPr/>
        </p:nvSpPr>
        <p:spPr>
          <a:xfrm>
            <a:off x="12287374" y="0"/>
            <a:ext cx="1885826" cy="1862048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lang="fr-FR" sz="1000" dirty="0">
                <a:solidFill>
                  <a:schemeClr val="tx1"/>
                </a:solidFill>
                <a:latin typeface="+mj-lt"/>
              </a:rPr>
              <a:t>Pour changer d’image :</a:t>
            </a:r>
          </a:p>
          <a:p>
            <a:pPr marL="171450" indent="-171450">
              <a:spcBef>
                <a:spcPts val="600"/>
              </a:spcBef>
              <a:buBlip>
                <a:blip r:embed="rId3"/>
              </a:buBlip>
            </a:pPr>
            <a:r>
              <a:rPr lang="fr-FR" sz="1000" dirty="0">
                <a:solidFill>
                  <a:schemeClr val="tx1"/>
                </a:solidFill>
              </a:rPr>
              <a:t>Supprimer l’image</a:t>
            </a:r>
            <a:br>
              <a:rPr lang="fr-FR" sz="1000" dirty="0">
                <a:solidFill>
                  <a:schemeClr val="tx1"/>
                </a:solidFill>
              </a:rPr>
            </a:br>
            <a:r>
              <a:rPr lang="fr-FR" sz="1000" dirty="0">
                <a:solidFill>
                  <a:schemeClr val="tx1"/>
                </a:solidFill>
              </a:rPr>
              <a:t>en place</a:t>
            </a:r>
          </a:p>
          <a:p>
            <a:pPr marL="171450" indent="-171450">
              <a:buBlip>
                <a:blip r:embed="rId3"/>
              </a:buBlip>
            </a:pPr>
            <a:r>
              <a:rPr lang="fr-FR" sz="1000" dirty="0">
                <a:solidFill>
                  <a:schemeClr val="tx1"/>
                </a:solidFill>
              </a:rPr>
              <a:t>Cliquer sur l’icone</a:t>
            </a:r>
            <a:br>
              <a:rPr lang="fr-FR" sz="1000" dirty="0">
                <a:solidFill>
                  <a:schemeClr val="tx1"/>
                </a:solidFill>
              </a:rPr>
            </a:br>
            <a:r>
              <a:rPr lang="fr-FR" sz="1000" dirty="0">
                <a:solidFill>
                  <a:schemeClr val="tx1"/>
                </a:solidFill>
              </a:rPr>
              <a:t>au milieu du bloc </a:t>
            </a:r>
          </a:p>
          <a:p>
            <a:pPr marL="171450" indent="-171450">
              <a:buBlip>
                <a:blip r:embed="rId3"/>
              </a:buBlip>
            </a:pPr>
            <a:r>
              <a:rPr lang="fr-FR" sz="1000" dirty="0">
                <a:solidFill>
                  <a:schemeClr val="tx1"/>
                </a:solidFill>
              </a:rPr>
              <a:t>Sélectionner l’image souhaitée dans votre ordinateur</a:t>
            </a:r>
          </a:p>
          <a:p>
            <a:pPr marL="171450" indent="-171450">
              <a:buBlip>
                <a:blip r:embed="rId3"/>
              </a:buBlip>
            </a:pPr>
            <a:r>
              <a:rPr lang="fr-FR" sz="1000" dirty="0">
                <a:solidFill>
                  <a:schemeClr val="tx1"/>
                </a:solidFill>
              </a:rPr>
              <a:t>Faire un clic droit sur l’image, puis choisir « Arrière-plan »</a:t>
            </a:r>
          </a:p>
        </p:txBody>
      </p:sp>
    </p:spTree>
    <p:extLst>
      <p:ext uri="{BB962C8B-B14F-4D97-AF65-F5344CB8AC3E}">
        <p14:creationId xmlns:p14="http://schemas.microsoft.com/office/powerpoint/2010/main" val="2321340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D04ED2C9-5AB6-40BB-AC37-52AB5F35C02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D835151-A525-4E88-9A18-B108D5432797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899BE57-6388-4883-B052-4E2EEDBB893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7B102C05-F8C0-4A46-BAA3-865B8434C4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16</a:t>
            </a:fld>
            <a:endParaRPr lang="fr-FR" dirty="0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D15492C0-97C9-48C7-A6D4-B1544DB4E2F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0028" y="972088"/>
            <a:ext cx="11385551" cy="400110"/>
          </a:xfrm>
        </p:spPr>
        <p:txBody>
          <a:bodyPr/>
          <a:lstStyle/>
          <a:p>
            <a:r>
              <a:rPr lang="fr-FR" dirty="0"/>
              <a:t>Textes &amp; visuels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E81C7D56-8FB8-4D8C-9BB1-CF9DE9B064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.2</a:t>
            </a:r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32C4E06B-51C7-4585-8875-5A3ECB5ADD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0633151-D778-41C9-814E-6750D7C48DF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75500" y="2650600"/>
            <a:ext cx="4610098" cy="2251899"/>
          </a:xfrm>
        </p:spPr>
        <p:txBody>
          <a:bodyPr/>
          <a:lstStyle/>
          <a:p>
            <a:pPr lvl="0"/>
            <a:r>
              <a:rPr lang="fr-FR" sz="2400" b="1" dirty="0">
                <a:solidFill>
                  <a:srgbClr val="000000"/>
                </a:solidFill>
              </a:rPr>
              <a:t>Accroche ut et </a:t>
            </a:r>
            <a:r>
              <a:rPr lang="fr-FR" sz="2400" b="1" dirty="0" err="1">
                <a:solidFill>
                  <a:srgbClr val="FC0D1A"/>
                </a:solidFill>
              </a:rPr>
              <a:t>voluptatur</a:t>
            </a:r>
            <a:r>
              <a:rPr lang="fr-FR" sz="2400" b="1" dirty="0">
                <a:solidFill>
                  <a:srgbClr val="FC0D1A"/>
                </a:solidFill>
              </a:rPr>
              <a:t> </a:t>
            </a:r>
            <a:r>
              <a:rPr lang="fr-FR" sz="2400" b="1" dirty="0" err="1">
                <a:solidFill>
                  <a:srgbClr val="FC0D1A"/>
                </a:solidFill>
              </a:rPr>
              <a:t>sandicium</a:t>
            </a:r>
            <a:r>
              <a:rPr lang="fr-FR" sz="2400" b="1" dirty="0">
                <a:solidFill>
                  <a:srgbClr val="000000"/>
                </a:solidFill>
              </a:rPr>
              <a:t> </a:t>
            </a:r>
            <a:r>
              <a:rPr lang="fr-FR" sz="2400" b="1" dirty="0" err="1">
                <a:solidFill>
                  <a:srgbClr val="000000"/>
                </a:solidFill>
              </a:rPr>
              <a:t>liqui</a:t>
            </a:r>
            <a:r>
              <a:rPr lang="fr-FR" sz="2400" b="1" dirty="0">
                <a:solidFill>
                  <a:srgbClr val="000000"/>
                </a:solidFill>
              </a:rPr>
              <a:t> con </a:t>
            </a:r>
            <a:r>
              <a:rPr lang="fr-FR" sz="2400" b="1" dirty="0" err="1">
                <a:solidFill>
                  <a:srgbClr val="000000"/>
                </a:solidFill>
              </a:rPr>
              <a:t>nienistiur</a:t>
            </a:r>
            <a:r>
              <a:rPr lang="fr-FR" sz="2400" b="1" dirty="0">
                <a:solidFill>
                  <a:srgbClr val="000000"/>
                </a:solidFill>
              </a:rPr>
              <a:t> ma </a:t>
            </a:r>
            <a:r>
              <a:rPr lang="fr-FR" sz="2400" b="1" dirty="0" err="1">
                <a:solidFill>
                  <a:srgbClr val="000000"/>
                </a:solidFill>
              </a:rPr>
              <a:t>dio</a:t>
            </a:r>
            <a:endParaRPr lang="fr-FR" sz="2400" b="1" dirty="0">
              <a:solidFill>
                <a:srgbClr val="000000"/>
              </a:solidFill>
            </a:endParaRPr>
          </a:p>
          <a:p>
            <a:pPr lvl="0"/>
            <a:r>
              <a:rPr lang="fr-FR" dirty="0">
                <a:solidFill>
                  <a:srgbClr val="000000"/>
                </a:solidFill>
              </a:rPr>
              <a:t>Texte courant </a:t>
            </a:r>
            <a:r>
              <a:rPr lang="fr-FR" dirty="0" err="1">
                <a:solidFill>
                  <a:srgbClr val="000000"/>
                </a:solidFill>
              </a:rPr>
              <a:t>Archicitem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ata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quas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ipsunt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dolorem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sapisquasit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quatis</a:t>
            </a:r>
            <a:r>
              <a:rPr lang="fr-FR" dirty="0">
                <a:solidFill>
                  <a:srgbClr val="000000"/>
                </a:solidFill>
              </a:rPr>
              <a:t> ut que </a:t>
            </a:r>
            <a:r>
              <a:rPr lang="fr-FR" dirty="0" err="1">
                <a:solidFill>
                  <a:srgbClr val="000000"/>
                </a:solidFill>
              </a:rPr>
              <a:t>volori</a:t>
            </a: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271C2C1-3069-477F-B48A-6427327382DE}"/>
              </a:ext>
            </a:extLst>
          </p:cNvPr>
          <p:cNvSpPr/>
          <p:nvPr/>
        </p:nvSpPr>
        <p:spPr>
          <a:xfrm>
            <a:off x="12287374" y="0"/>
            <a:ext cx="1885826" cy="1400383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lang="fr-FR" sz="1000" dirty="0">
                <a:solidFill>
                  <a:schemeClr val="tx1"/>
                </a:solidFill>
                <a:latin typeface="+mj-lt"/>
              </a:rPr>
              <a:t>Pour changer d’image:</a:t>
            </a:r>
          </a:p>
          <a:p>
            <a:pPr marL="171450" indent="-171450">
              <a:spcBef>
                <a:spcPts val="600"/>
              </a:spcBef>
              <a:buBlip>
                <a:blip r:embed="rId2"/>
              </a:buBlip>
            </a:pPr>
            <a:r>
              <a:rPr lang="fr-FR" sz="1000" dirty="0">
                <a:solidFill>
                  <a:schemeClr val="tx1"/>
                </a:solidFill>
              </a:rPr>
              <a:t>Supprimer l’image</a:t>
            </a:r>
            <a:br>
              <a:rPr lang="fr-FR" sz="1000" dirty="0">
                <a:solidFill>
                  <a:schemeClr val="tx1"/>
                </a:solidFill>
              </a:rPr>
            </a:br>
            <a:r>
              <a:rPr lang="fr-FR" sz="1000" dirty="0">
                <a:solidFill>
                  <a:schemeClr val="tx1"/>
                </a:solidFill>
              </a:rPr>
              <a:t>en place</a:t>
            </a:r>
          </a:p>
          <a:p>
            <a:pPr marL="171450" indent="-171450">
              <a:buBlip>
                <a:blip r:embed="rId2"/>
              </a:buBlip>
            </a:pPr>
            <a:r>
              <a:rPr lang="fr-FR" sz="1000" dirty="0">
                <a:solidFill>
                  <a:schemeClr val="tx1"/>
                </a:solidFill>
              </a:rPr>
              <a:t>Cliquer sur l’icone</a:t>
            </a:r>
            <a:br>
              <a:rPr lang="fr-FR" sz="1000" dirty="0">
                <a:solidFill>
                  <a:schemeClr val="tx1"/>
                </a:solidFill>
              </a:rPr>
            </a:br>
            <a:r>
              <a:rPr lang="fr-FR" sz="1000" dirty="0">
                <a:solidFill>
                  <a:schemeClr val="tx1"/>
                </a:solidFill>
              </a:rPr>
              <a:t>au milieu du bloc </a:t>
            </a:r>
          </a:p>
          <a:p>
            <a:pPr marL="171450" indent="-171450">
              <a:buBlip>
                <a:blip r:embed="rId2"/>
              </a:buBlip>
            </a:pPr>
            <a:r>
              <a:rPr lang="fr-FR" sz="1000" dirty="0">
                <a:solidFill>
                  <a:schemeClr val="tx1"/>
                </a:solidFill>
              </a:rPr>
              <a:t>Sélectionner l’image souhaitée dans votre ordinateur</a:t>
            </a:r>
          </a:p>
        </p:txBody>
      </p:sp>
      <p:pic>
        <p:nvPicPr>
          <p:cNvPr id="7" name="Espace réservé pour une image  6">
            <a:extLst>
              <a:ext uri="{FF2B5EF4-FFF2-40B4-BE49-F238E27FC236}">
                <a16:creationId xmlns:a16="http://schemas.microsoft.com/office/drawing/2014/main" id="{EE139EE4-D876-4BC5-B453-B25C69EE7038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95" b="509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50626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37647216-09DB-4C34-B18A-ED3C9589570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64BF591-850E-49B2-98D8-C2C56C02AB06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C765C5D2-E7FB-4E23-AD80-77431269FFC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166B03B-7E33-4883-80DC-63CC9D79BD6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17</a:t>
            </a:fld>
            <a:endParaRPr lang="fr-FR" dirty="0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107D612-9CC2-4ED5-904F-4C22B01F932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0028" y="960322"/>
            <a:ext cx="11375571" cy="423642"/>
          </a:xfrm>
        </p:spPr>
        <p:txBody>
          <a:bodyPr/>
          <a:lstStyle/>
          <a:p>
            <a:endParaRPr lang="fr-FR"/>
          </a:p>
        </p:txBody>
      </p:sp>
      <p:sp>
        <p:nvSpPr>
          <p:cNvPr id="11" name="Espace réservé du contenu 10">
            <a:extLst>
              <a:ext uri="{FF2B5EF4-FFF2-40B4-BE49-F238E27FC236}">
                <a16:creationId xmlns:a16="http://schemas.microsoft.com/office/drawing/2014/main" id="{8DD24D35-6C21-45DE-ABCF-D5A0F2D51A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it-IT" b="1" dirty="0">
                <a:solidFill>
                  <a:srgbClr val="FF0000"/>
                </a:solidFill>
              </a:rPr>
              <a:t>Accroche</a:t>
            </a:r>
            <a:r>
              <a:rPr lang="it-IT" dirty="0"/>
              <a:t> congue massa, fusce posuere, magna sed.</a:t>
            </a:r>
          </a:p>
          <a:p>
            <a:pPr lvl="1"/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</a:t>
            </a:r>
          </a:p>
          <a:p>
            <a:pPr lvl="2"/>
            <a:r>
              <a:rPr lang="fr-FR" dirty="0"/>
              <a:t>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  <a:p>
            <a:pPr lvl="1"/>
            <a:endParaRPr lang="it-IT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F985CE98-EA04-4D82-B1FC-196D7C8ACF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1</a:t>
            </a:r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2D27746E-C11B-49E5-9C88-9048C5EA43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80856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29834583-B939-4BD9-9027-151C0DD08C6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6AFC131-00DB-48D0-9D69-F84E0352E92F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02EB974-166B-4C34-9DF0-68DB7DC3CEF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322F0DA9-3BF6-4DE0-B3D7-24F2A31E333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18</a:t>
            </a:fld>
            <a:endParaRPr lang="fr-FR" dirty="0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DBFE47ED-A827-45FC-A443-72693A31DCE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070682C0-848F-444A-AD29-FBEEDEAB28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1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C16DB637-FA72-4C91-8FFF-AFEFAD608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CC57ECFC-B23B-4196-8A85-1023840AEDE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b="1" dirty="0">
                <a:solidFill>
                  <a:schemeClr val="bg2"/>
                </a:solidFill>
              </a:rPr>
              <a:t>Accroche</a:t>
            </a:r>
            <a:r>
              <a:rPr lang="fr-FR" dirty="0">
                <a:solidFill>
                  <a:schemeClr val="bg2"/>
                </a:solidFill>
              </a:rPr>
              <a:t> </a:t>
            </a:r>
            <a:r>
              <a:rPr lang="fr-FR" dirty="0" err="1"/>
              <a:t>congue</a:t>
            </a:r>
            <a:r>
              <a:rPr lang="fr-FR" dirty="0"/>
              <a:t> massa, </a:t>
            </a:r>
            <a:r>
              <a:rPr lang="fr-FR" dirty="0" err="1"/>
              <a:t>fusce</a:t>
            </a:r>
            <a:r>
              <a:rPr lang="fr-FR" dirty="0"/>
              <a:t> </a:t>
            </a:r>
            <a:r>
              <a:rPr lang="fr-FR" dirty="0" err="1"/>
              <a:t>posuere</a:t>
            </a:r>
            <a:r>
              <a:rPr lang="fr-FR" dirty="0"/>
              <a:t>, magna </a:t>
            </a:r>
            <a:r>
              <a:rPr lang="fr-FR" dirty="0" err="1"/>
              <a:t>sed</a:t>
            </a:r>
            <a:r>
              <a:rPr lang="fr-FR" dirty="0"/>
              <a:t>.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978F234C-6344-4615-B644-658248189E0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b="1" dirty="0"/>
              <a:t>Colonne 1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endParaRPr lang="fr-FR" dirty="0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FB809A1C-EF82-4ED1-A7A2-890C74FE906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b="1" dirty="0"/>
              <a:t>Colonne 2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endParaRPr lang="fr-FR" dirty="0"/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8DD71A1F-9F41-448A-BAFD-2A1C81134F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b="1" dirty="0"/>
              <a:t>Colonne 3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62520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512BAAA5-3844-45A6-B261-AB982CFC9C0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E4870E0-280E-4B53-815C-4F8182C54FA8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A18B467-8AA6-48CA-BB24-959D5808BC1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719D59BE-4EC5-490D-A432-3949F276FE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19</a:t>
            </a:fld>
            <a:endParaRPr lang="fr-FR" dirty="0"/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68A546A7-B5F1-4524-9F2E-19146845016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A295375F-AE17-465B-8CEE-06E032CAD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2</a:t>
            </a:r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6AA77572-70A5-42DA-8304-AEC605FF66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844D88C6-693C-47B9-B962-B77A9FD2858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6399" y="1825625"/>
            <a:ext cx="5522067" cy="2862322"/>
          </a:xfrm>
        </p:spPr>
        <p:txBody>
          <a:bodyPr/>
          <a:lstStyle/>
          <a:p>
            <a:r>
              <a:rPr lang="fr-FR" b="1" dirty="0"/>
              <a:t>Texte courant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 </a:t>
            </a:r>
            <a:r>
              <a:rPr lang="fr-FR" dirty="0" err="1"/>
              <a:t>apidunture</a:t>
            </a:r>
            <a:r>
              <a:rPr lang="fr-FR" dirty="0"/>
              <a:t> dit quo </a:t>
            </a:r>
            <a:r>
              <a:rPr lang="fr-FR" dirty="0" err="1"/>
              <a:t>molut</a:t>
            </a:r>
            <a:r>
              <a:rPr lang="fr-FR" dirty="0"/>
              <a:t> est arum et </a:t>
            </a:r>
            <a:r>
              <a:rPr lang="fr-FR" dirty="0" err="1"/>
              <a:t>voluptatquo</a:t>
            </a:r>
            <a:r>
              <a:rPr lang="fr-FR" dirty="0"/>
              <a:t> </a:t>
            </a:r>
            <a:r>
              <a:rPr lang="fr-FR" dirty="0" err="1"/>
              <a:t>omnis</a:t>
            </a:r>
            <a:r>
              <a:rPr lang="fr-FR" dirty="0"/>
              <a:t> </a:t>
            </a:r>
            <a:r>
              <a:rPr lang="fr-FR" dirty="0" err="1"/>
              <a:t>sequiam</a:t>
            </a:r>
            <a:r>
              <a:rPr lang="fr-FR" dirty="0"/>
              <a:t> que </a:t>
            </a:r>
            <a:r>
              <a:rPr lang="fr-FR" dirty="0" err="1"/>
              <a:t>rernamusdae</a:t>
            </a:r>
            <a:r>
              <a:rPr lang="fr-FR" dirty="0"/>
              <a:t> </a:t>
            </a:r>
            <a:r>
              <a:rPr lang="fr-FR" dirty="0" err="1"/>
              <a:t>rercid</a:t>
            </a:r>
            <a:r>
              <a:rPr lang="fr-FR" dirty="0"/>
              <a:t> </a:t>
            </a:r>
            <a:r>
              <a:rPr lang="fr-FR" dirty="0" err="1"/>
              <a:t>quiaeperunt</a:t>
            </a:r>
            <a:r>
              <a:rPr lang="fr-FR" dirty="0"/>
              <a:t> </a:t>
            </a:r>
            <a:r>
              <a:rPr lang="fr-FR" dirty="0" err="1"/>
              <a:t>reri</a:t>
            </a:r>
            <a:r>
              <a:rPr lang="fr-FR" dirty="0"/>
              <a:t> </a:t>
            </a:r>
            <a:r>
              <a:rPr lang="fr-FR" dirty="0" err="1"/>
              <a:t>officipsam</a:t>
            </a:r>
            <a:r>
              <a:rPr lang="fr-FR" dirty="0"/>
              <a:t>,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fugiaes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as </a:t>
            </a:r>
            <a:r>
              <a:rPr lang="fr-FR" dirty="0" err="1"/>
              <a:t>reictem</a:t>
            </a:r>
            <a:r>
              <a:rPr lang="fr-FR" dirty="0"/>
              <a:t> </a:t>
            </a:r>
            <a:r>
              <a:rPr lang="fr-FR" dirty="0" err="1"/>
              <a:t>quamusci</a:t>
            </a:r>
            <a:r>
              <a:rPr lang="fr-FR" dirty="0"/>
              <a:t> </a:t>
            </a:r>
            <a:r>
              <a:rPr lang="fr-FR" dirty="0" err="1"/>
              <a:t>dollaborepe</a:t>
            </a:r>
            <a:r>
              <a:rPr lang="fr-FR" dirty="0"/>
              <a:t> cum </a:t>
            </a:r>
            <a:r>
              <a:rPr lang="fr-FR" dirty="0" err="1"/>
              <a:t>quistem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haris</a:t>
            </a:r>
            <a:r>
              <a:rPr lang="fr-FR" dirty="0"/>
              <a:t> rations </a:t>
            </a:r>
            <a:r>
              <a:rPr lang="fr-FR" dirty="0" err="1"/>
              <a:t>enihit</a:t>
            </a:r>
            <a:r>
              <a:rPr lang="fr-FR" dirty="0"/>
              <a:t> </a:t>
            </a:r>
            <a:r>
              <a:rPr lang="fr-FR" dirty="0" err="1"/>
              <a:t>voluptia</a:t>
            </a:r>
            <a:r>
              <a:rPr lang="fr-FR" dirty="0"/>
              <a:t> </a:t>
            </a:r>
            <a:r>
              <a:rPr lang="fr-FR" dirty="0" err="1"/>
              <a:t>pra</a:t>
            </a:r>
            <a:r>
              <a:rPr lang="fr-FR" dirty="0"/>
              <a:t> </a:t>
            </a:r>
            <a:r>
              <a:rPr lang="fr-FR" dirty="0" err="1"/>
              <a:t>conecaeptata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dolumqu</a:t>
            </a:r>
            <a:endParaRPr lang="fr-FR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61413EF-C012-49D0-B633-DB890B2567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63531" y="1825625"/>
            <a:ext cx="5522067" cy="2862322"/>
          </a:xfrm>
        </p:spPr>
        <p:txBody>
          <a:bodyPr/>
          <a:lstStyle/>
          <a:p>
            <a:r>
              <a:rPr lang="fr-FR" b="1" dirty="0"/>
              <a:t>Texte courant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 </a:t>
            </a:r>
            <a:r>
              <a:rPr lang="fr-FR" dirty="0" err="1"/>
              <a:t>apidunture</a:t>
            </a:r>
            <a:r>
              <a:rPr lang="fr-FR" dirty="0"/>
              <a:t> dit quo </a:t>
            </a:r>
            <a:r>
              <a:rPr lang="fr-FR" dirty="0" err="1"/>
              <a:t>molut</a:t>
            </a:r>
            <a:r>
              <a:rPr lang="fr-FR" dirty="0"/>
              <a:t> est arum et </a:t>
            </a:r>
            <a:r>
              <a:rPr lang="fr-FR" dirty="0" err="1"/>
              <a:t>voluptatquo</a:t>
            </a:r>
            <a:r>
              <a:rPr lang="fr-FR" dirty="0"/>
              <a:t> </a:t>
            </a:r>
            <a:r>
              <a:rPr lang="fr-FR" dirty="0" err="1"/>
              <a:t>omnis</a:t>
            </a:r>
            <a:r>
              <a:rPr lang="fr-FR" dirty="0"/>
              <a:t> </a:t>
            </a:r>
            <a:r>
              <a:rPr lang="fr-FR" dirty="0" err="1"/>
              <a:t>sequiam</a:t>
            </a:r>
            <a:r>
              <a:rPr lang="fr-FR" dirty="0"/>
              <a:t> que </a:t>
            </a:r>
            <a:r>
              <a:rPr lang="fr-FR" dirty="0" err="1"/>
              <a:t>rernamusdae</a:t>
            </a:r>
            <a:r>
              <a:rPr lang="fr-FR" dirty="0"/>
              <a:t> </a:t>
            </a:r>
            <a:r>
              <a:rPr lang="fr-FR" dirty="0" err="1"/>
              <a:t>rercid</a:t>
            </a:r>
            <a:r>
              <a:rPr lang="fr-FR" dirty="0"/>
              <a:t> </a:t>
            </a:r>
            <a:r>
              <a:rPr lang="fr-FR" dirty="0" err="1"/>
              <a:t>quiaeperunt</a:t>
            </a:r>
            <a:r>
              <a:rPr lang="fr-FR" dirty="0"/>
              <a:t> </a:t>
            </a:r>
            <a:r>
              <a:rPr lang="fr-FR" dirty="0" err="1"/>
              <a:t>reri</a:t>
            </a:r>
            <a:r>
              <a:rPr lang="fr-FR" dirty="0"/>
              <a:t> </a:t>
            </a:r>
            <a:r>
              <a:rPr lang="fr-FR" dirty="0" err="1"/>
              <a:t>officipsam</a:t>
            </a:r>
            <a:r>
              <a:rPr lang="fr-FR" dirty="0"/>
              <a:t>,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fugiaes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as </a:t>
            </a:r>
            <a:r>
              <a:rPr lang="fr-FR" dirty="0" err="1"/>
              <a:t>reictem</a:t>
            </a:r>
            <a:r>
              <a:rPr lang="fr-FR" dirty="0"/>
              <a:t> </a:t>
            </a:r>
            <a:r>
              <a:rPr lang="fr-FR" dirty="0" err="1"/>
              <a:t>quamusci</a:t>
            </a:r>
            <a:r>
              <a:rPr lang="fr-FR" dirty="0"/>
              <a:t> </a:t>
            </a:r>
            <a:r>
              <a:rPr lang="fr-FR" dirty="0" err="1"/>
              <a:t>dollaborepe</a:t>
            </a:r>
            <a:r>
              <a:rPr lang="fr-FR" dirty="0"/>
              <a:t> cum </a:t>
            </a:r>
            <a:r>
              <a:rPr lang="fr-FR" dirty="0" err="1"/>
              <a:t>quistem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haris</a:t>
            </a:r>
            <a:r>
              <a:rPr lang="fr-FR" dirty="0"/>
              <a:t> rations </a:t>
            </a:r>
            <a:r>
              <a:rPr lang="fr-FR" dirty="0" err="1"/>
              <a:t>enihit</a:t>
            </a:r>
            <a:r>
              <a:rPr lang="fr-FR" dirty="0"/>
              <a:t> </a:t>
            </a:r>
            <a:r>
              <a:rPr lang="fr-FR" dirty="0" err="1"/>
              <a:t>voluptia</a:t>
            </a:r>
            <a:r>
              <a:rPr lang="fr-FR" dirty="0"/>
              <a:t> </a:t>
            </a:r>
            <a:r>
              <a:rPr lang="fr-FR" dirty="0" err="1"/>
              <a:t>pra</a:t>
            </a:r>
            <a:r>
              <a:rPr lang="fr-FR" dirty="0"/>
              <a:t> </a:t>
            </a:r>
            <a:r>
              <a:rPr lang="fr-FR" dirty="0" err="1"/>
              <a:t>conecaeptata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dolumq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68236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Espace réservé du texte 6">
            <a:extLst>
              <a:ext uri="{FF2B5EF4-FFF2-40B4-BE49-F238E27FC236}">
                <a16:creationId xmlns:a16="http://schemas.microsoft.com/office/drawing/2014/main" id="{2C387925-3364-4079-9DCD-F295918357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3200" y="1339200"/>
            <a:ext cx="6897486" cy="4834800"/>
          </a:xfrm>
        </p:spPr>
        <p:txBody>
          <a:bodyPr>
            <a:normAutofit/>
          </a:bodyPr>
          <a:lstStyle/>
          <a:p>
            <a:r>
              <a:rPr lang="fr-FR" b="1" dirty="0">
                <a:solidFill>
                  <a:schemeClr val="bg2"/>
                </a:solidFill>
              </a:rPr>
              <a:t>Diapositive de contenu</a:t>
            </a:r>
          </a:p>
          <a:p>
            <a:pPr lvl="1"/>
            <a:r>
              <a:rPr lang="fr-FR" b="1" dirty="0"/>
              <a:t>Texte</a:t>
            </a:r>
          </a:p>
          <a:p>
            <a:pPr lvl="2"/>
            <a:r>
              <a:rPr lang="fr-FR" dirty="0"/>
              <a:t>Couleurs : blanc, noir, rouge ; mise en valeur : palette 100 % d’opacité uniquement</a:t>
            </a:r>
          </a:p>
          <a:p>
            <a:pPr lvl="2"/>
            <a:r>
              <a:rPr lang="fr-FR" dirty="0"/>
              <a:t>Titre : sur 1 ligne – MAIF Medium (En-tête) – 32 pts</a:t>
            </a:r>
          </a:p>
          <a:p>
            <a:pPr lvl="2"/>
            <a:r>
              <a:rPr lang="fr-FR" dirty="0"/>
              <a:t>Contenu : MAIF (Corps)</a:t>
            </a:r>
          </a:p>
          <a:p>
            <a:pPr lvl="3"/>
            <a:r>
              <a:rPr lang="fr-FR" dirty="0"/>
              <a:t>Premier niveau : 20 pts</a:t>
            </a:r>
          </a:p>
          <a:p>
            <a:pPr lvl="3"/>
            <a:r>
              <a:rPr lang="fr-FR" dirty="0"/>
              <a:t>Deuxième niveau : 18 pts</a:t>
            </a:r>
          </a:p>
          <a:p>
            <a:pPr lvl="3"/>
            <a:r>
              <a:rPr lang="fr-FR" dirty="0"/>
              <a:t>Troisième niveau : 16 pts</a:t>
            </a:r>
          </a:p>
          <a:p>
            <a:pPr lvl="3"/>
            <a:r>
              <a:rPr lang="fr-FR" dirty="0"/>
              <a:t>Quatrième niveau : 14 pts</a:t>
            </a:r>
          </a:p>
          <a:p>
            <a:pPr lvl="2"/>
            <a:r>
              <a:rPr lang="fr-FR" dirty="0"/>
              <a:t>Pour passer d’un niveau de texte à un autre, </a:t>
            </a:r>
            <a:br>
              <a:rPr lang="fr-FR" dirty="0"/>
            </a:br>
            <a:r>
              <a:rPr lang="fr-FR" dirty="0"/>
              <a:t>utiliser la tabulation </a:t>
            </a:r>
            <a:br>
              <a:rPr lang="fr-FR" dirty="0"/>
            </a:br>
            <a:r>
              <a:rPr lang="fr-FR" dirty="0"/>
              <a:t>vers l’avant ou vers l’arrière </a:t>
            </a:r>
          </a:p>
          <a:p>
            <a:pPr lvl="2"/>
            <a:r>
              <a:rPr lang="fr-FR" dirty="0"/>
              <a:t>Mots en exergue : </a:t>
            </a:r>
            <a:r>
              <a:rPr lang="fr-FR" b="1" dirty="0"/>
              <a:t>MAIF (Corps) – Bold </a:t>
            </a:r>
            <a:r>
              <a:rPr lang="fr-FR" dirty="0"/>
              <a:t>(noir ou rouge)</a:t>
            </a:r>
          </a:p>
          <a:p>
            <a:pPr lvl="2"/>
            <a:r>
              <a:rPr lang="fr-FR" dirty="0"/>
              <a:t>Chiffres en exergue : </a:t>
            </a:r>
            <a:r>
              <a:rPr lang="fr-FR" b="1" dirty="0"/>
              <a:t>MAIF Black </a:t>
            </a:r>
            <a:r>
              <a:rPr lang="fr-FR" dirty="0"/>
              <a:t>– Couleurs palette à 100 %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AD71A73-1159-4FFA-B87D-E2794CC1D59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00686" y="1339200"/>
            <a:ext cx="4416105" cy="4834800"/>
          </a:xfrm>
        </p:spPr>
        <p:txBody>
          <a:bodyPr/>
          <a:lstStyle/>
          <a:p>
            <a:pPr lvl="1"/>
            <a:endParaRPr lang="fr-FR" dirty="0"/>
          </a:p>
          <a:p>
            <a:pPr lvl="1"/>
            <a:r>
              <a:rPr lang="fr-FR" b="1" dirty="0"/>
              <a:t>Image</a:t>
            </a:r>
          </a:p>
          <a:p>
            <a:pPr lvl="2"/>
            <a:r>
              <a:rPr lang="fr-FR" dirty="0"/>
              <a:t>Pour changer une image existante</a:t>
            </a:r>
          </a:p>
          <a:p>
            <a:pPr lvl="3"/>
            <a:r>
              <a:rPr lang="fr-FR" dirty="0"/>
              <a:t>Supprimer le visuel existant</a:t>
            </a:r>
          </a:p>
          <a:p>
            <a:pPr lvl="3"/>
            <a:r>
              <a:rPr lang="fr-FR" dirty="0"/>
              <a:t>Cliquer sur l’icône au centre de la zone grisée</a:t>
            </a:r>
          </a:p>
          <a:p>
            <a:pPr lvl="3"/>
            <a:r>
              <a:rPr lang="fr-FR" dirty="0"/>
              <a:t>Parcourir l’ordinateur pour choisir une image</a:t>
            </a:r>
          </a:p>
          <a:p>
            <a:pPr lvl="1"/>
            <a:r>
              <a:rPr lang="fr-FR" b="1" dirty="0"/>
              <a:t>Fonds de slide</a:t>
            </a:r>
          </a:p>
          <a:p>
            <a:pPr lvl="2"/>
            <a:r>
              <a:rPr lang="fr-FR" dirty="0"/>
              <a:t>Palette de couleurs 70 % transparence uniquement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D8D0309-B1B6-4963-8654-4D60F5DA8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23834388-02F6-4478-B485-B922F8476B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2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4F30DF41-5B2D-41E1-959C-C8ECFF09110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A103C846-A6B9-4F13-A740-99B1A4CE791B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F3B3FFE-6908-4AF8-9671-D6F51BC26F6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 dirty="0"/>
              <a:t>Titre de la présentation</a:t>
            </a:r>
          </a:p>
        </p:txBody>
      </p:sp>
      <p:sp>
        <p:nvSpPr>
          <p:cNvPr id="30" name="Espace réservé du numéro de diapositive 29">
            <a:extLst>
              <a:ext uri="{FF2B5EF4-FFF2-40B4-BE49-F238E27FC236}">
                <a16:creationId xmlns:a16="http://schemas.microsoft.com/office/drawing/2014/main" id="{1C0B2117-A2D8-485E-A559-6DB40327AF8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2</a:t>
            </a:fld>
            <a:endParaRPr lang="fr-FR" dirty="0"/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154E8773-2579-44A8-8800-5AB687B9459E}"/>
              </a:ext>
            </a:extLst>
          </p:cNvPr>
          <p:cNvGrpSpPr/>
          <p:nvPr/>
        </p:nvGrpSpPr>
        <p:grpSpPr>
          <a:xfrm>
            <a:off x="3092224" y="4608004"/>
            <a:ext cx="473049" cy="238492"/>
            <a:chOff x="10642626" y="3913833"/>
            <a:chExt cx="549518" cy="277045"/>
          </a:xfrm>
        </p:grpSpPr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id="{1A806A7C-4114-4585-9881-BE8CA5080F5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642626" y="3913833"/>
              <a:ext cx="251390" cy="277045"/>
            </a:xfrm>
            <a:prstGeom prst="rect">
              <a:avLst/>
            </a:prstGeom>
          </p:spPr>
        </p:pic>
        <p:pic>
          <p:nvPicPr>
            <p:cNvPr id="12" name="Image 11">
              <a:extLst>
                <a:ext uri="{FF2B5EF4-FFF2-40B4-BE49-F238E27FC236}">
                  <a16:creationId xmlns:a16="http://schemas.microsoft.com/office/drawing/2014/main" id="{E2E37182-89A5-49FB-8DC8-EEE99D8B2E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940754" y="3913833"/>
              <a:ext cx="251390" cy="2770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31426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re 22">
            <a:extLst>
              <a:ext uri="{FF2B5EF4-FFF2-40B4-BE49-F238E27FC236}">
                <a16:creationId xmlns:a16="http://schemas.microsoft.com/office/drawing/2014/main" id="{48475D32-B348-421F-BB7A-D11B93DF2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A295375F-AE17-465B-8CEE-06E032CAD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2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512BAAA5-3844-45A6-B261-AB982CFC9C0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4870E0-280E-4B53-815C-4F8182C54FA8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A18B467-8AA6-48CA-BB24-959D5808BC1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719D59BE-4EC5-490D-A432-3949F276FED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20</a:t>
            </a:fld>
            <a:endParaRPr lang="fr-FR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61413EF-C012-49D0-B633-DB890B2567D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D46CD29-1E13-430C-BD32-856D5CC3B49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685439D-0C34-49A6-8EDE-8DB34C0BC0C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Comparaison</a:t>
            </a:r>
          </a:p>
        </p:txBody>
      </p:sp>
      <p:sp>
        <p:nvSpPr>
          <p:cNvPr id="24" name="Espace réservé du contenu 23">
            <a:extLst>
              <a:ext uri="{FF2B5EF4-FFF2-40B4-BE49-F238E27FC236}">
                <a16:creationId xmlns:a16="http://schemas.microsoft.com/office/drawing/2014/main" id="{8802EB58-CA5E-4530-AF15-3E33BDC8F2CA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5" name="Espace réservé du contenu 24">
            <a:extLst>
              <a:ext uri="{FF2B5EF4-FFF2-40B4-BE49-F238E27FC236}">
                <a16:creationId xmlns:a16="http://schemas.microsoft.com/office/drawing/2014/main" id="{DE595639-4474-42C6-AA55-A0A19B394759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04001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itre 53">
            <a:extLst>
              <a:ext uri="{FF2B5EF4-FFF2-40B4-BE49-F238E27FC236}">
                <a16:creationId xmlns:a16="http://schemas.microsoft.com/office/drawing/2014/main" id="{08ECF8AB-1DDB-48D0-8B5A-1FACAE7869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7D764B29-01D7-4B1F-8C21-F4ADDD4544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5EEEB2-3EFA-4963-8F0B-7E9826C6AD0E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5D16528-C3E9-4279-9BD2-762832B59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9" name="Espace réservé du numéro de diapositive 18">
            <a:extLst>
              <a:ext uri="{FF2B5EF4-FFF2-40B4-BE49-F238E27FC236}">
                <a16:creationId xmlns:a16="http://schemas.microsoft.com/office/drawing/2014/main" id="{A6EAB1DB-ED3C-4D3B-A80F-28B691A03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21</a:t>
            </a:fld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0C8CA80-C42B-414A-BB01-04A3187768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3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D5F8A972-E6BB-4959-B628-B7DD19A96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 err="1"/>
              <a:t>Litio</a:t>
            </a:r>
            <a:r>
              <a:rPr lang="fr-FR" dirty="0"/>
              <a:t>. </a:t>
            </a:r>
            <a:br>
              <a:rPr lang="fr-FR" dirty="0"/>
            </a:br>
            <a:r>
              <a:rPr lang="fr-FR" dirty="0"/>
              <a:t>On </a:t>
            </a:r>
            <a:r>
              <a:rPr lang="fr-FR" dirty="0" err="1"/>
              <a:t>nimos</a:t>
            </a:r>
            <a:r>
              <a:rPr lang="fr-FR" dirty="0"/>
              <a:t> </a:t>
            </a:r>
            <a:r>
              <a:rPr lang="fr-FR" dirty="0" err="1">
                <a:latin typeface="MAIF Black" panose="020B0803020200030B04" pitchFamily="34" charset="0"/>
              </a:rPr>
              <a:t>dolest</a:t>
            </a:r>
            <a:r>
              <a:rPr lang="fr-FR" dirty="0">
                <a:latin typeface="MAIF Black" panose="020B0803020200030B04" pitchFamily="34" charset="0"/>
              </a:rPr>
              <a:t> </a:t>
            </a:r>
            <a:r>
              <a:rPr lang="fr-FR" dirty="0" err="1">
                <a:latin typeface="MAIF Black" panose="020B0803020200030B04" pitchFamily="34" charset="0"/>
              </a:rPr>
              <a:t>omnistem</a:t>
            </a:r>
            <a:r>
              <a:rPr lang="fr-FR" dirty="0">
                <a:latin typeface="MAIF Black" panose="020B0803020200030B04" pitchFamily="34" charset="0"/>
              </a:rPr>
              <a:t> </a:t>
            </a:r>
            <a:r>
              <a:rPr lang="fr-FR" dirty="0" err="1"/>
              <a:t>vellabore</a:t>
            </a:r>
            <a:r>
              <a:rPr lang="fr-FR" dirty="0"/>
              <a:t>, </a:t>
            </a:r>
            <a:br>
              <a:rPr lang="fr-FR" dirty="0"/>
            </a:br>
            <a:r>
              <a:rPr lang="fr-FR" dirty="0" err="1"/>
              <a:t>odis</a:t>
            </a:r>
            <a:r>
              <a:rPr lang="fr-FR" dirty="0"/>
              <a:t> </a:t>
            </a:r>
            <a:r>
              <a:rPr lang="fr-FR" dirty="0" err="1"/>
              <a:t>aliqui</a:t>
            </a:r>
            <a:endParaRPr lang="fr-FR" dirty="0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E8C2F8FA-2481-4AF4-8E01-C6E113B8A02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fr-FR" dirty="0"/>
              <a:t>52 %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E127A801-2D85-49F8-98A1-43BA43991AD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fr-FR" dirty="0"/>
              <a:t>26,4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FC9798ED-BBA9-41F6-91B9-2BD95DDA263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21 K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9917B7A9-7410-47ED-88AE-D9D4D44BB8B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51765" y="3418826"/>
            <a:ext cx="2544235" cy="1200329"/>
          </a:xfrm>
        </p:spPr>
        <p:txBody>
          <a:bodyPr/>
          <a:lstStyle/>
          <a:p>
            <a:r>
              <a:rPr lang="fr-FR" dirty="0" err="1">
                <a:latin typeface="MAIF Black" panose="020B0803020200030B04" pitchFamily="34" charset="0"/>
              </a:rPr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350E704A-A1B0-4D44-8B9D-DDD593E070D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405031" y="3418826"/>
            <a:ext cx="2544235" cy="1200329"/>
          </a:xfrm>
        </p:spPr>
        <p:txBody>
          <a:bodyPr/>
          <a:lstStyle/>
          <a:p>
            <a:r>
              <a:rPr lang="fr-FR" dirty="0" err="1">
                <a:latin typeface="MAIF Black" panose="020B0803020200030B04" pitchFamily="34" charset="0"/>
              </a:rPr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2D42A055-7F7B-4E37-B67D-9C7DF905439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</a:t>
            </a:r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430B7A39-022F-47CC-AA38-681BB738312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hiffres-clés</a:t>
            </a:r>
          </a:p>
        </p:txBody>
      </p:sp>
    </p:spTree>
    <p:extLst>
      <p:ext uri="{BB962C8B-B14F-4D97-AF65-F5344CB8AC3E}">
        <p14:creationId xmlns:p14="http://schemas.microsoft.com/office/powerpoint/2010/main" val="79714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re 19">
            <a:extLst>
              <a:ext uri="{FF2B5EF4-FFF2-40B4-BE49-F238E27FC236}">
                <a16:creationId xmlns:a16="http://schemas.microsoft.com/office/drawing/2014/main" id="{605669B2-4517-4AD1-B405-FBA409A9FD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BAB97BCF-BFFF-47E9-B459-088AF710D8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7EAEE9-A921-4537-8542-662664F64E46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6A27A51-AA00-401E-BDBD-344F47BD2C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64D0BEFF-63C2-4A75-A9D5-B2B436FA93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22</a:t>
            </a:fld>
            <a:endParaRPr lang="fr-FR" dirty="0"/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2C14E847-9D4C-4386-AF17-19E2C4D079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4</a:t>
            </a:r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0C74DFF0-2FA5-4FD3-A166-9DFD15195CD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0028" y="972088"/>
            <a:ext cx="11385551" cy="400110"/>
          </a:xfrm>
        </p:spPr>
        <p:txBody>
          <a:bodyPr/>
          <a:lstStyle/>
          <a:p>
            <a:r>
              <a:rPr lang="fr-FR" dirty="0"/>
              <a:t>Histogramme</a:t>
            </a:r>
          </a:p>
        </p:txBody>
      </p:sp>
      <p:graphicFrame>
        <p:nvGraphicFramePr>
          <p:cNvPr id="25" name="Graphique 24">
            <a:extLst>
              <a:ext uri="{FF2B5EF4-FFF2-40B4-BE49-F238E27FC236}">
                <a16:creationId xmlns:a16="http://schemas.microsoft.com/office/drawing/2014/main" id="{32611279-B345-4965-BDF4-095890BD20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51913045"/>
              </p:ext>
            </p:extLst>
          </p:nvPr>
        </p:nvGraphicFramePr>
        <p:xfrm>
          <a:off x="698500" y="1790700"/>
          <a:ext cx="10795000" cy="40912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68381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re 19">
            <a:extLst>
              <a:ext uri="{FF2B5EF4-FFF2-40B4-BE49-F238E27FC236}">
                <a16:creationId xmlns:a16="http://schemas.microsoft.com/office/drawing/2014/main" id="{605669B2-4517-4AD1-B405-FBA409A9FD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A6EACE21-660C-4599-89E4-65CAEF72C6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1A975-0625-4F3D-A82C-39F8E519511B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46FE753F-8BCC-47E6-A5AA-0A6B705DCD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12F57B61-3359-4705-B879-115CDFBEEF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23</a:t>
            </a:fld>
            <a:endParaRPr lang="fr-FR" dirty="0"/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2C14E847-9D4C-4386-AF17-19E2C4D079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4</a:t>
            </a:r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0C74DFF0-2FA5-4FD3-A166-9DFD15195CD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0028" y="972088"/>
            <a:ext cx="11385551" cy="400110"/>
          </a:xfrm>
        </p:spPr>
        <p:txBody>
          <a:bodyPr/>
          <a:lstStyle/>
          <a:p>
            <a:r>
              <a:rPr lang="fr-FR"/>
              <a:t>Courbes</a:t>
            </a:r>
            <a:endParaRPr lang="fr-FR" dirty="0"/>
          </a:p>
        </p:txBody>
      </p:sp>
      <p:graphicFrame>
        <p:nvGraphicFramePr>
          <p:cNvPr id="11" name="Graphique 10">
            <a:extLst>
              <a:ext uri="{FF2B5EF4-FFF2-40B4-BE49-F238E27FC236}">
                <a16:creationId xmlns:a16="http://schemas.microsoft.com/office/drawing/2014/main" id="{0F723C5C-2B30-47CF-8491-86F669426A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65701722"/>
              </p:ext>
            </p:extLst>
          </p:nvPr>
        </p:nvGraphicFramePr>
        <p:xfrm>
          <a:off x="698500" y="1533525"/>
          <a:ext cx="10795000" cy="43483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859588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re 19">
            <a:extLst>
              <a:ext uri="{FF2B5EF4-FFF2-40B4-BE49-F238E27FC236}">
                <a16:creationId xmlns:a16="http://schemas.microsoft.com/office/drawing/2014/main" id="{605669B2-4517-4AD1-B405-FBA409A9FD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20FB019C-9061-4896-B0F5-BEB04AE67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9AEDA-D827-4E15-9C05-AEACEFE01ED4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D758022-A504-427A-944A-812652E184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5D6B4E35-9771-48A1-BEA3-A0ACA99FAF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24</a:t>
            </a:fld>
            <a:endParaRPr lang="fr-FR" dirty="0"/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2C14E847-9D4C-4386-AF17-19E2C4D079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5</a:t>
            </a:r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0C74DFF0-2FA5-4FD3-A166-9DFD15195CD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0028" y="972088"/>
            <a:ext cx="11385551" cy="400110"/>
          </a:xfrm>
        </p:spPr>
        <p:txBody>
          <a:bodyPr/>
          <a:lstStyle/>
          <a:p>
            <a:r>
              <a:rPr lang="fr-FR"/>
              <a:t>Tableau</a:t>
            </a:r>
            <a:endParaRPr lang="fr-FR" dirty="0"/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0923B334-2573-4B86-95AC-4F4F198790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4434231"/>
              </p:ext>
            </p:extLst>
          </p:nvPr>
        </p:nvGraphicFramePr>
        <p:xfrm>
          <a:off x="533402" y="1394545"/>
          <a:ext cx="11125202" cy="4394838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706118">
                  <a:extLst>
                    <a:ext uri="{9D8B030D-6E8A-4147-A177-3AD203B41FA5}">
                      <a16:colId xmlns:a16="http://schemas.microsoft.com/office/drawing/2014/main" val="1817180339"/>
                    </a:ext>
                  </a:extLst>
                </a:gridCol>
                <a:gridCol w="4124960">
                  <a:extLst>
                    <a:ext uri="{9D8B030D-6E8A-4147-A177-3AD203B41FA5}">
                      <a16:colId xmlns:a16="http://schemas.microsoft.com/office/drawing/2014/main" val="220875845"/>
                    </a:ext>
                  </a:extLst>
                </a:gridCol>
                <a:gridCol w="1573531">
                  <a:extLst>
                    <a:ext uri="{9D8B030D-6E8A-4147-A177-3AD203B41FA5}">
                      <a16:colId xmlns:a16="http://schemas.microsoft.com/office/drawing/2014/main" val="3191465894"/>
                    </a:ext>
                  </a:extLst>
                </a:gridCol>
                <a:gridCol w="1573531">
                  <a:extLst>
                    <a:ext uri="{9D8B030D-6E8A-4147-A177-3AD203B41FA5}">
                      <a16:colId xmlns:a16="http://schemas.microsoft.com/office/drawing/2014/main" val="2258118658"/>
                    </a:ext>
                  </a:extLst>
                </a:gridCol>
                <a:gridCol w="1573531">
                  <a:extLst>
                    <a:ext uri="{9D8B030D-6E8A-4147-A177-3AD203B41FA5}">
                      <a16:colId xmlns:a16="http://schemas.microsoft.com/office/drawing/2014/main" val="3006977729"/>
                    </a:ext>
                  </a:extLst>
                </a:gridCol>
                <a:gridCol w="1573531">
                  <a:extLst>
                    <a:ext uri="{9D8B030D-6E8A-4147-A177-3AD203B41FA5}">
                      <a16:colId xmlns:a16="http://schemas.microsoft.com/office/drawing/2014/main" val="747827136"/>
                    </a:ext>
                  </a:extLst>
                </a:gridCol>
              </a:tblGrid>
              <a:tr h="571818">
                <a:tc>
                  <a:txBody>
                    <a:bodyPr/>
                    <a:lstStyle/>
                    <a:p>
                      <a:pPr algn="ctr"/>
                      <a:endParaRPr lang="fr-FR" sz="14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Item 2</a:t>
                      </a:r>
                    </a:p>
                  </a:txBody>
                  <a:tcPr marB="10800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Item 3</a:t>
                      </a:r>
                    </a:p>
                  </a:txBody>
                  <a:tcPr marB="10800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Item 4</a:t>
                      </a:r>
                    </a:p>
                  </a:txBody>
                  <a:tcPr marB="10800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2018</a:t>
                      </a:r>
                    </a:p>
                  </a:txBody>
                  <a:tcPr marB="10800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B="108000" anchor="b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6716855"/>
                  </a:ext>
                </a:extLst>
              </a:tr>
              <a:tr h="63717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#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anchor="ctr"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anchor="ctr"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anchor="ctr"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023289"/>
                  </a:ext>
                </a:extLst>
              </a:tr>
              <a:tr h="63717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5176940"/>
                  </a:ext>
                </a:extLst>
              </a:tr>
              <a:tr h="63717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2872355"/>
                  </a:ext>
                </a:extLst>
              </a:tr>
              <a:tr h="63717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4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476877"/>
                  </a:ext>
                </a:extLst>
              </a:tr>
              <a:tr h="63717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5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5545272"/>
                  </a:ext>
                </a:extLst>
              </a:tr>
              <a:tr h="63717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6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11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anchor="ctr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anchor="ctr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anchor="ctr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82504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21106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21E2520-0CDC-42E6-94C7-E1B7565961D5}"/>
              </a:ext>
            </a:extLst>
          </p:cNvPr>
          <p:cNvSpPr/>
          <p:nvPr/>
        </p:nvSpPr>
        <p:spPr>
          <a:xfrm>
            <a:off x="0" y="3789575"/>
            <a:ext cx="12192000" cy="3068424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45DE243-A0B1-46E7-AD32-E14897DF80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F458D264-4616-49B6-9C27-0DCDAB8CA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8EF8E4-0BE9-43B9-B702-DBAF91181B5C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47F3408-DDEA-4798-8D95-7D3AD828C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2" name="Espace réservé du numéro de diapositive 21">
            <a:extLst>
              <a:ext uri="{FF2B5EF4-FFF2-40B4-BE49-F238E27FC236}">
                <a16:creationId xmlns:a16="http://schemas.microsoft.com/office/drawing/2014/main" id="{11489B20-4EF5-4FED-AA4A-735D70963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25</a:t>
            </a:fld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35906F7-3A87-42A9-9290-2DA6548D97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6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4A7B768-7792-4ADC-9A3C-39E474620B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0028" y="972088"/>
            <a:ext cx="11385551" cy="400110"/>
          </a:xfrm>
        </p:spPr>
        <p:txBody>
          <a:bodyPr/>
          <a:lstStyle/>
          <a:p>
            <a:r>
              <a:rPr lang="fr-FR" dirty="0"/>
              <a:t>Timeline 1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BD5CB395-7D7A-453D-AEC2-17D9E90369C2}"/>
              </a:ext>
            </a:extLst>
          </p:cNvPr>
          <p:cNvCxnSpPr/>
          <p:nvPr/>
        </p:nvCxnSpPr>
        <p:spPr>
          <a:xfrm>
            <a:off x="534605" y="3698450"/>
            <a:ext cx="0" cy="188181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EA92AA9A-32AA-41B5-ABF8-325066E43546}"/>
              </a:ext>
            </a:extLst>
          </p:cNvPr>
          <p:cNvCxnSpPr/>
          <p:nvPr/>
        </p:nvCxnSpPr>
        <p:spPr>
          <a:xfrm>
            <a:off x="2189437" y="3698450"/>
            <a:ext cx="0" cy="188181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CB4F79F0-FB2F-4B47-B277-023C7C0FB10C}"/>
              </a:ext>
            </a:extLst>
          </p:cNvPr>
          <p:cNvCxnSpPr/>
          <p:nvPr/>
        </p:nvCxnSpPr>
        <p:spPr>
          <a:xfrm>
            <a:off x="3844269" y="3698450"/>
            <a:ext cx="0" cy="188181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C5071E66-D3B2-4F9B-9FA0-7180C2492DDC}"/>
              </a:ext>
            </a:extLst>
          </p:cNvPr>
          <p:cNvCxnSpPr/>
          <p:nvPr/>
        </p:nvCxnSpPr>
        <p:spPr>
          <a:xfrm>
            <a:off x="5499101" y="3698450"/>
            <a:ext cx="0" cy="188181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86352FC4-170D-47BD-96FB-180C5572FE19}"/>
              </a:ext>
            </a:extLst>
          </p:cNvPr>
          <p:cNvCxnSpPr/>
          <p:nvPr/>
        </p:nvCxnSpPr>
        <p:spPr>
          <a:xfrm>
            <a:off x="7153932" y="3698450"/>
            <a:ext cx="0" cy="188181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08EC2906-317A-4913-A8CF-91B3B02A2E20}"/>
              </a:ext>
            </a:extLst>
          </p:cNvPr>
          <p:cNvCxnSpPr/>
          <p:nvPr/>
        </p:nvCxnSpPr>
        <p:spPr>
          <a:xfrm>
            <a:off x="8808764" y="3698450"/>
            <a:ext cx="0" cy="188181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AC15EF85-CD6C-4285-BD92-C44CD717648B}"/>
              </a:ext>
            </a:extLst>
          </p:cNvPr>
          <p:cNvCxnSpPr/>
          <p:nvPr/>
        </p:nvCxnSpPr>
        <p:spPr>
          <a:xfrm>
            <a:off x="10463596" y="3698450"/>
            <a:ext cx="0" cy="188181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e 36">
            <a:extLst>
              <a:ext uri="{FF2B5EF4-FFF2-40B4-BE49-F238E27FC236}">
                <a16:creationId xmlns:a16="http://schemas.microsoft.com/office/drawing/2014/main" id="{BBC9244C-DE75-4CD0-BB87-D7F09137E8BA}"/>
              </a:ext>
            </a:extLst>
          </p:cNvPr>
          <p:cNvGrpSpPr/>
          <p:nvPr/>
        </p:nvGrpSpPr>
        <p:grpSpPr>
          <a:xfrm>
            <a:off x="534605" y="3952875"/>
            <a:ext cx="6619327" cy="666750"/>
            <a:chOff x="1131505" y="3648075"/>
            <a:chExt cx="6619327" cy="600075"/>
          </a:xfrm>
        </p:grpSpPr>
        <p:cxnSp>
          <p:nvCxnSpPr>
            <p:cNvPr id="20" name="Connecteur droit 19">
              <a:extLst>
                <a:ext uri="{FF2B5EF4-FFF2-40B4-BE49-F238E27FC236}">
                  <a16:creationId xmlns:a16="http://schemas.microsoft.com/office/drawing/2014/main" id="{C8279B36-26A8-420E-B123-5721130610E4}"/>
                </a:ext>
              </a:extLst>
            </p:cNvPr>
            <p:cNvCxnSpPr>
              <a:cxnSpLocks/>
            </p:cNvCxnSpPr>
            <p:nvPr/>
          </p:nvCxnSpPr>
          <p:spPr>
            <a:xfrm>
              <a:off x="1131505" y="3648075"/>
              <a:ext cx="0" cy="600075"/>
            </a:xfrm>
            <a:prstGeom prst="line">
              <a:avLst/>
            </a:prstGeom>
            <a:ln w="19050" cap="rnd">
              <a:solidFill>
                <a:schemeClr val="tx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cteur droit 22">
              <a:extLst>
                <a:ext uri="{FF2B5EF4-FFF2-40B4-BE49-F238E27FC236}">
                  <a16:creationId xmlns:a16="http://schemas.microsoft.com/office/drawing/2014/main" id="{AE127731-576A-4F3C-A587-ED58CE3C776F}"/>
                </a:ext>
              </a:extLst>
            </p:cNvPr>
            <p:cNvCxnSpPr>
              <a:cxnSpLocks/>
            </p:cNvCxnSpPr>
            <p:nvPr/>
          </p:nvCxnSpPr>
          <p:spPr>
            <a:xfrm>
              <a:off x="4441169" y="3648075"/>
              <a:ext cx="0" cy="600075"/>
            </a:xfrm>
            <a:prstGeom prst="line">
              <a:avLst/>
            </a:prstGeom>
            <a:ln w="19050" cap="rnd">
              <a:solidFill>
                <a:schemeClr val="tx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eur droit 23">
              <a:extLst>
                <a:ext uri="{FF2B5EF4-FFF2-40B4-BE49-F238E27FC236}">
                  <a16:creationId xmlns:a16="http://schemas.microsoft.com/office/drawing/2014/main" id="{38759CE8-4403-4BD1-B37C-18C914A6925E}"/>
                </a:ext>
              </a:extLst>
            </p:cNvPr>
            <p:cNvCxnSpPr>
              <a:cxnSpLocks/>
            </p:cNvCxnSpPr>
            <p:nvPr/>
          </p:nvCxnSpPr>
          <p:spPr>
            <a:xfrm>
              <a:off x="7750832" y="3648075"/>
              <a:ext cx="0" cy="600075"/>
            </a:xfrm>
            <a:prstGeom prst="line">
              <a:avLst/>
            </a:prstGeom>
            <a:ln w="19050" cap="rnd">
              <a:solidFill>
                <a:schemeClr val="tx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oupe 37">
            <a:extLst>
              <a:ext uri="{FF2B5EF4-FFF2-40B4-BE49-F238E27FC236}">
                <a16:creationId xmlns:a16="http://schemas.microsoft.com/office/drawing/2014/main" id="{6E5EBCED-0FFD-4867-B8F3-852B5A4674B8}"/>
              </a:ext>
            </a:extLst>
          </p:cNvPr>
          <p:cNvGrpSpPr/>
          <p:nvPr/>
        </p:nvGrpSpPr>
        <p:grpSpPr>
          <a:xfrm>
            <a:off x="2189437" y="2910521"/>
            <a:ext cx="6619327" cy="672469"/>
            <a:chOff x="2786337" y="2982916"/>
            <a:chExt cx="6619327" cy="600075"/>
          </a:xfrm>
        </p:grpSpPr>
        <p:cxnSp>
          <p:nvCxnSpPr>
            <p:cNvPr id="26" name="Connecteur droit 25">
              <a:extLst>
                <a:ext uri="{FF2B5EF4-FFF2-40B4-BE49-F238E27FC236}">
                  <a16:creationId xmlns:a16="http://schemas.microsoft.com/office/drawing/2014/main" id="{DF199233-639D-4043-8E25-E031E00D33B5}"/>
                </a:ext>
              </a:extLst>
            </p:cNvPr>
            <p:cNvCxnSpPr>
              <a:cxnSpLocks/>
            </p:cNvCxnSpPr>
            <p:nvPr/>
          </p:nvCxnSpPr>
          <p:spPr>
            <a:xfrm>
              <a:off x="2786337" y="2982916"/>
              <a:ext cx="0" cy="600075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>
              <a:extLst>
                <a:ext uri="{FF2B5EF4-FFF2-40B4-BE49-F238E27FC236}">
                  <a16:creationId xmlns:a16="http://schemas.microsoft.com/office/drawing/2014/main" id="{E3EB39E8-2120-4363-8C37-F7A4E2ECC348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1" y="2982916"/>
              <a:ext cx="0" cy="600075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eur droit 27">
              <a:extLst>
                <a:ext uri="{FF2B5EF4-FFF2-40B4-BE49-F238E27FC236}">
                  <a16:creationId xmlns:a16="http://schemas.microsoft.com/office/drawing/2014/main" id="{B72CC2D7-FC0E-42BE-A865-473C030FBAED}"/>
                </a:ext>
              </a:extLst>
            </p:cNvPr>
            <p:cNvCxnSpPr>
              <a:cxnSpLocks/>
            </p:cNvCxnSpPr>
            <p:nvPr/>
          </p:nvCxnSpPr>
          <p:spPr>
            <a:xfrm>
              <a:off x="9405664" y="2982916"/>
              <a:ext cx="0" cy="600075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Espace réservé du texte 10">
            <a:extLst>
              <a:ext uri="{FF2B5EF4-FFF2-40B4-BE49-F238E27FC236}">
                <a16:creationId xmlns:a16="http://schemas.microsoft.com/office/drawing/2014/main" id="{52B4663A-B3C5-4998-BF45-225A52CE18C5}"/>
              </a:ext>
            </a:extLst>
          </p:cNvPr>
          <p:cNvSpPr txBox="1">
            <a:spLocks/>
          </p:cNvSpPr>
          <p:nvPr/>
        </p:nvSpPr>
        <p:spPr>
          <a:xfrm>
            <a:off x="2007657" y="1744425"/>
            <a:ext cx="2544235" cy="1099853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400" b="1" dirty="0" err="1"/>
              <a:t>Archicitem</a:t>
            </a:r>
            <a:r>
              <a:rPr lang="fr-FR" sz="1400" b="1" dirty="0"/>
              <a:t> </a:t>
            </a:r>
            <a:r>
              <a:rPr lang="fr-FR" sz="1400" b="1" dirty="0" err="1"/>
              <a:t>ata</a:t>
            </a:r>
            <a:r>
              <a:rPr lang="fr-FR" sz="1400" b="1" dirty="0"/>
              <a:t> </a:t>
            </a:r>
            <a:r>
              <a:rPr lang="fr-FR" sz="1400" b="1" dirty="0" err="1"/>
              <a:t>quas</a:t>
            </a:r>
            <a:r>
              <a:rPr lang="fr-FR" sz="1400" b="1" dirty="0"/>
              <a:t> </a:t>
            </a:r>
            <a:r>
              <a:rPr lang="fr-FR" sz="1400" b="1" dirty="0" err="1"/>
              <a:t>ipsunt</a:t>
            </a:r>
            <a:r>
              <a:rPr lang="fr-FR" sz="1400" b="1" dirty="0"/>
              <a:t> </a:t>
            </a:r>
            <a:r>
              <a:rPr lang="fr-FR" sz="1400" b="1" dirty="0" err="1"/>
              <a:t>dolorem</a:t>
            </a:r>
            <a:r>
              <a:rPr lang="fr-FR" sz="1400" b="1" dirty="0"/>
              <a:t> </a:t>
            </a:r>
            <a:r>
              <a:rPr lang="fr-FR" sz="1400" dirty="0" err="1"/>
              <a:t>sapisquasit</a:t>
            </a:r>
            <a:r>
              <a:rPr lang="fr-FR" sz="1400" dirty="0"/>
              <a:t> </a:t>
            </a:r>
            <a:r>
              <a:rPr lang="fr-FR" sz="1400" dirty="0" err="1"/>
              <a:t>quatis</a:t>
            </a:r>
            <a:r>
              <a:rPr lang="fr-FR" sz="1400" dirty="0"/>
              <a:t> ut que </a:t>
            </a:r>
            <a:r>
              <a:rPr lang="fr-FR" sz="1400" dirty="0" err="1"/>
              <a:t>volori</a:t>
            </a:r>
            <a:r>
              <a:rPr lang="fr-FR" sz="1400" dirty="0"/>
              <a:t> ut</a:t>
            </a:r>
          </a:p>
        </p:txBody>
      </p:sp>
      <p:sp>
        <p:nvSpPr>
          <p:cNvPr id="31" name="Espace réservé du texte 10">
            <a:extLst>
              <a:ext uri="{FF2B5EF4-FFF2-40B4-BE49-F238E27FC236}">
                <a16:creationId xmlns:a16="http://schemas.microsoft.com/office/drawing/2014/main" id="{31B01FC3-D024-4586-BEEE-0A409DC23D46}"/>
              </a:ext>
            </a:extLst>
          </p:cNvPr>
          <p:cNvSpPr txBox="1">
            <a:spLocks/>
          </p:cNvSpPr>
          <p:nvPr/>
        </p:nvSpPr>
        <p:spPr>
          <a:xfrm>
            <a:off x="5312960" y="1744425"/>
            <a:ext cx="2544235" cy="1099853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400" b="1" dirty="0" err="1"/>
              <a:t>Archicitem</a:t>
            </a:r>
            <a:r>
              <a:rPr lang="fr-FR" sz="1400" b="1" dirty="0"/>
              <a:t> </a:t>
            </a:r>
            <a:r>
              <a:rPr lang="fr-FR" sz="1400" b="1" dirty="0" err="1"/>
              <a:t>ata</a:t>
            </a:r>
            <a:r>
              <a:rPr lang="fr-FR" sz="1400" b="1" dirty="0"/>
              <a:t> </a:t>
            </a:r>
            <a:r>
              <a:rPr lang="fr-FR" sz="1400" b="1" dirty="0" err="1"/>
              <a:t>quas</a:t>
            </a:r>
            <a:r>
              <a:rPr lang="fr-FR" sz="1400" b="1" dirty="0"/>
              <a:t> </a:t>
            </a:r>
            <a:r>
              <a:rPr lang="fr-FR" sz="1400" b="1" dirty="0" err="1"/>
              <a:t>ipsunt</a:t>
            </a:r>
            <a:r>
              <a:rPr lang="fr-FR" sz="1400" b="1" dirty="0"/>
              <a:t> </a:t>
            </a:r>
            <a:r>
              <a:rPr lang="fr-FR" sz="1400" b="1" dirty="0" err="1"/>
              <a:t>dolorem</a:t>
            </a:r>
            <a:r>
              <a:rPr lang="fr-FR" sz="1400" b="1" dirty="0"/>
              <a:t> </a:t>
            </a:r>
            <a:r>
              <a:rPr lang="fr-FR" sz="1400" dirty="0" err="1"/>
              <a:t>sapisquasit</a:t>
            </a:r>
            <a:r>
              <a:rPr lang="fr-FR" sz="1400" dirty="0"/>
              <a:t> </a:t>
            </a:r>
            <a:r>
              <a:rPr lang="fr-FR" sz="1400" dirty="0" err="1"/>
              <a:t>quatis</a:t>
            </a:r>
            <a:r>
              <a:rPr lang="fr-FR" sz="1400" dirty="0"/>
              <a:t> ut que </a:t>
            </a:r>
            <a:r>
              <a:rPr lang="fr-FR" sz="1400" dirty="0" err="1"/>
              <a:t>volori</a:t>
            </a:r>
            <a:r>
              <a:rPr lang="fr-FR" sz="1400" dirty="0"/>
              <a:t> ut</a:t>
            </a:r>
          </a:p>
        </p:txBody>
      </p:sp>
      <p:sp>
        <p:nvSpPr>
          <p:cNvPr id="32" name="Espace réservé du texte 10">
            <a:extLst>
              <a:ext uri="{FF2B5EF4-FFF2-40B4-BE49-F238E27FC236}">
                <a16:creationId xmlns:a16="http://schemas.microsoft.com/office/drawing/2014/main" id="{CD285C32-76C5-47D4-9A20-99C56AC97AE2}"/>
              </a:ext>
            </a:extLst>
          </p:cNvPr>
          <p:cNvSpPr txBox="1">
            <a:spLocks/>
          </p:cNvSpPr>
          <p:nvPr/>
        </p:nvSpPr>
        <p:spPr>
          <a:xfrm>
            <a:off x="8618263" y="1744425"/>
            <a:ext cx="2544235" cy="1099853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400" b="1" dirty="0" err="1"/>
              <a:t>Archicitem</a:t>
            </a:r>
            <a:r>
              <a:rPr lang="fr-FR" sz="1400" b="1" dirty="0"/>
              <a:t> </a:t>
            </a:r>
            <a:r>
              <a:rPr lang="fr-FR" sz="1400" b="1" dirty="0" err="1"/>
              <a:t>ata</a:t>
            </a:r>
            <a:r>
              <a:rPr lang="fr-FR" sz="1400" b="1" dirty="0"/>
              <a:t> </a:t>
            </a:r>
            <a:r>
              <a:rPr lang="fr-FR" sz="1400" b="1" dirty="0" err="1"/>
              <a:t>quas</a:t>
            </a:r>
            <a:r>
              <a:rPr lang="fr-FR" sz="1400" b="1" dirty="0"/>
              <a:t> </a:t>
            </a:r>
            <a:r>
              <a:rPr lang="fr-FR" sz="1400" b="1" dirty="0" err="1"/>
              <a:t>ipsunt</a:t>
            </a:r>
            <a:r>
              <a:rPr lang="fr-FR" sz="1400" b="1" dirty="0"/>
              <a:t> </a:t>
            </a:r>
            <a:r>
              <a:rPr lang="fr-FR" sz="1400" b="1" dirty="0" err="1"/>
              <a:t>dolorem</a:t>
            </a:r>
            <a:r>
              <a:rPr lang="fr-FR" sz="1400" b="1" dirty="0"/>
              <a:t> </a:t>
            </a:r>
            <a:r>
              <a:rPr lang="fr-FR" sz="1400" dirty="0" err="1"/>
              <a:t>sapisquasit</a:t>
            </a:r>
            <a:r>
              <a:rPr lang="fr-FR" sz="1400" dirty="0"/>
              <a:t> </a:t>
            </a:r>
            <a:r>
              <a:rPr lang="fr-FR" sz="1400" dirty="0" err="1"/>
              <a:t>quatis</a:t>
            </a:r>
            <a:r>
              <a:rPr lang="fr-FR" sz="1400" dirty="0"/>
              <a:t> ut que </a:t>
            </a:r>
            <a:r>
              <a:rPr lang="fr-FR" sz="1400" dirty="0" err="1"/>
              <a:t>volori</a:t>
            </a:r>
            <a:r>
              <a:rPr lang="fr-FR" sz="1400" dirty="0"/>
              <a:t> ut</a:t>
            </a:r>
          </a:p>
        </p:txBody>
      </p:sp>
      <p:sp>
        <p:nvSpPr>
          <p:cNvPr id="33" name="Espace réservé du texte 10">
            <a:extLst>
              <a:ext uri="{FF2B5EF4-FFF2-40B4-BE49-F238E27FC236}">
                <a16:creationId xmlns:a16="http://schemas.microsoft.com/office/drawing/2014/main" id="{4B148B9E-290B-4190-AF2C-AFA0E1630A14}"/>
              </a:ext>
            </a:extLst>
          </p:cNvPr>
          <p:cNvSpPr txBox="1">
            <a:spLocks/>
          </p:cNvSpPr>
          <p:nvPr/>
        </p:nvSpPr>
        <p:spPr>
          <a:xfrm>
            <a:off x="327024" y="4641629"/>
            <a:ext cx="2544235" cy="1099853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400" b="1" dirty="0" err="1"/>
              <a:t>Archicitem</a:t>
            </a:r>
            <a:r>
              <a:rPr lang="fr-FR" sz="1400" b="1" dirty="0"/>
              <a:t> </a:t>
            </a:r>
            <a:r>
              <a:rPr lang="fr-FR" sz="1400" b="1" dirty="0" err="1"/>
              <a:t>ata</a:t>
            </a:r>
            <a:r>
              <a:rPr lang="fr-FR" sz="1400" b="1" dirty="0"/>
              <a:t> </a:t>
            </a:r>
            <a:r>
              <a:rPr lang="fr-FR" sz="1400" b="1" dirty="0" err="1"/>
              <a:t>quas</a:t>
            </a:r>
            <a:r>
              <a:rPr lang="fr-FR" sz="1400" b="1" dirty="0"/>
              <a:t> </a:t>
            </a:r>
            <a:r>
              <a:rPr lang="fr-FR" sz="1400" b="1" dirty="0" err="1"/>
              <a:t>ipsunt</a:t>
            </a:r>
            <a:r>
              <a:rPr lang="fr-FR" sz="1400" b="1" dirty="0"/>
              <a:t> </a:t>
            </a:r>
            <a:r>
              <a:rPr lang="fr-FR" sz="1400" b="1" dirty="0" err="1"/>
              <a:t>dolorem</a:t>
            </a:r>
            <a:r>
              <a:rPr lang="fr-FR" sz="1400" b="1" dirty="0"/>
              <a:t> </a:t>
            </a:r>
            <a:r>
              <a:rPr lang="fr-FR" sz="1400" dirty="0" err="1"/>
              <a:t>sapisquasit</a:t>
            </a:r>
            <a:r>
              <a:rPr lang="fr-FR" sz="1400" dirty="0"/>
              <a:t> </a:t>
            </a:r>
            <a:r>
              <a:rPr lang="fr-FR" sz="1400" dirty="0" err="1"/>
              <a:t>quatis</a:t>
            </a:r>
            <a:r>
              <a:rPr lang="fr-FR" sz="1400" dirty="0"/>
              <a:t> ut que </a:t>
            </a:r>
            <a:r>
              <a:rPr lang="fr-FR" sz="1400" dirty="0" err="1"/>
              <a:t>volori</a:t>
            </a:r>
            <a:r>
              <a:rPr lang="fr-FR" sz="1400" dirty="0"/>
              <a:t> ut</a:t>
            </a:r>
          </a:p>
        </p:txBody>
      </p:sp>
      <p:sp>
        <p:nvSpPr>
          <p:cNvPr id="34" name="Espace réservé du texte 10">
            <a:extLst>
              <a:ext uri="{FF2B5EF4-FFF2-40B4-BE49-F238E27FC236}">
                <a16:creationId xmlns:a16="http://schemas.microsoft.com/office/drawing/2014/main" id="{1B4ED354-DF01-41A4-B8C9-94A561C1DBBE}"/>
              </a:ext>
            </a:extLst>
          </p:cNvPr>
          <p:cNvSpPr txBox="1">
            <a:spLocks/>
          </p:cNvSpPr>
          <p:nvPr/>
        </p:nvSpPr>
        <p:spPr>
          <a:xfrm>
            <a:off x="3632327" y="4641629"/>
            <a:ext cx="2544235" cy="1099853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400" b="1" dirty="0" err="1"/>
              <a:t>Archicitem</a:t>
            </a:r>
            <a:r>
              <a:rPr lang="fr-FR" sz="1400" b="1" dirty="0"/>
              <a:t> </a:t>
            </a:r>
            <a:r>
              <a:rPr lang="fr-FR" sz="1400" b="1" dirty="0" err="1"/>
              <a:t>ata</a:t>
            </a:r>
            <a:r>
              <a:rPr lang="fr-FR" sz="1400" b="1" dirty="0"/>
              <a:t> </a:t>
            </a:r>
            <a:r>
              <a:rPr lang="fr-FR" sz="1400" b="1" dirty="0" err="1"/>
              <a:t>quas</a:t>
            </a:r>
            <a:r>
              <a:rPr lang="fr-FR" sz="1400" b="1" dirty="0"/>
              <a:t> </a:t>
            </a:r>
            <a:r>
              <a:rPr lang="fr-FR" sz="1400" b="1" dirty="0" err="1"/>
              <a:t>ipsunt</a:t>
            </a:r>
            <a:r>
              <a:rPr lang="fr-FR" sz="1400" b="1" dirty="0"/>
              <a:t> </a:t>
            </a:r>
            <a:r>
              <a:rPr lang="fr-FR" sz="1400" b="1" dirty="0" err="1"/>
              <a:t>dolorem</a:t>
            </a:r>
            <a:r>
              <a:rPr lang="fr-FR" sz="1400" b="1" dirty="0"/>
              <a:t> </a:t>
            </a:r>
            <a:r>
              <a:rPr lang="fr-FR" sz="1400" dirty="0" err="1"/>
              <a:t>sapisquasit</a:t>
            </a:r>
            <a:r>
              <a:rPr lang="fr-FR" sz="1400" dirty="0"/>
              <a:t> </a:t>
            </a:r>
            <a:r>
              <a:rPr lang="fr-FR" sz="1400" dirty="0" err="1"/>
              <a:t>quatis</a:t>
            </a:r>
            <a:r>
              <a:rPr lang="fr-FR" sz="1400" dirty="0"/>
              <a:t> ut que </a:t>
            </a:r>
            <a:r>
              <a:rPr lang="fr-FR" sz="1400" dirty="0" err="1"/>
              <a:t>volori</a:t>
            </a:r>
            <a:r>
              <a:rPr lang="fr-FR" sz="1400" dirty="0"/>
              <a:t> ut</a:t>
            </a:r>
          </a:p>
        </p:txBody>
      </p:sp>
      <p:sp>
        <p:nvSpPr>
          <p:cNvPr id="35" name="Espace réservé du texte 10">
            <a:extLst>
              <a:ext uri="{FF2B5EF4-FFF2-40B4-BE49-F238E27FC236}">
                <a16:creationId xmlns:a16="http://schemas.microsoft.com/office/drawing/2014/main" id="{78C855FE-8C5B-4E1F-A062-F092A6514F47}"/>
              </a:ext>
            </a:extLst>
          </p:cNvPr>
          <p:cNvSpPr txBox="1">
            <a:spLocks/>
          </p:cNvSpPr>
          <p:nvPr/>
        </p:nvSpPr>
        <p:spPr>
          <a:xfrm>
            <a:off x="6937630" y="4641629"/>
            <a:ext cx="2544235" cy="1099853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400" b="1" dirty="0" err="1"/>
              <a:t>Archicitem</a:t>
            </a:r>
            <a:r>
              <a:rPr lang="fr-FR" sz="1400" b="1" dirty="0"/>
              <a:t> </a:t>
            </a:r>
            <a:r>
              <a:rPr lang="fr-FR" sz="1400" b="1" dirty="0" err="1"/>
              <a:t>ata</a:t>
            </a:r>
            <a:r>
              <a:rPr lang="fr-FR" sz="1400" b="1" dirty="0"/>
              <a:t> </a:t>
            </a:r>
            <a:r>
              <a:rPr lang="fr-FR" sz="1400" b="1" dirty="0" err="1"/>
              <a:t>quas</a:t>
            </a:r>
            <a:r>
              <a:rPr lang="fr-FR" sz="1400" b="1" dirty="0"/>
              <a:t> </a:t>
            </a:r>
            <a:r>
              <a:rPr lang="fr-FR" sz="1400" b="1" dirty="0" err="1"/>
              <a:t>ipsunt</a:t>
            </a:r>
            <a:r>
              <a:rPr lang="fr-FR" sz="1400" b="1" dirty="0"/>
              <a:t> </a:t>
            </a:r>
            <a:r>
              <a:rPr lang="fr-FR" sz="1400" b="1" dirty="0" err="1"/>
              <a:t>dolorem</a:t>
            </a:r>
            <a:r>
              <a:rPr lang="fr-FR" sz="1400" b="1" dirty="0"/>
              <a:t> </a:t>
            </a:r>
            <a:r>
              <a:rPr lang="fr-FR" sz="1400" dirty="0" err="1"/>
              <a:t>sapisquasit</a:t>
            </a:r>
            <a:r>
              <a:rPr lang="fr-FR" sz="1400" dirty="0"/>
              <a:t> </a:t>
            </a:r>
            <a:r>
              <a:rPr lang="fr-FR" sz="1400" dirty="0" err="1"/>
              <a:t>quatis</a:t>
            </a:r>
            <a:r>
              <a:rPr lang="fr-FR" sz="1400" dirty="0"/>
              <a:t> ut que </a:t>
            </a:r>
            <a:r>
              <a:rPr lang="fr-FR" sz="1400" dirty="0" err="1"/>
              <a:t>volori</a:t>
            </a:r>
            <a:r>
              <a:rPr lang="fr-FR" sz="1400" dirty="0"/>
              <a:t> ut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D1F2A7C9-3276-4F8F-94E5-81EF6ECB3C50}"/>
              </a:ext>
            </a:extLst>
          </p:cNvPr>
          <p:cNvSpPr txBox="1"/>
          <p:nvPr/>
        </p:nvSpPr>
        <p:spPr>
          <a:xfrm>
            <a:off x="534603" y="3321821"/>
            <a:ext cx="133722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600" dirty="0">
                <a:solidFill>
                  <a:schemeClr val="accent2"/>
                </a:solidFill>
                <a:latin typeface="MAIF Black" panose="020B0803020200030B04" pitchFamily="34" charset="0"/>
              </a:rPr>
              <a:t>2014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EADAC59E-D92C-4FD3-92BB-CCA7FBE5A8E0}"/>
              </a:ext>
            </a:extLst>
          </p:cNvPr>
          <p:cNvSpPr txBox="1"/>
          <p:nvPr/>
        </p:nvSpPr>
        <p:spPr>
          <a:xfrm>
            <a:off x="2191953" y="3321821"/>
            <a:ext cx="132279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600" dirty="0">
                <a:solidFill>
                  <a:schemeClr val="accent2"/>
                </a:solidFill>
                <a:latin typeface="MAIF Black" panose="020B0803020200030B04" pitchFamily="34" charset="0"/>
              </a:rPr>
              <a:t>2015</a:t>
            </a:r>
          </a:p>
        </p:txBody>
      </p:sp>
      <p:sp>
        <p:nvSpPr>
          <p:cNvPr id="41" name="ZoneTexte 40">
            <a:extLst>
              <a:ext uri="{FF2B5EF4-FFF2-40B4-BE49-F238E27FC236}">
                <a16:creationId xmlns:a16="http://schemas.microsoft.com/office/drawing/2014/main" id="{162BB531-F78B-4D78-8F46-C632CCFC0186}"/>
              </a:ext>
            </a:extLst>
          </p:cNvPr>
          <p:cNvSpPr txBox="1"/>
          <p:nvPr/>
        </p:nvSpPr>
        <p:spPr>
          <a:xfrm>
            <a:off x="3849303" y="3321821"/>
            <a:ext cx="135005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600" dirty="0">
                <a:solidFill>
                  <a:schemeClr val="accent2"/>
                </a:solidFill>
                <a:latin typeface="MAIF Black" panose="020B0803020200030B04" pitchFamily="34" charset="0"/>
              </a:rPr>
              <a:t>2016</a:t>
            </a: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3FF7E58F-1D36-4621-B862-F71A18B2CB73}"/>
              </a:ext>
            </a:extLst>
          </p:cNvPr>
          <p:cNvSpPr txBox="1"/>
          <p:nvPr/>
        </p:nvSpPr>
        <p:spPr>
          <a:xfrm>
            <a:off x="5506653" y="3321821"/>
            <a:ext cx="132279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600" dirty="0">
                <a:solidFill>
                  <a:schemeClr val="accent2"/>
                </a:solidFill>
                <a:latin typeface="MAIF Black" panose="020B0803020200030B04" pitchFamily="34" charset="0"/>
              </a:rPr>
              <a:t>2017</a:t>
            </a: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B707776D-8E17-43D8-9A05-FECE381BE41F}"/>
              </a:ext>
            </a:extLst>
          </p:cNvPr>
          <p:cNvSpPr txBox="1"/>
          <p:nvPr/>
        </p:nvSpPr>
        <p:spPr>
          <a:xfrm>
            <a:off x="7164003" y="3321821"/>
            <a:ext cx="135485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600" dirty="0">
                <a:solidFill>
                  <a:schemeClr val="accent2"/>
                </a:solidFill>
                <a:latin typeface="MAIF Black" panose="020B0803020200030B04" pitchFamily="34" charset="0"/>
              </a:rPr>
              <a:t>2018</a:t>
            </a:r>
          </a:p>
        </p:txBody>
      </p:sp>
      <p:sp>
        <p:nvSpPr>
          <p:cNvPr id="44" name="ZoneTexte 43">
            <a:extLst>
              <a:ext uri="{FF2B5EF4-FFF2-40B4-BE49-F238E27FC236}">
                <a16:creationId xmlns:a16="http://schemas.microsoft.com/office/drawing/2014/main" id="{E5E49448-0641-4EBD-9E99-03733494EC89}"/>
              </a:ext>
            </a:extLst>
          </p:cNvPr>
          <p:cNvSpPr txBox="1"/>
          <p:nvPr/>
        </p:nvSpPr>
        <p:spPr>
          <a:xfrm>
            <a:off x="8821353" y="3321821"/>
            <a:ext cx="135485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600" dirty="0">
                <a:solidFill>
                  <a:schemeClr val="accent2"/>
                </a:solidFill>
                <a:latin typeface="MAIF Black" panose="020B0803020200030B04" pitchFamily="34" charset="0"/>
              </a:rPr>
              <a:t>2019</a:t>
            </a:r>
          </a:p>
        </p:txBody>
      </p:sp>
      <p:sp>
        <p:nvSpPr>
          <p:cNvPr id="45" name="ZoneTexte 44">
            <a:extLst>
              <a:ext uri="{FF2B5EF4-FFF2-40B4-BE49-F238E27FC236}">
                <a16:creationId xmlns:a16="http://schemas.microsoft.com/office/drawing/2014/main" id="{8955A427-2A09-4214-8CE2-DB4F9D5A3474}"/>
              </a:ext>
            </a:extLst>
          </p:cNvPr>
          <p:cNvSpPr txBox="1"/>
          <p:nvPr/>
        </p:nvSpPr>
        <p:spPr>
          <a:xfrm>
            <a:off x="10478703" y="3321821"/>
            <a:ext cx="139974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600" dirty="0">
                <a:solidFill>
                  <a:schemeClr val="accent2"/>
                </a:solidFill>
                <a:latin typeface="MAIF Black" panose="020B0803020200030B04" pitchFamily="34" charset="0"/>
              </a:rPr>
              <a:t>2020</a:t>
            </a:r>
          </a:p>
        </p:txBody>
      </p:sp>
      <p:pic>
        <p:nvPicPr>
          <p:cNvPr id="46" name="Image 45">
            <a:extLst>
              <a:ext uri="{FF2B5EF4-FFF2-40B4-BE49-F238E27FC236}">
                <a16:creationId xmlns:a16="http://schemas.microsoft.com/office/drawing/2014/main" id="{F9E549C4-2BD4-4F94-8AA1-4154D337C2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8160" y="6003449"/>
            <a:ext cx="747225" cy="630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83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lèche : pentagone 17">
            <a:extLst>
              <a:ext uri="{FF2B5EF4-FFF2-40B4-BE49-F238E27FC236}">
                <a16:creationId xmlns:a16="http://schemas.microsoft.com/office/drawing/2014/main" id="{5BC2DBF5-9E41-4847-AB9F-2E825E6CB87C}"/>
              </a:ext>
            </a:extLst>
          </p:cNvPr>
          <p:cNvSpPr/>
          <p:nvPr/>
        </p:nvSpPr>
        <p:spPr>
          <a:xfrm>
            <a:off x="0" y="1525453"/>
            <a:ext cx="12020550" cy="484632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45DE243-A0B1-46E7-AD32-E14897DF80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F458D264-4616-49B6-9C27-0DCDAB8CA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8EF8E4-0BE9-43B9-B702-DBAF91181B5C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47F3408-DDEA-4798-8D95-7D3AD828C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2" name="Espace réservé du numéro de diapositive 21">
            <a:extLst>
              <a:ext uri="{FF2B5EF4-FFF2-40B4-BE49-F238E27FC236}">
                <a16:creationId xmlns:a16="http://schemas.microsoft.com/office/drawing/2014/main" id="{11489B20-4EF5-4FED-AA4A-735D70963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26</a:t>
            </a:fld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35906F7-3A87-42A9-9290-2DA6548D97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6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4A7B768-7792-4ADC-9A3C-39E474620B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0028" y="972088"/>
            <a:ext cx="11385551" cy="400110"/>
          </a:xfrm>
        </p:spPr>
        <p:txBody>
          <a:bodyPr/>
          <a:lstStyle/>
          <a:p>
            <a:r>
              <a:rPr lang="fr-FR" dirty="0"/>
              <a:t>Timeline 2</a:t>
            </a:r>
          </a:p>
        </p:txBody>
      </p:sp>
      <p:pic>
        <p:nvPicPr>
          <p:cNvPr id="46" name="Image 45">
            <a:extLst>
              <a:ext uri="{FF2B5EF4-FFF2-40B4-BE49-F238E27FC236}">
                <a16:creationId xmlns:a16="http://schemas.microsoft.com/office/drawing/2014/main" id="{F9E549C4-2BD4-4F94-8AA1-4154D337C2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8160" y="6003449"/>
            <a:ext cx="747225" cy="630940"/>
          </a:xfrm>
          <a:prstGeom prst="rect">
            <a:avLst/>
          </a:prstGeom>
        </p:spPr>
      </p:pic>
      <p:graphicFrame>
        <p:nvGraphicFramePr>
          <p:cNvPr id="10" name="Tableau 9">
            <a:extLst>
              <a:ext uri="{FF2B5EF4-FFF2-40B4-BE49-F238E27FC236}">
                <a16:creationId xmlns:a16="http://schemas.microsoft.com/office/drawing/2014/main" id="{F136F6E7-471D-4C19-A07B-62FE7AAC4E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9973459"/>
              </p:ext>
            </p:extLst>
          </p:nvPr>
        </p:nvGraphicFramePr>
        <p:xfrm>
          <a:off x="406401" y="1528248"/>
          <a:ext cx="11379197" cy="42509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8777">
                  <a:extLst>
                    <a:ext uri="{9D8B030D-6E8A-4147-A177-3AD203B41FA5}">
                      <a16:colId xmlns:a16="http://schemas.microsoft.com/office/drawing/2014/main" val="2719731400"/>
                    </a:ext>
                  </a:extLst>
                </a:gridCol>
                <a:gridCol w="775035">
                  <a:extLst>
                    <a:ext uri="{9D8B030D-6E8A-4147-A177-3AD203B41FA5}">
                      <a16:colId xmlns:a16="http://schemas.microsoft.com/office/drawing/2014/main" val="715933734"/>
                    </a:ext>
                  </a:extLst>
                </a:gridCol>
                <a:gridCol w="775035">
                  <a:extLst>
                    <a:ext uri="{9D8B030D-6E8A-4147-A177-3AD203B41FA5}">
                      <a16:colId xmlns:a16="http://schemas.microsoft.com/office/drawing/2014/main" val="1957604500"/>
                    </a:ext>
                  </a:extLst>
                </a:gridCol>
                <a:gridCol w="775035">
                  <a:extLst>
                    <a:ext uri="{9D8B030D-6E8A-4147-A177-3AD203B41FA5}">
                      <a16:colId xmlns:a16="http://schemas.microsoft.com/office/drawing/2014/main" val="3615655631"/>
                    </a:ext>
                  </a:extLst>
                </a:gridCol>
                <a:gridCol w="775035">
                  <a:extLst>
                    <a:ext uri="{9D8B030D-6E8A-4147-A177-3AD203B41FA5}">
                      <a16:colId xmlns:a16="http://schemas.microsoft.com/office/drawing/2014/main" val="1824178326"/>
                    </a:ext>
                  </a:extLst>
                </a:gridCol>
                <a:gridCol w="775035">
                  <a:extLst>
                    <a:ext uri="{9D8B030D-6E8A-4147-A177-3AD203B41FA5}">
                      <a16:colId xmlns:a16="http://schemas.microsoft.com/office/drawing/2014/main" val="660789438"/>
                    </a:ext>
                  </a:extLst>
                </a:gridCol>
                <a:gridCol w="775035">
                  <a:extLst>
                    <a:ext uri="{9D8B030D-6E8A-4147-A177-3AD203B41FA5}">
                      <a16:colId xmlns:a16="http://schemas.microsoft.com/office/drawing/2014/main" val="430216970"/>
                    </a:ext>
                  </a:extLst>
                </a:gridCol>
                <a:gridCol w="775035">
                  <a:extLst>
                    <a:ext uri="{9D8B030D-6E8A-4147-A177-3AD203B41FA5}">
                      <a16:colId xmlns:a16="http://schemas.microsoft.com/office/drawing/2014/main" val="3434764773"/>
                    </a:ext>
                  </a:extLst>
                </a:gridCol>
                <a:gridCol w="775035">
                  <a:extLst>
                    <a:ext uri="{9D8B030D-6E8A-4147-A177-3AD203B41FA5}">
                      <a16:colId xmlns:a16="http://schemas.microsoft.com/office/drawing/2014/main" val="4092112509"/>
                    </a:ext>
                  </a:extLst>
                </a:gridCol>
                <a:gridCol w="775035">
                  <a:extLst>
                    <a:ext uri="{9D8B030D-6E8A-4147-A177-3AD203B41FA5}">
                      <a16:colId xmlns:a16="http://schemas.microsoft.com/office/drawing/2014/main" val="1050779216"/>
                    </a:ext>
                  </a:extLst>
                </a:gridCol>
                <a:gridCol w="775035">
                  <a:extLst>
                    <a:ext uri="{9D8B030D-6E8A-4147-A177-3AD203B41FA5}">
                      <a16:colId xmlns:a16="http://schemas.microsoft.com/office/drawing/2014/main" val="1367069873"/>
                    </a:ext>
                  </a:extLst>
                </a:gridCol>
                <a:gridCol w="775035">
                  <a:extLst>
                    <a:ext uri="{9D8B030D-6E8A-4147-A177-3AD203B41FA5}">
                      <a16:colId xmlns:a16="http://schemas.microsoft.com/office/drawing/2014/main" val="3595470207"/>
                    </a:ext>
                  </a:extLst>
                </a:gridCol>
                <a:gridCol w="775035">
                  <a:extLst>
                    <a:ext uri="{9D8B030D-6E8A-4147-A177-3AD203B41FA5}">
                      <a16:colId xmlns:a16="http://schemas.microsoft.com/office/drawing/2014/main" val="24346412"/>
                    </a:ext>
                  </a:extLst>
                </a:gridCol>
              </a:tblGrid>
              <a:tr h="470951">
                <a:tc>
                  <a:txBody>
                    <a:bodyPr/>
                    <a:lstStyle/>
                    <a:p>
                      <a:pPr algn="r"/>
                      <a:endParaRPr lang="fr-FR" sz="1200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bg1"/>
                          </a:solidFill>
                        </a:rPr>
                        <a:t>Jan.</a:t>
                      </a:r>
                    </a:p>
                  </a:txBody>
                  <a:tcPr marL="36000"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bg1"/>
                          </a:solidFill>
                        </a:rPr>
                        <a:t>Fév.</a:t>
                      </a:r>
                    </a:p>
                  </a:txBody>
                  <a:tcPr marL="36000"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bg1"/>
                          </a:solidFill>
                        </a:rPr>
                        <a:t>Mas</a:t>
                      </a:r>
                    </a:p>
                  </a:txBody>
                  <a:tcPr marL="36000"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bg1"/>
                          </a:solidFill>
                        </a:rPr>
                        <a:t>Avr.</a:t>
                      </a:r>
                    </a:p>
                  </a:txBody>
                  <a:tcPr marL="36000"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bg1"/>
                          </a:solidFill>
                        </a:rPr>
                        <a:t>Mai</a:t>
                      </a:r>
                    </a:p>
                  </a:txBody>
                  <a:tcPr marL="36000"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bg1"/>
                          </a:solidFill>
                        </a:rPr>
                        <a:t>Juin</a:t>
                      </a:r>
                    </a:p>
                  </a:txBody>
                  <a:tcPr marL="36000"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bg1"/>
                          </a:solidFill>
                        </a:rPr>
                        <a:t>Juil.</a:t>
                      </a:r>
                    </a:p>
                  </a:txBody>
                  <a:tcPr marL="36000"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bg1"/>
                          </a:solidFill>
                        </a:rPr>
                        <a:t>Août</a:t>
                      </a:r>
                    </a:p>
                  </a:txBody>
                  <a:tcPr marL="36000"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bg1"/>
                          </a:solidFill>
                        </a:rPr>
                        <a:t>Sept.</a:t>
                      </a:r>
                    </a:p>
                  </a:txBody>
                  <a:tcPr marL="36000"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bg1"/>
                          </a:solidFill>
                        </a:rPr>
                        <a:t>Oct.</a:t>
                      </a:r>
                    </a:p>
                  </a:txBody>
                  <a:tcPr marL="36000"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bg1"/>
                          </a:solidFill>
                        </a:rPr>
                        <a:t>Nov.</a:t>
                      </a:r>
                    </a:p>
                  </a:txBody>
                  <a:tcPr marL="36000"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solidFill>
                            <a:schemeClr val="bg1"/>
                          </a:solidFill>
                        </a:rPr>
                        <a:t>Déc.</a:t>
                      </a:r>
                    </a:p>
                  </a:txBody>
                  <a:tcPr marL="36000"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2166197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4142243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8079077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3409835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7558092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3700470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791213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8892314"/>
                  </a:ext>
                </a:extLst>
              </a:tr>
            </a:tbl>
          </a:graphicData>
        </a:graphic>
      </p:graphicFrame>
      <p:sp>
        <p:nvSpPr>
          <p:cNvPr id="47" name="Pentagon 46">
            <a:extLst>
              <a:ext uri="{FF2B5EF4-FFF2-40B4-BE49-F238E27FC236}">
                <a16:creationId xmlns:a16="http://schemas.microsoft.com/office/drawing/2014/main" id="{AFE2E06C-CABF-4997-8DCE-FF034678B998}"/>
              </a:ext>
            </a:extLst>
          </p:cNvPr>
          <p:cNvSpPr>
            <a:spLocks/>
          </p:cNvSpPr>
          <p:nvPr/>
        </p:nvSpPr>
        <p:spPr>
          <a:xfrm>
            <a:off x="2514600" y="2206050"/>
            <a:ext cx="3797300" cy="149496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8" name="Pentagon 47">
            <a:extLst>
              <a:ext uri="{FF2B5EF4-FFF2-40B4-BE49-F238E27FC236}">
                <a16:creationId xmlns:a16="http://schemas.microsoft.com/office/drawing/2014/main" id="{C6CEA1A4-2D8E-4D90-BA3E-92D238D6736B}"/>
              </a:ext>
            </a:extLst>
          </p:cNvPr>
          <p:cNvSpPr>
            <a:spLocks/>
          </p:cNvSpPr>
          <p:nvPr/>
        </p:nvSpPr>
        <p:spPr>
          <a:xfrm>
            <a:off x="2514599" y="2738396"/>
            <a:ext cx="6148389" cy="149496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9" name="Pentagon 48">
            <a:extLst>
              <a:ext uri="{FF2B5EF4-FFF2-40B4-BE49-F238E27FC236}">
                <a16:creationId xmlns:a16="http://schemas.microsoft.com/office/drawing/2014/main" id="{97F3E3CF-A098-4D1A-AD4A-6EC6C528145A}"/>
              </a:ext>
            </a:extLst>
          </p:cNvPr>
          <p:cNvSpPr>
            <a:spLocks/>
          </p:cNvSpPr>
          <p:nvPr/>
        </p:nvSpPr>
        <p:spPr>
          <a:xfrm>
            <a:off x="2514599" y="3246008"/>
            <a:ext cx="9039227" cy="149496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0" name="Pentagon 49">
            <a:extLst>
              <a:ext uri="{FF2B5EF4-FFF2-40B4-BE49-F238E27FC236}">
                <a16:creationId xmlns:a16="http://schemas.microsoft.com/office/drawing/2014/main" id="{903C9DFC-5B55-4C0F-AF9D-8A518D3CB511}"/>
              </a:ext>
            </a:extLst>
          </p:cNvPr>
          <p:cNvSpPr>
            <a:spLocks/>
          </p:cNvSpPr>
          <p:nvPr/>
        </p:nvSpPr>
        <p:spPr>
          <a:xfrm>
            <a:off x="2514600" y="3801205"/>
            <a:ext cx="2057400" cy="149496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1" name="Pentagon 50">
            <a:extLst>
              <a:ext uri="{FF2B5EF4-FFF2-40B4-BE49-F238E27FC236}">
                <a16:creationId xmlns:a16="http://schemas.microsoft.com/office/drawing/2014/main" id="{3EB43214-F61D-43FA-84C7-5EB4FB47B280}"/>
              </a:ext>
            </a:extLst>
          </p:cNvPr>
          <p:cNvSpPr>
            <a:spLocks/>
          </p:cNvSpPr>
          <p:nvPr/>
        </p:nvSpPr>
        <p:spPr>
          <a:xfrm>
            <a:off x="2514600" y="4356402"/>
            <a:ext cx="2057400" cy="149496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2" name="Pentagon 51">
            <a:extLst>
              <a:ext uri="{FF2B5EF4-FFF2-40B4-BE49-F238E27FC236}">
                <a16:creationId xmlns:a16="http://schemas.microsoft.com/office/drawing/2014/main" id="{F8086CFA-EA65-4796-B58B-04FF8DB9202C}"/>
              </a:ext>
            </a:extLst>
          </p:cNvPr>
          <p:cNvSpPr>
            <a:spLocks/>
          </p:cNvSpPr>
          <p:nvPr/>
        </p:nvSpPr>
        <p:spPr>
          <a:xfrm>
            <a:off x="2514599" y="4883681"/>
            <a:ext cx="4691063" cy="149496"/>
          </a:xfrm>
          <a:prstGeom prst="homePlat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3" name="Pentagon 52">
            <a:extLst>
              <a:ext uri="{FF2B5EF4-FFF2-40B4-BE49-F238E27FC236}">
                <a16:creationId xmlns:a16="http://schemas.microsoft.com/office/drawing/2014/main" id="{BC6018C1-E55B-446E-8F98-0EF9263DAFEC}"/>
              </a:ext>
            </a:extLst>
          </p:cNvPr>
          <p:cNvSpPr>
            <a:spLocks/>
          </p:cNvSpPr>
          <p:nvPr/>
        </p:nvSpPr>
        <p:spPr>
          <a:xfrm>
            <a:off x="2514600" y="5440893"/>
            <a:ext cx="3476626" cy="149496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13578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4CAAF1B-CE68-4E53-BC22-30C0E536E0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0070E7C-E73D-4C55-A1B8-D849792539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DD129-9432-4EC5-A584-361F331C8534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756A3C2-3381-49F8-8AC5-4187286BE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7711A67A-D2B9-436B-9778-692F3EF168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27</a:t>
            </a:fld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F6A4B82F-6622-4DAE-AE1E-C3D52A54A7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7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E49C35FB-2E3F-4B63-95CD-A1384E30BD0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0028" y="972088"/>
            <a:ext cx="11385551" cy="400110"/>
          </a:xfrm>
        </p:spPr>
        <p:txBody>
          <a:bodyPr/>
          <a:lstStyle/>
          <a:p>
            <a:r>
              <a:rPr lang="fr-FR"/>
              <a:t>Organigramme</a:t>
            </a:r>
            <a:endParaRPr lang="fr-F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D025906-01C5-4189-BD1F-0454CA1594F5}"/>
              </a:ext>
            </a:extLst>
          </p:cNvPr>
          <p:cNvSpPr/>
          <p:nvPr/>
        </p:nvSpPr>
        <p:spPr>
          <a:xfrm>
            <a:off x="5041900" y="1989256"/>
            <a:ext cx="2108200" cy="637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>
            <a:spAutoFit/>
          </a:bodyPr>
          <a:lstStyle/>
          <a:p>
            <a:pPr algn="ctr"/>
            <a:r>
              <a:rPr lang="fr-FR" dirty="0">
                <a:solidFill>
                  <a:schemeClr val="bg2"/>
                </a:solidFill>
                <a:latin typeface="+mj-lt"/>
              </a:rPr>
              <a:t>Prénom NOM</a:t>
            </a:r>
          </a:p>
          <a:p>
            <a:pPr algn="ctr"/>
            <a:r>
              <a:rPr lang="fr-FR" sz="1400" dirty="0">
                <a:solidFill>
                  <a:schemeClr val="tx2"/>
                </a:solidFill>
              </a:rPr>
              <a:t>Fonc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E131076-5E11-4D8B-ABA4-8A0B09159307}"/>
              </a:ext>
            </a:extLst>
          </p:cNvPr>
          <p:cNvSpPr/>
          <p:nvPr/>
        </p:nvSpPr>
        <p:spPr>
          <a:xfrm rot="5400000" flipV="1">
            <a:off x="7985931" y="128403"/>
            <a:ext cx="185713" cy="3108325"/>
          </a:xfrm>
          <a:custGeom>
            <a:avLst/>
            <a:gdLst>
              <a:gd name="connsiteX0" fmla="*/ 0 w 1162050"/>
              <a:gd name="connsiteY0" fmla="*/ 0 h 1162050"/>
              <a:gd name="connsiteX1" fmla="*/ 1162050 w 1162050"/>
              <a:gd name="connsiteY1" fmla="*/ 0 h 1162050"/>
              <a:gd name="connsiteX2" fmla="*/ 1162050 w 1162050"/>
              <a:gd name="connsiteY2" fmla="*/ 1162050 h 1162050"/>
              <a:gd name="connsiteX3" fmla="*/ 0 w 1162050"/>
              <a:gd name="connsiteY3" fmla="*/ 1162050 h 1162050"/>
              <a:gd name="connsiteX4" fmla="*/ 0 w 1162050"/>
              <a:gd name="connsiteY4" fmla="*/ 0 h 1162050"/>
              <a:gd name="connsiteX0" fmla="*/ 1162050 w 1253490"/>
              <a:gd name="connsiteY0" fmla="*/ 0 h 1162050"/>
              <a:gd name="connsiteX1" fmla="*/ 1162050 w 1253490"/>
              <a:gd name="connsiteY1" fmla="*/ 1162050 h 1162050"/>
              <a:gd name="connsiteX2" fmla="*/ 0 w 1253490"/>
              <a:gd name="connsiteY2" fmla="*/ 1162050 h 1162050"/>
              <a:gd name="connsiteX3" fmla="*/ 0 w 1253490"/>
              <a:gd name="connsiteY3" fmla="*/ 0 h 1162050"/>
              <a:gd name="connsiteX4" fmla="*/ 1253490 w 1253490"/>
              <a:gd name="connsiteY4" fmla="*/ 91440 h 1162050"/>
              <a:gd name="connsiteX0" fmla="*/ 1162050 w 1162050"/>
              <a:gd name="connsiteY0" fmla="*/ 0 h 1162050"/>
              <a:gd name="connsiteX1" fmla="*/ 1162050 w 1162050"/>
              <a:gd name="connsiteY1" fmla="*/ 1162050 h 1162050"/>
              <a:gd name="connsiteX2" fmla="*/ 0 w 1162050"/>
              <a:gd name="connsiteY2" fmla="*/ 1162050 h 1162050"/>
              <a:gd name="connsiteX3" fmla="*/ 0 w 1162050"/>
              <a:gd name="connsiteY3" fmla="*/ 0 h 1162050"/>
              <a:gd name="connsiteX0" fmla="*/ 1162050 w 1162050"/>
              <a:gd name="connsiteY0" fmla="*/ 1162050 h 1162050"/>
              <a:gd name="connsiteX1" fmla="*/ 0 w 1162050"/>
              <a:gd name="connsiteY1" fmla="*/ 1162050 h 1162050"/>
              <a:gd name="connsiteX2" fmla="*/ 0 w 1162050"/>
              <a:gd name="connsiteY2" fmla="*/ 0 h 1162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2050" h="1162050">
                <a:moveTo>
                  <a:pt x="1162050" y="1162050"/>
                </a:moveTo>
                <a:lnTo>
                  <a:pt x="0" y="116205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1D2C835-ABD3-491F-A412-B15058D53458}"/>
              </a:ext>
            </a:extLst>
          </p:cNvPr>
          <p:cNvSpPr/>
          <p:nvPr/>
        </p:nvSpPr>
        <p:spPr>
          <a:xfrm>
            <a:off x="3671206" y="2823011"/>
            <a:ext cx="4863194" cy="185711"/>
          </a:xfrm>
          <a:custGeom>
            <a:avLst/>
            <a:gdLst>
              <a:gd name="connsiteX0" fmla="*/ 0 w 1638300"/>
              <a:gd name="connsiteY0" fmla="*/ 0 h 1085850"/>
              <a:gd name="connsiteX1" fmla="*/ 1638300 w 1638300"/>
              <a:gd name="connsiteY1" fmla="*/ 0 h 1085850"/>
              <a:gd name="connsiteX2" fmla="*/ 1638300 w 1638300"/>
              <a:gd name="connsiteY2" fmla="*/ 1085850 h 1085850"/>
              <a:gd name="connsiteX3" fmla="*/ 0 w 1638300"/>
              <a:gd name="connsiteY3" fmla="*/ 1085850 h 1085850"/>
              <a:gd name="connsiteX4" fmla="*/ 0 w 1638300"/>
              <a:gd name="connsiteY4" fmla="*/ 0 h 1085850"/>
              <a:gd name="connsiteX0" fmla="*/ 0 w 1638300"/>
              <a:gd name="connsiteY0" fmla="*/ 0 h 1085850"/>
              <a:gd name="connsiteX1" fmla="*/ 1638300 w 1638300"/>
              <a:gd name="connsiteY1" fmla="*/ 0 h 1085850"/>
              <a:gd name="connsiteX2" fmla="*/ 1638300 w 1638300"/>
              <a:gd name="connsiteY2" fmla="*/ 1085850 h 1085850"/>
              <a:gd name="connsiteX3" fmla="*/ 809625 w 1638300"/>
              <a:gd name="connsiteY3" fmla="*/ 1085850 h 1085850"/>
              <a:gd name="connsiteX4" fmla="*/ 0 w 1638300"/>
              <a:gd name="connsiteY4" fmla="*/ 1085850 h 1085850"/>
              <a:gd name="connsiteX5" fmla="*/ 0 w 1638300"/>
              <a:gd name="connsiteY5" fmla="*/ 0 h 1085850"/>
              <a:gd name="connsiteX0" fmla="*/ 809625 w 1638300"/>
              <a:gd name="connsiteY0" fmla="*/ 1085850 h 1177290"/>
              <a:gd name="connsiteX1" fmla="*/ 0 w 1638300"/>
              <a:gd name="connsiteY1" fmla="*/ 1085850 h 1177290"/>
              <a:gd name="connsiteX2" fmla="*/ 0 w 1638300"/>
              <a:gd name="connsiteY2" fmla="*/ 0 h 1177290"/>
              <a:gd name="connsiteX3" fmla="*/ 1638300 w 1638300"/>
              <a:gd name="connsiteY3" fmla="*/ 0 h 1177290"/>
              <a:gd name="connsiteX4" fmla="*/ 1638300 w 1638300"/>
              <a:gd name="connsiteY4" fmla="*/ 1085850 h 1177290"/>
              <a:gd name="connsiteX5" fmla="*/ 901065 w 1638300"/>
              <a:gd name="connsiteY5" fmla="*/ 1177290 h 1177290"/>
              <a:gd name="connsiteX0" fmla="*/ 809625 w 1638300"/>
              <a:gd name="connsiteY0" fmla="*/ 1085850 h 1085850"/>
              <a:gd name="connsiteX1" fmla="*/ 0 w 1638300"/>
              <a:gd name="connsiteY1" fmla="*/ 1085850 h 1085850"/>
              <a:gd name="connsiteX2" fmla="*/ 0 w 1638300"/>
              <a:gd name="connsiteY2" fmla="*/ 0 h 1085850"/>
              <a:gd name="connsiteX3" fmla="*/ 1638300 w 1638300"/>
              <a:gd name="connsiteY3" fmla="*/ 0 h 1085850"/>
              <a:gd name="connsiteX4" fmla="*/ 1638300 w 1638300"/>
              <a:gd name="connsiteY4" fmla="*/ 1085850 h 1085850"/>
              <a:gd name="connsiteX0" fmla="*/ 0 w 1638300"/>
              <a:gd name="connsiteY0" fmla="*/ 1085850 h 1085850"/>
              <a:gd name="connsiteX1" fmla="*/ 0 w 1638300"/>
              <a:gd name="connsiteY1" fmla="*/ 0 h 1085850"/>
              <a:gd name="connsiteX2" fmla="*/ 1638300 w 1638300"/>
              <a:gd name="connsiteY2" fmla="*/ 0 h 1085850"/>
              <a:gd name="connsiteX3" fmla="*/ 1638300 w 1638300"/>
              <a:gd name="connsiteY3" fmla="*/ 1085850 h 108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38300" h="1085850">
                <a:moveTo>
                  <a:pt x="0" y="1085850"/>
                </a:moveTo>
                <a:lnTo>
                  <a:pt x="0" y="0"/>
                </a:lnTo>
                <a:lnTo>
                  <a:pt x="1638300" y="0"/>
                </a:lnTo>
                <a:lnTo>
                  <a:pt x="1638300" y="108585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58A3B725-8BC9-40E2-8194-F9DC54C761DA}"/>
              </a:ext>
            </a:extLst>
          </p:cNvPr>
          <p:cNvCxnSpPr>
            <a:cxnSpLocks/>
          </p:cNvCxnSpPr>
          <p:nvPr/>
        </p:nvCxnSpPr>
        <p:spPr>
          <a:xfrm flipV="1">
            <a:off x="6096000" y="2656297"/>
            <a:ext cx="0" cy="3524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3CBA3A2F-F5EB-46D7-AC65-14C600DB40A3}"/>
              </a:ext>
            </a:extLst>
          </p:cNvPr>
          <p:cNvSpPr/>
          <p:nvPr/>
        </p:nvSpPr>
        <p:spPr>
          <a:xfrm>
            <a:off x="2617106" y="3888247"/>
            <a:ext cx="2108200" cy="5455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>
            <a:spAutoFit/>
          </a:bodyPr>
          <a:lstStyle/>
          <a:p>
            <a:pPr algn="ctr"/>
            <a:r>
              <a:rPr lang="fr-FR" sz="1400" dirty="0">
                <a:solidFill>
                  <a:schemeClr val="bg2"/>
                </a:solidFill>
                <a:latin typeface="+mj-lt"/>
              </a:rPr>
              <a:t>Prénom NOM</a:t>
            </a:r>
          </a:p>
          <a:p>
            <a:pPr algn="ctr"/>
            <a:r>
              <a:rPr lang="fr-FR" sz="1100" dirty="0">
                <a:solidFill>
                  <a:schemeClr val="tx2"/>
                </a:solidFill>
              </a:rPr>
              <a:t>Fonc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C30813-014C-4C5E-AFFE-7CC26EC18599}"/>
              </a:ext>
            </a:extLst>
          </p:cNvPr>
          <p:cNvSpPr/>
          <p:nvPr/>
        </p:nvSpPr>
        <p:spPr>
          <a:xfrm>
            <a:off x="5041900" y="3888247"/>
            <a:ext cx="2108200" cy="5455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>
            <a:spAutoFit/>
          </a:bodyPr>
          <a:lstStyle/>
          <a:p>
            <a:pPr algn="ctr"/>
            <a:r>
              <a:rPr lang="fr-FR" sz="1400" dirty="0">
                <a:solidFill>
                  <a:schemeClr val="bg2"/>
                </a:solidFill>
                <a:latin typeface="+mj-lt"/>
              </a:rPr>
              <a:t>Prénom NOM</a:t>
            </a:r>
          </a:p>
          <a:p>
            <a:pPr algn="ctr"/>
            <a:r>
              <a:rPr lang="fr-FR" sz="1100" dirty="0">
                <a:solidFill>
                  <a:schemeClr val="tx2"/>
                </a:solidFill>
              </a:rPr>
              <a:t>Fonc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478884F-AC90-4598-8C7B-9E95F9BF1EF6}"/>
              </a:ext>
            </a:extLst>
          </p:cNvPr>
          <p:cNvSpPr/>
          <p:nvPr/>
        </p:nvSpPr>
        <p:spPr>
          <a:xfrm>
            <a:off x="7480300" y="3888247"/>
            <a:ext cx="2108200" cy="5455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>
            <a:spAutoFit/>
          </a:bodyPr>
          <a:lstStyle/>
          <a:p>
            <a:pPr algn="ctr"/>
            <a:r>
              <a:rPr lang="fr-FR" sz="1400" dirty="0">
                <a:solidFill>
                  <a:schemeClr val="bg2"/>
                </a:solidFill>
                <a:latin typeface="+mj-lt"/>
              </a:rPr>
              <a:t>Prénom NOM</a:t>
            </a:r>
          </a:p>
          <a:p>
            <a:pPr algn="ctr"/>
            <a:r>
              <a:rPr lang="fr-FR" sz="1100" dirty="0">
                <a:solidFill>
                  <a:schemeClr val="tx2"/>
                </a:solidFill>
              </a:rPr>
              <a:t>Fonction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F07D7B5-DF1C-4795-A77A-B01A247A2BA5}"/>
              </a:ext>
            </a:extLst>
          </p:cNvPr>
          <p:cNvSpPr/>
          <p:nvPr/>
        </p:nvSpPr>
        <p:spPr>
          <a:xfrm>
            <a:off x="10026649" y="1942425"/>
            <a:ext cx="2108200" cy="5455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>
            <a:spAutoFit/>
          </a:bodyPr>
          <a:lstStyle/>
          <a:p>
            <a:r>
              <a:rPr lang="fr-FR" sz="1400" dirty="0">
                <a:solidFill>
                  <a:schemeClr val="tx2"/>
                </a:solidFill>
                <a:latin typeface="+mj-lt"/>
              </a:rPr>
              <a:t>Prénom NOM</a:t>
            </a:r>
          </a:p>
          <a:p>
            <a:r>
              <a:rPr lang="fr-FR" sz="1100" dirty="0">
                <a:solidFill>
                  <a:schemeClr val="tx2"/>
                </a:solidFill>
              </a:rPr>
              <a:t>Fonction</a:t>
            </a:r>
          </a:p>
        </p:txBody>
      </p:sp>
      <p:cxnSp>
        <p:nvCxnSpPr>
          <p:cNvPr id="36" name="Connecteur droit 35">
            <a:extLst>
              <a:ext uri="{FF2B5EF4-FFF2-40B4-BE49-F238E27FC236}">
                <a16:creationId xmlns:a16="http://schemas.microsoft.com/office/drawing/2014/main" id="{46E71FE1-3F79-4A3A-B860-01C0A65B2589}"/>
              </a:ext>
            </a:extLst>
          </p:cNvPr>
          <p:cNvCxnSpPr/>
          <p:nvPr/>
        </p:nvCxnSpPr>
        <p:spPr>
          <a:xfrm>
            <a:off x="3057525" y="4523197"/>
            <a:ext cx="12192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7" name="Tableau 36">
            <a:extLst>
              <a:ext uri="{FF2B5EF4-FFF2-40B4-BE49-F238E27FC236}">
                <a16:creationId xmlns:a16="http://schemas.microsoft.com/office/drawing/2014/main" id="{480E7451-FDEC-4F16-9424-61E9A6A2A8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3273095"/>
              </p:ext>
            </p:extLst>
          </p:nvPr>
        </p:nvGraphicFramePr>
        <p:xfrm>
          <a:off x="2862262" y="4611938"/>
          <a:ext cx="1609725" cy="116586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609725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cxnSp>
        <p:nvCxnSpPr>
          <p:cNvPr id="38" name="Connecteur droit 37">
            <a:extLst>
              <a:ext uri="{FF2B5EF4-FFF2-40B4-BE49-F238E27FC236}">
                <a16:creationId xmlns:a16="http://schemas.microsoft.com/office/drawing/2014/main" id="{8ED81162-53B3-4278-A614-EDC22E91F121}"/>
              </a:ext>
            </a:extLst>
          </p:cNvPr>
          <p:cNvCxnSpPr/>
          <p:nvPr/>
        </p:nvCxnSpPr>
        <p:spPr>
          <a:xfrm>
            <a:off x="5467350" y="4523197"/>
            <a:ext cx="12192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9" name="Tableau 38">
            <a:extLst>
              <a:ext uri="{FF2B5EF4-FFF2-40B4-BE49-F238E27FC236}">
                <a16:creationId xmlns:a16="http://schemas.microsoft.com/office/drawing/2014/main" id="{916EB12C-3123-4820-BD20-5C58EEFA4C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9474039"/>
              </p:ext>
            </p:extLst>
          </p:nvPr>
        </p:nvGraphicFramePr>
        <p:xfrm>
          <a:off x="5272087" y="4611938"/>
          <a:ext cx="1609725" cy="116586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609725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cxnSp>
        <p:nvCxnSpPr>
          <p:cNvPr id="40" name="Connecteur droit 39">
            <a:extLst>
              <a:ext uri="{FF2B5EF4-FFF2-40B4-BE49-F238E27FC236}">
                <a16:creationId xmlns:a16="http://schemas.microsoft.com/office/drawing/2014/main" id="{A0ADA7E1-4A56-482B-98EE-08798B497021}"/>
              </a:ext>
            </a:extLst>
          </p:cNvPr>
          <p:cNvCxnSpPr/>
          <p:nvPr/>
        </p:nvCxnSpPr>
        <p:spPr>
          <a:xfrm>
            <a:off x="7924800" y="4523197"/>
            <a:ext cx="12192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1" name="Tableau 40">
            <a:extLst>
              <a:ext uri="{FF2B5EF4-FFF2-40B4-BE49-F238E27FC236}">
                <a16:creationId xmlns:a16="http://schemas.microsoft.com/office/drawing/2014/main" id="{5E02A849-A53D-44CA-AA2B-D2069CCB81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1057570"/>
              </p:ext>
            </p:extLst>
          </p:nvPr>
        </p:nvGraphicFramePr>
        <p:xfrm>
          <a:off x="7729537" y="4611938"/>
          <a:ext cx="1609725" cy="116586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609725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35" name="Rectangle 34">
            <a:extLst>
              <a:ext uri="{FF2B5EF4-FFF2-40B4-BE49-F238E27FC236}">
                <a16:creationId xmlns:a16="http://schemas.microsoft.com/office/drawing/2014/main" id="{734A3B79-69DE-43C1-B3B5-C6A9F1FFEE9A}"/>
              </a:ext>
            </a:extLst>
          </p:cNvPr>
          <p:cNvSpPr/>
          <p:nvPr/>
        </p:nvSpPr>
        <p:spPr>
          <a:xfrm>
            <a:off x="12287374" y="1976696"/>
            <a:ext cx="1885826" cy="938719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lang="fr-FR" sz="1000" dirty="0">
                <a:solidFill>
                  <a:schemeClr val="tx1"/>
                </a:solidFill>
                <a:latin typeface="+mj-lt"/>
              </a:rPr>
              <a:t>Modifier l’organigramme :</a:t>
            </a:r>
          </a:p>
          <a:p>
            <a:pPr marL="171450" indent="-171450">
              <a:spcBef>
                <a:spcPts val="600"/>
              </a:spcBef>
              <a:buBlip>
                <a:blip r:embed="rId3"/>
              </a:buBlip>
            </a:pPr>
            <a:r>
              <a:rPr lang="fr-FR" sz="1000" dirty="0">
                <a:solidFill>
                  <a:schemeClr val="tx1"/>
                </a:solidFill>
              </a:rPr>
              <a:t>Se référer à slide Toolbox pour choisir différents types de connecteurs :</a:t>
            </a:r>
          </a:p>
        </p:txBody>
      </p:sp>
      <p:sp>
        <p:nvSpPr>
          <p:cNvPr id="31" name="Oval 2">
            <a:extLst>
              <a:ext uri="{FF2B5EF4-FFF2-40B4-BE49-F238E27FC236}">
                <a16:creationId xmlns:a16="http://schemas.microsoft.com/office/drawing/2014/main" id="{167CA073-2E44-4C58-BE73-526AE65A835D}"/>
              </a:ext>
            </a:extLst>
          </p:cNvPr>
          <p:cNvSpPr/>
          <p:nvPr/>
        </p:nvSpPr>
        <p:spPr>
          <a:xfrm>
            <a:off x="5667375" y="1166524"/>
            <a:ext cx="857250" cy="85725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2" name="Oval 2">
            <a:extLst>
              <a:ext uri="{FF2B5EF4-FFF2-40B4-BE49-F238E27FC236}">
                <a16:creationId xmlns:a16="http://schemas.microsoft.com/office/drawing/2014/main" id="{46BBF09C-1605-4485-BA3C-0EFDC81E7BF9}"/>
              </a:ext>
            </a:extLst>
          </p:cNvPr>
          <p:cNvSpPr/>
          <p:nvPr/>
        </p:nvSpPr>
        <p:spPr>
          <a:xfrm>
            <a:off x="9258298" y="1834184"/>
            <a:ext cx="762000" cy="7620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4" name="Oval 2">
            <a:extLst>
              <a:ext uri="{FF2B5EF4-FFF2-40B4-BE49-F238E27FC236}">
                <a16:creationId xmlns:a16="http://schemas.microsoft.com/office/drawing/2014/main" id="{5E81128A-6C5B-44B1-BCC4-04D0844A90D2}"/>
              </a:ext>
            </a:extLst>
          </p:cNvPr>
          <p:cNvSpPr/>
          <p:nvPr/>
        </p:nvSpPr>
        <p:spPr>
          <a:xfrm>
            <a:off x="3290207" y="3096939"/>
            <a:ext cx="762000" cy="7620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6" name="Oval 2">
            <a:extLst>
              <a:ext uri="{FF2B5EF4-FFF2-40B4-BE49-F238E27FC236}">
                <a16:creationId xmlns:a16="http://schemas.microsoft.com/office/drawing/2014/main" id="{0EE4B29C-91FA-41B1-9570-420FF47BA91D}"/>
              </a:ext>
            </a:extLst>
          </p:cNvPr>
          <p:cNvSpPr/>
          <p:nvPr/>
        </p:nvSpPr>
        <p:spPr>
          <a:xfrm>
            <a:off x="5715000" y="3096939"/>
            <a:ext cx="762000" cy="7620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8" name="Oval 2">
            <a:extLst>
              <a:ext uri="{FF2B5EF4-FFF2-40B4-BE49-F238E27FC236}">
                <a16:creationId xmlns:a16="http://schemas.microsoft.com/office/drawing/2014/main" id="{2BA11A1B-7315-447C-BA06-64299DD22FEE}"/>
              </a:ext>
            </a:extLst>
          </p:cNvPr>
          <p:cNvSpPr/>
          <p:nvPr/>
        </p:nvSpPr>
        <p:spPr>
          <a:xfrm>
            <a:off x="8153400" y="3096940"/>
            <a:ext cx="762000" cy="7620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FB9D484-5017-4953-B586-71A7D14B66EF}"/>
              </a:ext>
            </a:extLst>
          </p:cNvPr>
          <p:cNvSpPr/>
          <p:nvPr/>
        </p:nvSpPr>
        <p:spPr>
          <a:xfrm>
            <a:off x="12287374" y="0"/>
            <a:ext cx="1885826" cy="1862048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lang="fr-FR" sz="1000" dirty="0">
                <a:solidFill>
                  <a:schemeClr val="tx1"/>
                </a:solidFill>
                <a:latin typeface="+mj-lt"/>
              </a:rPr>
              <a:t>Pour changer les photos :</a:t>
            </a:r>
          </a:p>
          <a:p>
            <a:pPr marL="171450" indent="-171450">
              <a:spcBef>
                <a:spcPts val="600"/>
              </a:spcBef>
              <a:buBlip>
                <a:blip r:embed="rId3"/>
              </a:buBlip>
            </a:pPr>
            <a:r>
              <a:rPr lang="fr-FR" sz="1000" dirty="0">
                <a:solidFill>
                  <a:schemeClr val="tx1"/>
                </a:solidFill>
              </a:rPr>
              <a:t>Clic droit sur l’image</a:t>
            </a:r>
          </a:p>
          <a:p>
            <a:pPr marL="171450" indent="-171450">
              <a:buBlip>
                <a:blip r:embed="rId3"/>
              </a:buBlip>
            </a:pPr>
            <a:r>
              <a:rPr lang="fr-FR" sz="1000" dirty="0">
                <a:solidFill>
                  <a:schemeClr val="tx1"/>
                </a:solidFill>
              </a:rPr>
              <a:t>Choisir « Remplissage » puis « Image… » et cliquer sur « À partir d’un fichier »</a:t>
            </a:r>
          </a:p>
          <a:p>
            <a:pPr marL="171450" indent="-171450">
              <a:buBlip>
                <a:blip r:embed="rId3"/>
              </a:buBlip>
            </a:pPr>
            <a:r>
              <a:rPr lang="fr-FR" sz="1000" dirty="0">
                <a:solidFill>
                  <a:schemeClr val="tx1"/>
                </a:solidFill>
              </a:rPr>
              <a:t>Sélectionner ensuite l’image et dans « Outils de l’image », cliquer sur « Rogner » , puis « Remplir »</a:t>
            </a:r>
          </a:p>
        </p:txBody>
      </p:sp>
      <p:sp>
        <p:nvSpPr>
          <p:cNvPr id="30" name="Rectangle : coins arrondis 29">
            <a:hlinkClick r:id="rId5" action="ppaction://hlinksldjump"/>
            <a:extLst>
              <a:ext uri="{FF2B5EF4-FFF2-40B4-BE49-F238E27FC236}">
                <a16:creationId xmlns:a16="http://schemas.microsoft.com/office/drawing/2014/main" id="{BA5D28C6-37A1-4D45-904A-1C1B21C674C9}"/>
              </a:ext>
            </a:extLst>
          </p:cNvPr>
          <p:cNvSpPr/>
          <p:nvPr/>
        </p:nvSpPr>
        <p:spPr>
          <a:xfrm>
            <a:off x="12287373" y="3030063"/>
            <a:ext cx="1885823" cy="412538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>
                <a:solidFill>
                  <a:schemeClr val="bg1"/>
                </a:solidFill>
              </a:rPr>
              <a:t>Voir Toolbox </a:t>
            </a:r>
            <a:br>
              <a:rPr lang="fr-FR" sz="1100" b="1" dirty="0">
                <a:solidFill>
                  <a:schemeClr val="bg1"/>
                </a:solidFill>
              </a:rPr>
            </a:br>
            <a:r>
              <a:rPr lang="fr-FR" sz="1100" b="1" dirty="0">
                <a:solidFill>
                  <a:schemeClr val="bg1"/>
                </a:solidFill>
              </a:rPr>
              <a:t>CTRL + Clic</a:t>
            </a:r>
          </a:p>
        </p:txBody>
      </p:sp>
    </p:spTree>
    <p:extLst>
      <p:ext uri="{BB962C8B-B14F-4D97-AF65-F5344CB8AC3E}">
        <p14:creationId xmlns:p14="http://schemas.microsoft.com/office/powerpoint/2010/main" val="3005792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4CAAF1B-CE68-4E53-BC22-30C0E536E0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0070E7C-E73D-4C55-A1B8-D849792539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DD129-9432-4EC5-A584-361F331C8534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756A3C2-3381-49F8-8AC5-4187286BE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7711A67A-D2B9-436B-9778-692F3EF168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28</a:t>
            </a:fld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F6A4B82F-6622-4DAE-AE1E-C3D52A54A7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7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E49C35FB-2E3F-4B63-95CD-A1384E30BD0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0028" y="972088"/>
            <a:ext cx="11385551" cy="400110"/>
          </a:xfrm>
        </p:spPr>
        <p:txBody>
          <a:bodyPr/>
          <a:lstStyle/>
          <a:p>
            <a:r>
              <a:rPr lang="fr-FR"/>
              <a:t>Organigramme</a:t>
            </a:r>
            <a:endParaRPr lang="fr-F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D025906-01C5-4189-BD1F-0454CA1594F5}"/>
              </a:ext>
            </a:extLst>
          </p:cNvPr>
          <p:cNvSpPr/>
          <p:nvPr/>
        </p:nvSpPr>
        <p:spPr>
          <a:xfrm>
            <a:off x="5041900" y="1989256"/>
            <a:ext cx="2108200" cy="637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>
            <a:spAutoFit/>
          </a:bodyPr>
          <a:lstStyle/>
          <a:p>
            <a:pPr algn="ctr"/>
            <a:r>
              <a:rPr lang="fr-FR" dirty="0">
                <a:solidFill>
                  <a:schemeClr val="bg2"/>
                </a:solidFill>
                <a:latin typeface="+mj-lt"/>
              </a:rPr>
              <a:t>Prénom NOM</a:t>
            </a:r>
          </a:p>
          <a:p>
            <a:pPr algn="ctr"/>
            <a:r>
              <a:rPr lang="fr-FR" sz="1400" dirty="0">
                <a:solidFill>
                  <a:schemeClr val="tx2"/>
                </a:solidFill>
              </a:rPr>
              <a:t>Fonc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E131076-5E11-4D8B-ABA4-8A0B09159307}"/>
              </a:ext>
            </a:extLst>
          </p:cNvPr>
          <p:cNvSpPr/>
          <p:nvPr/>
        </p:nvSpPr>
        <p:spPr>
          <a:xfrm rot="5400000" flipV="1">
            <a:off x="7985931" y="128403"/>
            <a:ext cx="185713" cy="3108325"/>
          </a:xfrm>
          <a:custGeom>
            <a:avLst/>
            <a:gdLst>
              <a:gd name="connsiteX0" fmla="*/ 0 w 1162050"/>
              <a:gd name="connsiteY0" fmla="*/ 0 h 1162050"/>
              <a:gd name="connsiteX1" fmla="*/ 1162050 w 1162050"/>
              <a:gd name="connsiteY1" fmla="*/ 0 h 1162050"/>
              <a:gd name="connsiteX2" fmla="*/ 1162050 w 1162050"/>
              <a:gd name="connsiteY2" fmla="*/ 1162050 h 1162050"/>
              <a:gd name="connsiteX3" fmla="*/ 0 w 1162050"/>
              <a:gd name="connsiteY3" fmla="*/ 1162050 h 1162050"/>
              <a:gd name="connsiteX4" fmla="*/ 0 w 1162050"/>
              <a:gd name="connsiteY4" fmla="*/ 0 h 1162050"/>
              <a:gd name="connsiteX0" fmla="*/ 1162050 w 1253490"/>
              <a:gd name="connsiteY0" fmla="*/ 0 h 1162050"/>
              <a:gd name="connsiteX1" fmla="*/ 1162050 w 1253490"/>
              <a:gd name="connsiteY1" fmla="*/ 1162050 h 1162050"/>
              <a:gd name="connsiteX2" fmla="*/ 0 w 1253490"/>
              <a:gd name="connsiteY2" fmla="*/ 1162050 h 1162050"/>
              <a:gd name="connsiteX3" fmla="*/ 0 w 1253490"/>
              <a:gd name="connsiteY3" fmla="*/ 0 h 1162050"/>
              <a:gd name="connsiteX4" fmla="*/ 1253490 w 1253490"/>
              <a:gd name="connsiteY4" fmla="*/ 91440 h 1162050"/>
              <a:gd name="connsiteX0" fmla="*/ 1162050 w 1162050"/>
              <a:gd name="connsiteY0" fmla="*/ 0 h 1162050"/>
              <a:gd name="connsiteX1" fmla="*/ 1162050 w 1162050"/>
              <a:gd name="connsiteY1" fmla="*/ 1162050 h 1162050"/>
              <a:gd name="connsiteX2" fmla="*/ 0 w 1162050"/>
              <a:gd name="connsiteY2" fmla="*/ 1162050 h 1162050"/>
              <a:gd name="connsiteX3" fmla="*/ 0 w 1162050"/>
              <a:gd name="connsiteY3" fmla="*/ 0 h 1162050"/>
              <a:gd name="connsiteX0" fmla="*/ 1162050 w 1162050"/>
              <a:gd name="connsiteY0" fmla="*/ 1162050 h 1162050"/>
              <a:gd name="connsiteX1" fmla="*/ 0 w 1162050"/>
              <a:gd name="connsiteY1" fmla="*/ 1162050 h 1162050"/>
              <a:gd name="connsiteX2" fmla="*/ 0 w 1162050"/>
              <a:gd name="connsiteY2" fmla="*/ 0 h 1162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2050" h="1162050">
                <a:moveTo>
                  <a:pt x="1162050" y="1162050"/>
                </a:moveTo>
                <a:lnTo>
                  <a:pt x="0" y="116205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1D2C835-ABD3-491F-A412-B15058D53458}"/>
              </a:ext>
            </a:extLst>
          </p:cNvPr>
          <p:cNvSpPr/>
          <p:nvPr/>
        </p:nvSpPr>
        <p:spPr>
          <a:xfrm>
            <a:off x="3671206" y="2823011"/>
            <a:ext cx="4863194" cy="185711"/>
          </a:xfrm>
          <a:custGeom>
            <a:avLst/>
            <a:gdLst>
              <a:gd name="connsiteX0" fmla="*/ 0 w 1638300"/>
              <a:gd name="connsiteY0" fmla="*/ 0 h 1085850"/>
              <a:gd name="connsiteX1" fmla="*/ 1638300 w 1638300"/>
              <a:gd name="connsiteY1" fmla="*/ 0 h 1085850"/>
              <a:gd name="connsiteX2" fmla="*/ 1638300 w 1638300"/>
              <a:gd name="connsiteY2" fmla="*/ 1085850 h 1085850"/>
              <a:gd name="connsiteX3" fmla="*/ 0 w 1638300"/>
              <a:gd name="connsiteY3" fmla="*/ 1085850 h 1085850"/>
              <a:gd name="connsiteX4" fmla="*/ 0 w 1638300"/>
              <a:gd name="connsiteY4" fmla="*/ 0 h 1085850"/>
              <a:gd name="connsiteX0" fmla="*/ 0 w 1638300"/>
              <a:gd name="connsiteY0" fmla="*/ 0 h 1085850"/>
              <a:gd name="connsiteX1" fmla="*/ 1638300 w 1638300"/>
              <a:gd name="connsiteY1" fmla="*/ 0 h 1085850"/>
              <a:gd name="connsiteX2" fmla="*/ 1638300 w 1638300"/>
              <a:gd name="connsiteY2" fmla="*/ 1085850 h 1085850"/>
              <a:gd name="connsiteX3" fmla="*/ 809625 w 1638300"/>
              <a:gd name="connsiteY3" fmla="*/ 1085850 h 1085850"/>
              <a:gd name="connsiteX4" fmla="*/ 0 w 1638300"/>
              <a:gd name="connsiteY4" fmla="*/ 1085850 h 1085850"/>
              <a:gd name="connsiteX5" fmla="*/ 0 w 1638300"/>
              <a:gd name="connsiteY5" fmla="*/ 0 h 1085850"/>
              <a:gd name="connsiteX0" fmla="*/ 809625 w 1638300"/>
              <a:gd name="connsiteY0" fmla="*/ 1085850 h 1177290"/>
              <a:gd name="connsiteX1" fmla="*/ 0 w 1638300"/>
              <a:gd name="connsiteY1" fmla="*/ 1085850 h 1177290"/>
              <a:gd name="connsiteX2" fmla="*/ 0 w 1638300"/>
              <a:gd name="connsiteY2" fmla="*/ 0 h 1177290"/>
              <a:gd name="connsiteX3" fmla="*/ 1638300 w 1638300"/>
              <a:gd name="connsiteY3" fmla="*/ 0 h 1177290"/>
              <a:gd name="connsiteX4" fmla="*/ 1638300 w 1638300"/>
              <a:gd name="connsiteY4" fmla="*/ 1085850 h 1177290"/>
              <a:gd name="connsiteX5" fmla="*/ 901065 w 1638300"/>
              <a:gd name="connsiteY5" fmla="*/ 1177290 h 1177290"/>
              <a:gd name="connsiteX0" fmla="*/ 809625 w 1638300"/>
              <a:gd name="connsiteY0" fmla="*/ 1085850 h 1085850"/>
              <a:gd name="connsiteX1" fmla="*/ 0 w 1638300"/>
              <a:gd name="connsiteY1" fmla="*/ 1085850 h 1085850"/>
              <a:gd name="connsiteX2" fmla="*/ 0 w 1638300"/>
              <a:gd name="connsiteY2" fmla="*/ 0 h 1085850"/>
              <a:gd name="connsiteX3" fmla="*/ 1638300 w 1638300"/>
              <a:gd name="connsiteY3" fmla="*/ 0 h 1085850"/>
              <a:gd name="connsiteX4" fmla="*/ 1638300 w 1638300"/>
              <a:gd name="connsiteY4" fmla="*/ 1085850 h 1085850"/>
              <a:gd name="connsiteX0" fmla="*/ 0 w 1638300"/>
              <a:gd name="connsiteY0" fmla="*/ 1085850 h 1085850"/>
              <a:gd name="connsiteX1" fmla="*/ 0 w 1638300"/>
              <a:gd name="connsiteY1" fmla="*/ 0 h 1085850"/>
              <a:gd name="connsiteX2" fmla="*/ 1638300 w 1638300"/>
              <a:gd name="connsiteY2" fmla="*/ 0 h 1085850"/>
              <a:gd name="connsiteX3" fmla="*/ 1638300 w 1638300"/>
              <a:gd name="connsiteY3" fmla="*/ 1085850 h 108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38300" h="1085850">
                <a:moveTo>
                  <a:pt x="0" y="1085850"/>
                </a:moveTo>
                <a:lnTo>
                  <a:pt x="0" y="0"/>
                </a:lnTo>
                <a:lnTo>
                  <a:pt x="1638300" y="0"/>
                </a:lnTo>
                <a:lnTo>
                  <a:pt x="1638300" y="108585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58A3B725-8BC9-40E2-8194-F9DC54C761DA}"/>
              </a:ext>
            </a:extLst>
          </p:cNvPr>
          <p:cNvCxnSpPr>
            <a:cxnSpLocks/>
          </p:cNvCxnSpPr>
          <p:nvPr/>
        </p:nvCxnSpPr>
        <p:spPr>
          <a:xfrm flipV="1">
            <a:off x="6096000" y="2656297"/>
            <a:ext cx="0" cy="3524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3CBA3A2F-F5EB-46D7-AC65-14C600DB40A3}"/>
              </a:ext>
            </a:extLst>
          </p:cNvPr>
          <p:cNvSpPr/>
          <p:nvPr/>
        </p:nvSpPr>
        <p:spPr>
          <a:xfrm>
            <a:off x="2617106" y="3888247"/>
            <a:ext cx="2108200" cy="5455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>
            <a:spAutoFit/>
          </a:bodyPr>
          <a:lstStyle/>
          <a:p>
            <a:pPr algn="ctr"/>
            <a:r>
              <a:rPr lang="fr-FR" sz="1400" dirty="0">
                <a:solidFill>
                  <a:schemeClr val="bg2"/>
                </a:solidFill>
                <a:latin typeface="+mj-lt"/>
              </a:rPr>
              <a:t>Prénom NOM</a:t>
            </a:r>
          </a:p>
          <a:p>
            <a:pPr algn="ctr"/>
            <a:r>
              <a:rPr lang="fr-FR" sz="1100" dirty="0">
                <a:solidFill>
                  <a:schemeClr val="tx2"/>
                </a:solidFill>
              </a:rPr>
              <a:t>Fonc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C30813-014C-4C5E-AFFE-7CC26EC18599}"/>
              </a:ext>
            </a:extLst>
          </p:cNvPr>
          <p:cNvSpPr/>
          <p:nvPr/>
        </p:nvSpPr>
        <p:spPr>
          <a:xfrm>
            <a:off x="5041900" y="3888247"/>
            <a:ext cx="2108200" cy="5455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>
            <a:spAutoFit/>
          </a:bodyPr>
          <a:lstStyle/>
          <a:p>
            <a:pPr algn="ctr"/>
            <a:r>
              <a:rPr lang="fr-FR" sz="1400" dirty="0">
                <a:solidFill>
                  <a:schemeClr val="bg2"/>
                </a:solidFill>
                <a:latin typeface="+mj-lt"/>
              </a:rPr>
              <a:t>Prénom NOM</a:t>
            </a:r>
          </a:p>
          <a:p>
            <a:pPr algn="ctr"/>
            <a:r>
              <a:rPr lang="fr-FR" sz="1100" dirty="0">
                <a:solidFill>
                  <a:schemeClr val="tx2"/>
                </a:solidFill>
              </a:rPr>
              <a:t>Fonc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478884F-AC90-4598-8C7B-9E95F9BF1EF6}"/>
              </a:ext>
            </a:extLst>
          </p:cNvPr>
          <p:cNvSpPr/>
          <p:nvPr/>
        </p:nvSpPr>
        <p:spPr>
          <a:xfrm>
            <a:off x="7480300" y="3888247"/>
            <a:ext cx="2108200" cy="5455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>
            <a:spAutoFit/>
          </a:bodyPr>
          <a:lstStyle/>
          <a:p>
            <a:pPr algn="ctr"/>
            <a:r>
              <a:rPr lang="fr-FR" sz="1400" dirty="0">
                <a:solidFill>
                  <a:schemeClr val="bg2"/>
                </a:solidFill>
                <a:latin typeface="+mj-lt"/>
              </a:rPr>
              <a:t>Prénom NOM</a:t>
            </a:r>
          </a:p>
          <a:p>
            <a:pPr algn="ctr"/>
            <a:r>
              <a:rPr lang="fr-FR" sz="1100" dirty="0">
                <a:solidFill>
                  <a:schemeClr val="tx2"/>
                </a:solidFill>
              </a:rPr>
              <a:t>Fonction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F07D7B5-DF1C-4795-A77A-B01A247A2BA5}"/>
              </a:ext>
            </a:extLst>
          </p:cNvPr>
          <p:cNvSpPr/>
          <p:nvPr/>
        </p:nvSpPr>
        <p:spPr>
          <a:xfrm>
            <a:off x="10026649" y="1942425"/>
            <a:ext cx="2108200" cy="5455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>
            <a:spAutoFit/>
          </a:bodyPr>
          <a:lstStyle/>
          <a:p>
            <a:r>
              <a:rPr lang="fr-FR" sz="1400" dirty="0">
                <a:solidFill>
                  <a:schemeClr val="tx2"/>
                </a:solidFill>
                <a:latin typeface="+mj-lt"/>
              </a:rPr>
              <a:t>Prénom NOM</a:t>
            </a:r>
          </a:p>
          <a:p>
            <a:r>
              <a:rPr lang="fr-FR" sz="1100" dirty="0">
                <a:solidFill>
                  <a:schemeClr val="tx2"/>
                </a:solidFill>
              </a:rPr>
              <a:t>Fonction</a:t>
            </a:r>
          </a:p>
        </p:txBody>
      </p:sp>
      <p:cxnSp>
        <p:nvCxnSpPr>
          <p:cNvPr id="36" name="Connecteur droit 35">
            <a:extLst>
              <a:ext uri="{FF2B5EF4-FFF2-40B4-BE49-F238E27FC236}">
                <a16:creationId xmlns:a16="http://schemas.microsoft.com/office/drawing/2014/main" id="{46E71FE1-3F79-4A3A-B860-01C0A65B2589}"/>
              </a:ext>
            </a:extLst>
          </p:cNvPr>
          <p:cNvCxnSpPr/>
          <p:nvPr/>
        </p:nvCxnSpPr>
        <p:spPr>
          <a:xfrm>
            <a:off x="3057525" y="4523197"/>
            <a:ext cx="12192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7" name="Tableau 36">
            <a:extLst>
              <a:ext uri="{FF2B5EF4-FFF2-40B4-BE49-F238E27FC236}">
                <a16:creationId xmlns:a16="http://schemas.microsoft.com/office/drawing/2014/main" id="{480E7451-FDEC-4F16-9424-61E9A6A2A877}"/>
              </a:ext>
            </a:extLst>
          </p:cNvPr>
          <p:cNvGraphicFramePr>
            <a:graphicFrameLocks noGrp="1"/>
          </p:cNvGraphicFramePr>
          <p:nvPr/>
        </p:nvGraphicFramePr>
        <p:xfrm>
          <a:off x="2862262" y="4611938"/>
          <a:ext cx="1609725" cy="116586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609725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cxnSp>
        <p:nvCxnSpPr>
          <p:cNvPr id="38" name="Connecteur droit 37">
            <a:extLst>
              <a:ext uri="{FF2B5EF4-FFF2-40B4-BE49-F238E27FC236}">
                <a16:creationId xmlns:a16="http://schemas.microsoft.com/office/drawing/2014/main" id="{8ED81162-53B3-4278-A614-EDC22E91F121}"/>
              </a:ext>
            </a:extLst>
          </p:cNvPr>
          <p:cNvCxnSpPr/>
          <p:nvPr/>
        </p:nvCxnSpPr>
        <p:spPr>
          <a:xfrm>
            <a:off x="5467350" y="4523197"/>
            <a:ext cx="12192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9" name="Tableau 38">
            <a:extLst>
              <a:ext uri="{FF2B5EF4-FFF2-40B4-BE49-F238E27FC236}">
                <a16:creationId xmlns:a16="http://schemas.microsoft.com/office/drawing/2014/main" id="{916EB12C-3123-4820-BD20-5C58EEFA4C80}"/>
              </a:ext>
            </a:extLst>
          </p:cNvPr>
          <p:cNvGraphicFramePr>
            <a:graphicFrameLocks noGrp="1"/>
          </p:cNvGraphicFramePr>
          <p:nvPr/>
        </p:nvGraphicFramePr>
        <p:xfrm>
          <a:off x="5272087" y="4611938"/>
          <a:ext cx="1609725" cy="116586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609725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cxnSp>
        <p:nvCxnSpPr>
          <p:cNvPr id="40" name="Connecteur droit 39">
            <a:extLst>
              <a:ext uri="{FF2B5EF4-FFF2-40B4-BE49-F238E27FC236}">
                <a16:creationId xmlns:a16="http://schemas.microsoft.com/office/drawing/2014/main" id="{A0ADA7E1-4A56-482B-98EE-08798B497021}"/>
              </a:ext>
            </a:extLst>
          </p:cNvPr>
          <p:cNvCxnSpPr/>
          <p:nvPr/>
        </p:nvCxnSpPr>
        <p:spPr>
          <a:xfrm>
            <a:off x="7924800" y="4523197"/>
            <a:ext cx="12192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1" name="Tableau 40">
            <a:extLst>
              <a:ext uri="{FF2B5EF4-FFF2-40B4-BE49-F238E27FC236}">
                <a16:creationId xmlns:a16="http://schemas.microsoft.com/office/drawing/2014/main" id="{5E02A849-A53D-44CA-AA2B-D2069CCB8135}"/>
              </a:ext>
            </a:extLst>
          </p:cNvPr>
          <p:cNvGraphicFramePr>
            <a:graphicFrameLocks noGrp="1"/>
          </p:cNvGraphicFramePr>
          <p:nvPr/>
        </p:nvGraphicFramePr>
        <p:xfrm>
          <a:off x="7729537" y="4611938"/>
          <a:ext cx="1609725" cy="116586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609725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35" name="Rectangle 34">
            <a:extLst>
              <a:ext uri="{FF2B5EF4-FFF2-40B4-BE49-F238E27FC236}">
                <a16:creationId xmlns:a16="http://schemas.microsoft.com/office/drawing/2014/main" id="{734A3B79-69DE-43C1-B3B5-C6A9F1FFEE9A}"/>
              </a:ext>
            </a:extLst>
          </p:cNvPr>
          <p:cNvSpPr/>
          <p:nvPr/>
        </p:nvSpPr>
        <p:spPr>
          <a:xfrm>
            <a:off x="12287374" y="1976696"/>
            <a:ext cx="1885826" cy="938719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lang="fr-FR" sz="1000" dirty="0">
                <a:solidFill>
                  <a:schemeClr val="tx1"/>
                </a:solidFill>
                <a:latin typeface="+mj-lt"/>
              </a:rPr>
              <a:t>Modifier l’organigramme :</a:t>
            </a:r>
          </a:p>
          <a:p>
            <a:pPr marL="171450" indent="-171450">
              <a:spcBef>
                <a:spcPts val="600"/>
              </a:spcBef>
              <a:buBlip>
                <a:blip r:embed="rId3"/>
              </a:buBlip>
            </a:pPr>
            <a:r>
              <a:rPr lang="fr-FR" sz="1000" dirty="0">
                <a:solidFill>
                  <a:schemeClr val="tx1"/>
                </a:solidFill>
              </a:rPr>
              <a:t>Se référer à slide Toolbox pour choisir différents types de connecteurs :</a:t>
            </a:r>
          </a:p>
        </p:txBody>
      </p:sp>
      <p:sp>
        <p:nvSpPr>
          <p:cNvPr id="31" name="Oval 2">
            <a:extLst>
              <a:ext uri="{FF2B5EF4-FFF2-40B4-BE49-F238E27FC236}">
                <a16:creationId xmlns:a16="http://schemas.microsoft.com/office/drawing/2014/main" id="{167CA073-2E44-4C58-BE73-526AE65A835D}"/>
              </a:ext>
            </a:extLst>
          </p:cNvPr>
          <p:cNvSpPr/>
          <p:nvPr/>
        </p:nvSpPr>
        <p:spPr>
          <a:xfrm>
            <a:off x="5667375" y="1166524"/>
            <a:ext cx="857250" cy="85725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2" name="Oval 2">
            <a:extLst>
              <a:ext uri="{FF2B5EF4-FFF2-40B4-BE49-F238E27FC236}">
                <a16:creationId xmlns:a16="http://schemas.microsoft.com/office/drawing/2014/main" id="{46BBF09C-1605-4485-BA3C-0EFDC81E7BF9}"/>
              </a:ext>
            </a:extLst>
          </p:cNvPr>
          <p:cNvSpPr/>
          <p:nvPr/>
        </p:nvSpPr>
        <p:spPr>
          <a:xfrm>
            <a:off x="9258298" y="1834184"/>
            <a:ext cx="762000" cy="7620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4" name="Oval 2">
            <a:extLst>
              <a:ext uri="{FF2B5EF4-FFF2-40B4-BE49-F238E27FC236}">
                <a16:creationId xmlns:a16="http://schemas.microsoft.com/office/drawing/2014/main" id="{5E81128A-6C5B-44B1-BCC4-04D0844A90D2}"/>
              </a:ext>
            </a:extLst>
          </p:cNvPr>
          <p:cNvSpPr/>
          <p:nvPr/>
        </p:nvSpPr>
        <p:spPr>
          <a:xfrm>
            <a:off x="3290207" y="3096939"/>
            <a:ext cx="762000" cy="7620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6" name="Oval 2">
            <a:extLst>
              <a:ext uri="{FF2B5EF4-FFF2-40B4-BE49-F238E27FC236}">
                <a16:creationId xmlns:a16="http://schemas.microsoft.com/office/drawing/2014/main" id="{0EE4B29C-91FA-41B1-9570-420FF47BA91D}"/>
              </a:ext>
            </a:extLst>
          </p:cNvPr>
          <p:cNvSpPr/>
          <p:nvPr/>
        </p:nvSpPr>
        <p:spPr>
          <a:xfrm>
            <a:off x="5715000" y="3096939"/>
            <a:ext cx="762000" cy="7620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8" name="Oval 2">
            <a:extLst>
              <a:ext uri="{FF2B5EF4-FFF2-40B4-BE49-F238E27FC236}">
                <a16:creationId xmlns:a16="http://schemas.microsoft.com/office/drawing/2014/main" id="{2BA11A1B-7315-447C-BA06-64299DD22FEE}"/>
              </a:ext>
            </a:extLst>
          </p:cNvPr>
          <p:cNvSpPr/>
          <p:nvPr/>
        </p:nvSpPr>
        <p:spPr>
          <a:xfrm>
            <a:off x="8153400" y="3096940"/>
            <a:ext cx="762000" cy="76200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FB9D484-5017-4953-B586-71A7D14B66EF}"/>
              </a:ext>
            </a:extLst>
          </p:cNvPr>
          <p:cNvSpPr/>
          <p:nvPr/>
        </p:nvSpPr>
        <p:spPr>
          <a:xfrm>
            <a:off x="12287374" y="0"/>
            <a:ext cx="1885826" cy="1862048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lang="fr-FR" sz="1000" dirty="0">
                <a:solidFill>
                  <a:schemeClr val="tx1"/>
                </a:solidFill>
                <a:latin typeface="+mj-lt"/>
              </a:rPr>
              <a:t>Pour changer les photos :</a:t>
            </a:r>
          </a:p>
          <a:p>
            <a:pPr marL="171450" indent="-171450">
              <a:spcBef>
                <a:spcPts val="600"/>
              </a:spcBef>
              <a:buBlip>
                <a:blip r:embed="rId3"/>
              </a:buBlip>
            </a:pPr>
            <a:r>
              <a:rPr lang="fr-FR" sz="1000" dirty="0">
                <a:solidFill>
                  <a:schemeClr val="tx1"/>
                </a:solidFill>
              </a:rPr>
              <a:t>Clic droit sur l’image</a:t>
            </a:r>
          </a:p>
          <a:p>
            <a:pPr marL="171450" indent="-171450">
              <a:buBlip>
                <a:blip r:embed="rId3"/>
              </a:buBlip>
            </a:pPr>
            <a:r>
              <a:rPr lang="fr-FR" sz="1000" dirty="0">
                <a:solidFill>
                  <a:schemeClr val="tx1"/>
                </a:solidFill>
              </a:rPr>
              <a:t>Choisir « Remplissage » puis « Image… » et cliquer sur « À partir d’un fichier »</a:t>
            </a:r>
          </a:p>
          <a:p>
            <a:pPr marL="171450" indent="-171450">
              <a:buBlip>
                <a:blip r:embed="rId3"/>
              </a:buBlip>
            </a:pPr>
            <a:r>
              <a:rPr lang="fr-FR" sz="1000" dirty="0">
                <a:solidFill>
                  <a:schemeClr val="tx1"/>
                </a:solidFill>
              </a:rPr>
              <a:t>Sélectionner ensuite l’image et dans « Outils de l’image », cliquer sur « Rogner » , puis « Remplir »</a:t>
            </a:r>
          </a:p>
        </p:txBody>
      </p:sp>
      <p:sp>
        <p:nvSpPr>
          <p:cNvPr id="30" name="Rectangle : coins arrondis 29">
            <a:hlinkClick r:id="rId5" action="ppaction://hlinksldjump"/>
            <a:extLst>
              <a:ext uri="{FF2B5EF4-FFF2-40B4-BE49-F238E27FC236}">
                <a16:creationId xmlns:a16="http://schemas.microsoft.com/office/drawing/2014/main" id="{BA5D28C6-37A1-4D45-904A-1C1B21C674C9}"/>
              </a:ext>
            </a:extLst>
          </p:cNvPr>
          <p:cNvSpPr/>
          <p:nvPr/>
        </p:nvSpPr>
        <p:spPr>
          <a:xfrm>
            <a:off x="12287373" y="3030063"/>
            <a:ext cx="1885823" cy="412538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>
                <a:solidFill>
                  <a:schemeClr val="bg1"/>
                </a:solidFill>
              </a:rPr>
              <a:t>Voir Toolbox </a:t>
            </a:r>
            <a:br>
              <a:rPr lang="fr-FR" sz="1100" b="1" dirty="0">
                <a:solidFill>
                  <a:schemeClr val="bg1"/>
                </a:solidFill>
              </a:rPr>
            </a:br>
            <a:r>
              <a:rPr lang="fr-FR" sz="1100" b="1" dirty="0">
                <a:solidFill>
                  <a:schemeClr val="bg1"/>
                </a:solidFill>
              </a:rPr>
              <a:t>CTRL + Clic</a:t>
            </a:r>
          </a:p>
        </p:txBody>
      </p:sp>
      <p:sp>
        <p:nvSpPr>
          <p:cNvPr id="32" name="Oval 2">
            <a:extLst>
              <a:ext uri="{FF2B5EF4-FFF2-40B4-BE49-F238E27FC236}">
                <a16:creationId xmlns:a16="http://schemas.microsoft.com/office/drawing/2014/main" id="{3CD6434A-C736-4148-8486-7B2CA53FDA83}"/>
              </a:ext>
            </a:extLst>
          </p:cNvPr>
          <p:cNvSpPr/>
          <p:nvPr/>
        </p:nvSpPr>
        <p:spPr>
          <a:xfrm>
            <a:off x="2503034" y="4611938"/>
            <a:ext cx="359228" cy="359228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4" name="Oval 2">
            <a:extLst>
              <a:ext uri="{FF2B5EF4-FFF2-40B4-BE49-F238E27FC236}">
                <a16:creationId xmlns:a16="http://schemas.microsoft.com/office/drawing/2014/main" id="{CE6FB27D-29CE-4B85-A5C4-66ECC1A1850F}"/>
              </a:ext>
            </a:extLst>
          </p:cNvPr>
          <p:cNvSpPr/>
          <p:nvPr/>
        </p:nvSpPr>
        <p:spPr>
          <a:xfrm>
            <a:off x="2503034" y="5015254"/>
            <a:ext cx="359228" cy="359228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3" name="Oval 2">
            <a:extLst>
              <a:ext uri="{FF2B5EF4-FFF2-40B4-BE49-F238E27FC236}">
                <a16:creationId xmlns:a16="http://schemas.microsoft.com/office/drawing/2014/main" id="{0463433A-2C49-4928-A345-D90BF1917B90}"/>
              </a:ext>
            </a:extLst>
          </p:cNvPr>
          <p:cNvSpPr/>
          <p:nvPr/>
        </p:nvSpPr>
        <p:spPr>
          <a:xfrm>
            <a:off x="2503034" y="5420463"/>
            <a:ext cx="359228" cy="359228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5" name="Oval 2">
            <a:extLst>
              <a:ext uri="{FF2B5EF4-FFF2-40B4-BE49-F238E27FC236}">
                <a16:creationId xmlns:a16="http://schemas.microsoft.com/office/drawing/2014/main" id="{E6DFDF3D-6F06-432D-8D6B-7C53513205B3}"/>
              </a:ext>
            </a:extLst>
          </p:cNvPr>
          <p:cNvSpPr/>
          <p:nvPr/>
        </p:nvSpPr>
        <p:spPr>
          <a:xfrm>
            <a:off x="4912859" y="4611938"/>
            <a:ext cx="359228" cy="359228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7" name="Oval 2">
            <a:extLst>
              <a:ext uri="{FF2B5EF4-FFF2-40B4-BE49-F238E27FC236}">
                <a16:creationId xmlns:a16="http://schemas.microsoft.com/office/drawing/2014/main" id="{73F7B3B0-816E-4622-956C-0AED82162CBE}"/>
              </a:ext>
            </a:extLst>
          </p:cNvPr>
          <p:cNvSpPr/>
          <p:nvPr/>
        </p:nvSpPr>
        <p:spPr>
          <a:xfrm>
            <a:off x="4912859" y="5015254"/>
            <a:ext cx="359228" cy="359228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0" name="Oval 2">
            <a:extLst>
              <a:ext uri="{FF2B5EF4-FFF2-40B4-BE49-F238E27FC236}">
                <a16:creationId xmlns:a16="http://schemas.microsoft.com/office/drawing/2014/main" id="{20C41DC3-BB21-4D9D-8E99-21B17E44D79E}"/>
              </a:ext>
            </a:extLst>
          </p:cNvPr>
          <p:cNvSpPr/>
          <p:nvPr/>
        </p:nvSpPr>
        <p:spPr>
          <a:xfrm>
            <a:off x="4912859" y="5420463"/>
            <a:ext cx="359228" cy="359228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1" name="Oval 2">
            <a:extLst>
              <a:ext uri="{FF2B5EF4-FFF2-40B4-BE49-F238E27FC236}">
                <a16:creationId xmlns:a16="http://schemas.microsoft.com/office/drawing/2014/main" id="{7B3D9ED6-20E7-455A-810A-8D436520F9D1}"/>
              </a:ext>
            </a:extLst>
          </p:cNvPr>
          <p:cNvSpPr/>
          <p:nvPr/>
        </p:nvSpPr>
        <p:spPr>
          <a:xfrm>
            <a:off x="7370309" y="4611938"/>
            <a:ext cx="359228" cy="359228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2" name="Oval 2">
            <a:extLst>
              <a:ext uri="{FF2B5EF4-FFF2-40B4-BE49-F238E27FC236}">
                <a16:creationId xmlns:a16="http://schemas.microsoft.com/office/drawing/2014/main" id="{873BD2FA-E65C-4990-9F31-87F7FEAC6CC8}"/>
              </a:ext>
            </a:extLst>
          </p:cNvPr>
          <p:cNvSpPr/>
          <p:nvPr/>
        </p:nvSpPr>
        <p:spPr>
          <a:xfrm>
            <a:off x="7370309" y="5015254"/>
            <a:ext cx="359228" cy="359228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3" name="Oval 2">
            <a:extLst>
              <a:ext uri="{FF2B5EF4-FFF2-40B4-BE49-F238E27FC236}">
                <a16:creationId xmlns:a16="http://schemas.microsoft.com/office/drawing/2014/main" id="{925A900D-8BE3-4DFD-9C60-A4ECD9FBFE3C}"/>
              </a:ext>
            </a:extLst>
          </p:cNvPr>
          <p:cNvSpPr/>
          <p:nvPr/>
        </p:nvSpPr>
        <p:spPr>
          <a:xfrm>
            <a:off x="7370309" y="5420463"/>
            <a:ext cx="359228" cy="359228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15127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83DC7CBF-98F8-4EF9-9219-C4D2AAD954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28F7F94-228F-42A9-A3E5-D7C131863391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D5F1C94-F791-402B-ABC2-423D6DEAEC5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AEE048BE-4B76-4325-BE31-B790AFC3A98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29</a:t>
            </a:fld>
            <a:endParaRPr lang="fr-FR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B41359D7-611D-4539-9800-F50D093B595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0028" y="972088"/>
            <a:ext cx="11385551" cy="400110"/>
          </a:xfrm>
        </p:spPr>
        <p:txBody>
          <a:bodyPr/>
          <a:lstStyle/>
          <a:p>
            <a:r>
              <a:rPr lang="fr-FR"/>
              <a:t>Graphique</a:t>
            </a:r>
            <a:endParaRPr lang="fr-FR" dirty="0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D111348-3451-48CE-B2A0-BA860CDA34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1</a:t>
            </a:r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1B575F8F-547C-401D-BE02-6DDA4AC887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3DA3B073-6A47-4D1E-8DE6-64C6D05F37B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graphicFrame>
        <p:nvGraphicFramePr>
          <p:cNvPr id="16" name="Graphique 15">
            <a:extLst>
              <a:ext uri="{FF2B5EF4-FFF2-40B4-BE49-F238E27FC236}">
                <a16:creationId xmlns:a16="http://schemas.microsoft.com/office/drawing/2014/main" id="{E65FACB8-AE2E-4402-AE50-201879B830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3341593"/>
              </p:ext>
            </p:extLst>
          </p:nvPr>
        </p:nvGraphicFramePr>
        <p:xfrm>
          <a:off x="647790" y="1955800"/>
          <a:ext cx="5498920" cy="37610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ZoneTexte 16">
            <a:extLst>
              <a:ext uri="{FF2B5EF4-FFF2-40B4-BE49-F238E27FC236}">
                <a16:creationId xmlns:a16="http://schemas.microsoft.com/office/drawing/2014/main" id="{DCB35F18-B00C-4D10-A5E6-9D4117E1ADBE}"/>
              </a:ext>
            </a:extLst>
          </p:cNvPr>
          <p:cNvSpPr txBox="1"/>
          <p:nvPr/>
        </p:nvSpPr>
        <p:spPr>
          <a:xfrm>
            <a:off x="2417025" y="3336668"/>
            <a:ext cx="2105063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fr-FR" sz="2400" dirty="0"/>
              <a:t>Titre</a:t>
            </a:r>
            <a:br>
              <a:rPr lang="fr-FR" sz="2400" dirty="0"/>
            </a:br>
            <a:r>
              <a:rPr lang="fr-FR" sz="2400" dirty="0"/>
              <a:t>du graphique</a:t>
            </a:r>
          </a:p>
        </p:txBody>
      </p:sp>
    </p:spTree>
    <p:extLst>
      <p:ext uri="{BB962C8B-B14F-4D97-AF65-F5344CB8AC3E}">
        <p14:creationId xmlns:p14="http://schemas.microsoft.com/office/powerpoint/2010/main" val="309457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962C97B-47B7-47D0-AB37-4A997E559A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61B20FC7-B43A-4C0B-8118-2E084C1D98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b="1" dirty="0">
                <a:solidFill>
                  <a:schemeClr val="bg2"/>
                </a:solidFill>
              </a:rPr>
              <a:t>Insérer une nouvelle slide / </a:t>
            </a:r>
            <a:br>
              <a:rPr lang="fr-FR" b="1" dirty="0">
                <a:solidFill>
                  <a:schemeClr val="bg2"/>
                </a:solidFill>
              </a:rPr>
            </a:br>
            <a:r>
              <a:rPr lang="fr-FR" b="1" dirty="0">
                <a:solidFill>
                  <a:schemeClr val="bg2"/>
                </a:solidFill>
              </a:rPr>
              <a:t>changer un modèle existant</a:t>
            </a:r>
          </a:p>
          <a:p>
            <a:pPr lvl="1"/>
            <a:r>
              <a:rPr lang="fr-FR" dirty="0"/>
              <a:t>Choisir un modèle de diapositive parmi ceux existants </a:t>
            </a:r>
            <a:br>
              <a:rPr lang="fr-FR" dirty="0"/>
            </a:br>
            <a:r>
              <a:rPr lang="fr-FR" dirty="0"/>
              <a:t>Pour insérer une nouvelle diapositive</a:t>
            </a:r>
          </a:p>
          <a:p>
            <a:pPr lvl="3"/>
            <a:r>
              <a:rPr lang="fr-FR" dirty="0"/>
              <a:t>Cliquer sur « Accueil », « Nouvelle diapositive »</a:t>
            </a:r>
          </a:p>
          <a:p>
            <a:pPr lvl="3"/>
            <a:r>
              <a:rPr lang="fr-FR" dirty="0"/>
              <a:t>Cliquer sur la flèche en dessous de « Nouvelle diapositive » </a:t>
            </a:r>
            <a:br>
              <a:rPr lang="fr-FR" dirty="0"/>
            </a:br>
            <a:r>
              <a:rPr lang="fr-FR" dirty="0"/>
              <a:t>et sélectionner le modèle correspondant </a:t>
            </a:r>
          </a:p>
          <a:p>
            <a:pPr lvl="1"/>
            <a:r>
              <a:rPr lang="fr-FR" dirty="0"/>
              <a:t>Pour modifier un modèle existant</a:t>
            </a:r>
          </a:p>
          <a:p>
            <a:pPr lvl="3"/>
            <a:r>
              <a:rPr lang="fr-FR" dirty="0"/>
              <a:t>Sélectionner la slide</a:t>
            </a:r>
          </a:p>
          <a:p>
            <a:pPr lvl="3"/>
            <a:r>
              <a:rPr lang="fr-FR" dirty="0"/>
              <a:t>Dans l’onglet « Accueil », choisir « Disposition » </a:t>
            </a:r>
          </a:p>
          <a:p>
            <a:pPr lvl="3"/>
            <a:r>
              <a:rPr lang="fr-FR" dirty="0"/>
              <a:t>Sélectionner le modèle souhaité (couverture, titre et contenu,</a:t>
            </a:r>
            <a:br>
              <a:rPr lang="fr-FR" dirty="0"/>
            </a:br>
            <a:r>
              <a:rPr lang="fr-FR" dirty="0"/>
              <a:t>chapitre…)</a:t>
            </a:r>
          </a:p>
          <a:p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CFF248B1-2B55-40EC-96D9-9A085969A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3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818C109-846C-4702-B9B8-C58FD7D138B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D6C314E-08A6-42A3-86E5-BCD50289A8BE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F113A46-1E6C-4343-86D4-FFDFD9EABDB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0" name="Espace réservé du numéro de diapositive 19">
            <a:extLst>
              <a:ext uri="{FF2B5EF4-FFF2-40B4-BE49-F238E27FC236}">
                <a16:creationId xmlns:a16="http://schemas.microsoft.com/office/drawing/2014/main" id="{699B0E60-02EF-4B22-A00D-1E683B2EEC8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3</a:t>
            </a:fld>
            <a:endParaRPr lang="fr-FR" dirty="0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2A1498DE-2A9F-4832-A4E7-03409E5B201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602" t="40215" r="72090" b="9082"/>
          <a:stretch/>
        </p:blipFill>
        <p:spPr>
          <a:xfrm>
            <a:off x="6959600" y="1339199"/>
            <a:ext cx="4625731" cy="4234731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601712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30</a:t>
            </a:fld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1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54D573B6-794E-45B8-9B28-5EBF4C9F7C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D008B01-1B54-41CB-AC72-47AB0D27476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75500" y="2653166"/>
            <a:ext cx="4610098" cy="2246769"/>
          </a:xfrm>
        </p:spPr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E5948DA-C576-4557-B563-45090454366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0028" y="972088"/>
            <a:ext cx="11385551" cy="400110"/>
          </a:xfrm>
        </p:spPr>
        <p:txBody>
          <a:bodyPr/>
          <a:lstStyle/>
          <a:p>
            <a:r>
              <a:rPr lang="fr-FR" dirty="0"/>
              <a:t>Contenu</a:t>
            </a:r>
          </a:p>
        </p:txBody>
      </p:sp>
      <p:sp>
        <p:nvSpPr>
          <p:cNvPr id="11" name="Espace réservé du contenu 10">
            <a:extLst>
              <a:ext uri="{FF2B5EF4-FFF2-40B4-BE49-F238E27FC236}">
                <a16:creationId xmlns:a16="http://schemas.microsoft.com/office/drawing/2014/main" id="{E1853889-CCDE-413F-9CD2-18088393C146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96356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31</a:t>
            </a:fld>
            <a:endParaRPr lang="fr-FR" dirty="0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0A456F6E-CBEB-4B3D-A278-78CDDB75DD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2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10BFED41-8A0A-480A-84BF-F3AE7F50D0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E5948DA-C576-4557-B563-45090454366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75500" y="2653167"/>
            <a:ext cx="4610098" cy="2246769"/>
          </a:xfrm>
        </p:spPr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0028" y="972088"/>
            <a:ext cx="11385551" cy="400110"/>
          </a:xfrm>
        </p:spPr>
        <p:txBody>
          <a:bodyPr/>
          <a:lstStyle/>
          <a:p>
            <a:r>
              <a:rPr lang="fr-FR" dirty="0"/>
              <a:t>Visuel</a:t>
            </a:r>
          </a:p>
        </p:txBody>
      </p:sp>
      <p:sp>
        <p:nvSpPr>
          <p:cNvPr id="10" name="Espace réservé pour une image  9">
            <a:extLst>
              <a:ext uri="{FF2B5EF4-FFF2-40B4-BE49-F238E27FC236}">
                <a16:creationId xmlns:a16="http://schemas.microsoft.com/office/drawing/2014/main" id="{C5CAA079-582E-4354-BF7B-543AF8B79F3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</p:spTree>
    <p:extLst>
      <p:ext uri="{BB962C8B-B14F-4D97-AF65-F5344CB8AC3E}">
        <p14:creationId xmlns:p14="http://schemas.microsoft.com/office/powerpoint/2010/main" val="1875490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1BDB41B1-4255-4EE9-B9BF-A7F01FB7745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014A737-3A9D-4B8F-BEAF-E02779EB9D28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3BF9527-C7B2-418A-B81B-448F1DC8D2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0A5D8919-66D2-4D10-965F-92D63C2BC5B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32</a:t>
            </a:fld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A1BD86E-6FE7-4598-B9A8-21570B1902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2</a:t>
            </a:r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86E3BBBE-7DF8-4668-A709-E08497919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588D7CB9-2D2A-49AE-9044-845B19353EC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92E9A587-5B96-42F3-9E8C-18778AB785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0028" y="972088"/>
            <a:ext cx="11385551" cy="400110"/>
          </a:xfrm>
        </p:spPr>
        <p:txBody>
          <a:bodyPr/>
          <a:lstStyle/>
          <a:p>
            <a:r>
              <a:rPr lang="fr-FR" dirty="0"/>
              <a:t>Icon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35F6439-A7FD-4559-8FE2-43BC947831C1}"/>
              </a:ext>
            </a:extLst>
          </p:cNvPr>
          <p:cNvGrpSpPr>
            <a:grpSpLocks/>
          </p:cNvGrpSpPr>
          <p:nvPr/>
        </p:nvGrpSpPr>
        <p:grpSpPr bwMode="gray">
          <a:xfrm>
            <a:off x="1752020" y="2236898"/>
            <a:ext cx="3077738" cy="3079305"/>
            <a:chOff x="1752019" y="2236898"/>
            <a:chExt cx="3077738" cy="3079306"/>
          </a:xfrm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CFDEBF9E-5363-4C00-B0A9-92D25650300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752019" y="2236898"/>
              <a:ext cx="3077738" cy="3079306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25" name="Graphique 24">
              <a:extLst>
                <a:ext uri="{FF2B5EF4-FFF2-40B4-BE49-F238E27FC236}">
                  <a16:creationId xmlns:a16="http://schemas.microsoft.com/office/drawing/2014/main" id="{68A24E7B-8BB7-44C3-A4F4-E760E49A682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 bwMode="gray">
            <a:xfrm>
              <a:off x="2273496" y="2924485"/>
              <a:ext cx="2034784" cy="17041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52991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33</a:t>
            </a:fld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E5948DA-C576-4557-B563-4509045436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2</a:t>
            </a:r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ADAA3722-5E1A-4C15-B3D2-DDBCB45246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D719306C-B430-4352-A60C-139F5656853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75500" y="2653167"/>
            <a:ext cx="4610098" cy="2246769"/>
          </a:xfrm>
        </p:spPr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D6A42370-B7E4-407C-9B73-A5DAA25027C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0028" y="972088"/>
            <a:ext cx="11385551" cy="400110"/>
          </a:xfrm>
        </p:spPr>
        <p:txBody>
          <a:bodyPr/>
          <a:lstStyle/>
          <a:p>
            <a:r>
              <a:rPr lang="fr-FR" dirty="0"/>
              <a:t>Contenu</a:t>
            </a:r>
          </a:p>
        </p:txBody>
      </p:sp>
      <p:sp>
        <p:nvSpPr>
          <p:cNvPr id="15" name="Espace réservé du contenu 14">
            <a:extLst>
              <a:ext uri="{FF2B5EF4-FFF2-40B4-BE49-F238E27FC236}">
                <a16:creationId xmlns:a16="http://schemas.microsoft.com/office/drawing/2014/main" id="{2D09DBF1-C6CC-414C-8D7B-07C4793E55F5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79980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34</a:t>
            </a:fld>
            <a:endParaRPr lang="fr-FR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9CFFCC40-34FF-44EC-8425-B49EE7A61E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2</a:t>
            </a:r>
          </a:p>
        </p:txBody>
      </p:sp>
      <p:sp>
        <p:nvSpPr>
          <p:cNvPr id="14" name="Titre 13">
            <a:extLst>
              <a:ext uri="{FF2B5EF4-FFF2-40B4-BE49-F238E27FC236}">
                <a16:creationId xmlns:a16="http://schemas.microsoft.com/office/drawing/2014/main" id="{4CB557A3-3809-4501-A3F7-92E5CEC32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0A456F6E-CBEB-4B3D-A278-78CDDB75DD9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75500" y="2653166"/>
            <a:ext cx="4610098" cy="2246769"/>
          </a:xfrm>
        </p:spPr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AA3F9626-A3E3-48FD-A867-23B3EEA87F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0028" y="972088"/>
            <a:ext cx="11385551" cy="400110"/>
          </a:xfrm>
        </p:spPr>
        <p:txBody>
          <a:bodyPr/>
          <a:lstStyle/>
          <a:p>
            <a:r>
              <a:rPr lang="fr-FR" dirty="0"/>
              <a:t>Visuel</a:t>
            </a:r>
          </a:p>
        </p:txBody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8712A3F0-40B3-476D-810F-C9FA46AA491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</p:spTree>
    <p:extLst>
      <p:ext uri="{BB962C8B-B14F-4D97-AF65-F5344CB8AC3E}">
        <p14:creationId xmlns:p14="http://schemas.microsoft.com/office/powerpoint/2010/main" val="1264712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FD907395-BBF6-46E7-BF68-76973BE7C74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82D98D6-6AAC-4ECA-A2DA-C80B70123C5D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84A921F-0389-42BD-85F0-B080035114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E5E67ED9-D44F-4549-B10A-CA020261D1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35</a:t>
            </a:fld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0F347D3-4E26-4A4D-95CA-45D5C79A9F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3</a:t>
            </a:r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A31BD337-9FCE-4265-B687-019BD57C1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F084801-0D33-4860-8A70-E53715D79E6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6CF5A4BC-D09A-4419-A848-EC49DC9F4D1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191" y="2453112"/>
            <a:ext cx="5156220" cy="2646878"/>
          </a:xfrm>
        </p:spPr>
        <p:txBody>
          <a:bodyPr/>
          <a:lstStyle/>
          <a:p>
            <a:r>
              <a:rPr lang="fr-FR" dirty="0"/>
              <a:t>52 %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40D6292E-801B-4492-A532-1F88533B53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0028" y="972088"/>
            <a:ext cx="11385551" cy="400110"/>
          </a:xfrm>
        </p:spPr>
        <p:txBody>
          <a:bodyPr/>
          <a:lstStyle/>
          <a:p>
            <a:r>
              <a:rPr lang="fr-FR"/>
              <a:t>Chiff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55167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36</a:t>
            </a:fld>
            <a:endParaRPr lang="fr-FR" dirty="0"/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F99A7C21-3C0C-4734-8A76-99EBD12C05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3</a:t>
            </a:r>
          </a:p>
        </p:txBody>
      </p:sp>
      <p:sp>
        <p:nvSpPr>
          <p:cNvPr id="13" name="Titre 12">
            <a:extLst>
              <a:ext uri="{FF2B5EF4-FFF2-40B4-BE49-F238E27FC236}">
                <a16:creationId xmlns:a16="http://schemas.microsoft.com/office/drawing/2014/main" id="{3A7ED286-2A45-40BB-A315-7324BEC3AA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0A456F6E-CBEB-4B3D-A278-78CDDB75DD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Visuel</a:t>
            </a:r>
          </a:p>
        </p:txBody>
      </p:sp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A0450254-A24B-4565-A1D3-2CEDEE83853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116BB78D-6FE0-4D79-BBA7-AEB851C623C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</p:sp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C36DA80B-4368-43FF-984E-F96D172D2AC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/>
      </p:sp>
      <p:sp>
        <p:nvSpPr>
          <p:cNvPr id="20" name="Espace réservé pour une image  19">
            <a:extLst>
              <a:ext uri="{FF2B5EF4-FFF2-40B4-BE49-F238E27FC236}">
                <a16:creationId xmlns:a16="http://schemas.microsoft.com/office/drawing/2014/main" id="{69E84194-BCFE-43C7-94D9-971B28B2FDF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</p:sp>
      <p:sp>
        <p:nvSpPr>
          <p:cNvPr id="21" name="Espace réservé pour une image  20">
            <a:extLst>
              <a:ext uri="{FF2B5EF4-FFF2-40B4-BE49-F238E27FC236}">
                <a16:creationId xmlns:a16="http://schemas.microsoft.com/office/drawing/2014/main" id="{DFE8D691-675A-47A5-9D18-8D2BFE5BA4C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/>
      </p:sp>
      <p:sp>
        <p:nvSpPr>
          <p:cNvPr id="22" name="Espace réservé pour une image  21">
            <a:extLst>
              <a:ext uri="{FF2B5EF4-FFF2-40B4-BE49-F238E27FC236}">
                <a16:creationId xmlns:a16="http://schemas.microsoft.com/office/drawing/2014/main" id="{14F42DAC-D146-4706-95ED-E6E49D6D527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/>
      </p:sp>
    </p:spTree>
    <p:extLst>
      <p:ext uri="{BB962C8B-B14F-4D97-AF65-F5344CB8AC3E}">
        <p14:creationId xmlns:p14="http://schemas.microsoft.com/office/powerpoint/2010/main" val="1598362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37</a:t>
            </a:fld>
            <a:endParaRPr lang="fr-FR" dirty="0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8F5F9D28-7E8C-42C0-A56B-21209D8B70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3</a:t>
            </a:r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597B2E95-44B7-4F46-A229-CCC364B416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2F122C53-56D6-4EBF-BDCF-96032568200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29" name="Espace réservé du texte 28">
            <a:extLst>
              <a:ext uri="{FF2B5EF4-FFF2-40B4-BE49-F238E27FC236}">
                <a16:creationId xmlns:a16="http://schemas.microsoft.com/office/drawing/2014/main" id="{BBB78202-C609-40A5-A917-CDBD03CC30E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ntenu</a:t>
            </a:r>
          </a:p>
        </p:txBody>
      </p:sp>
      <p:sp>
        <p:nvSpPr>
          <p:cNvPr id="12" name="Espace réservé du contenu 11">
            <a:extLst>
              <a:ext uri="{FF2B5EF4-FFF2-40B4-BE49-F238E27FC236}">
                <a16:creationId xmlns:a16="http://schemas.microsoft.com/office/drawing/2014/main" id="{6E7C1F47-58F5-40C4-AD7A-15F77B4966D3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3" name="Espace réservé du contenu 12">
            <a:extLst>
              <a:ext uri="{FF2B5EF4-FFF2-40B4-BE49-F238E27FC236}">
                <a16:creationId xmlns:a16="http://schemas.microsoft.com/office/drawing/2014/main" id="{9C01FA1F-7E72-4F4A-87BA-B2F3C8D7C62A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contenu 13">
            <a:extLst>
              <a:ext uri="{FF2B5EF4-FFF2-40B4-BE49-F238E27FC236}">
                <a16:creationId xmlns:a16="http://schemas.microsoft.com/office/drawing/2014/main" id="{6D0CF4B5-3E54-4EB4-B97E-5794F12BA808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70291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82119927-3A7B-4B82-AE5D-5145002DC6F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BC97567-219C-404D-BC00-5E37C8840864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4FFD8A3-4DE3-4480-9DCB-EE6A369856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A4549AF0-3577-4AE5-AE63-3D999159B4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38</a:t>
            </a:fld>
            <a:endParaRPr lang="fr-FR" dirty="0"/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888B9E1E-31CF-4A30-8657-770C8D05A1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60C7F38-DA7E-444A-9BFF-9E963C14F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1</a:t>
            </a:r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CA85C5A7-2E21-414E-B46B-9E1D1C4725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82248222-649C-4FC7-928C-B5E35C3396A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6399" y="2863480"/>
            <a:ext cx="11385551" cy="1826141"/>
          </a:xfrm>
        </p:spPr>
        <p:txBody>
          <a:bodyPr/>
          <a:lstStyle/>
          <a:p>
            <a:r>
              <a:rPr lang="fr-FR" dirty="0"/>
              <a:t>Page d’accentuation, pour des problématiques, </a:t>
            </a:r>
          </a:p>
          <a:p>
            <a:r>
              <a:rPr lang="fr-FR" dirty="0"/>
              <a:t>notions clés à mettre en avant, etc. </a:t>
            </a:r>
          </a:p>
          <a:p>
            <a:r>
              <a:rPr lang="fr-FR" dirty="0"/>
              <a:t>Sur une ou plusieurs lignes.</a:t>
            </a:r>
          </a:p>
        </p:txBody>
      </p:sp>
    </p:spTree>
    <p:extLst>
      <p:ext uri="{BB962C8B-B14F-4D97-AF65-F5344CB8AC3E}">
        <p14:creationId xmlns:p14="http://schemas.microsoft.com/office/powerpoint/2010/main" val="4108470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66B36746-C6FC-4FB2-9188-C8072318CFE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78A9A10-EAF4-4B0B-A8D6-E1DB0485DB80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BB05E2B-F705-4DB9-AC86-52419B0264F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346274BD-326D-4A2C-9DBF-FD75EDD136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39</a:t>
            </a:fld>
            <a:endParaRPr lang="fr-FR" dirty="0"/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888B9E1E-31CF-4A30-8657-770C8D05A1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60C7F38-DA7E-444A-9BFF-9E963C14F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2</a:t>
            </a:r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CA85C5A7-2E21-414E-B46B-9E1D1C4725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82248222-649C-4FC7-928C-B5E35C3396A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6399" y="2863480"/>
            <a:ext cx="11385551" cy="1826141"/>
          </a:xfrm>
        </p:spPr>
        <p:txBody>
          <a:bodyPr/>
          <a:lstStyle/>
          <a:p>
            <a:r>
              <a:rPr lang="fr-FR" dirty="0"/>
              <a:t>Page d’accentuation, pour des problématiques, </a:t>
            </a:r>
          </a:p>
          <a:p>
            <a:r>
              <a:rPr lang="fr-FR" dirty="0"/>
              <a:t>notions clés à mettre en avant, etc. </a:t>
            </a:r>
          </a:p>
          <a:p>
            <a:r>
              <a:rPr lang="fr-FR" dirty="0"/>
              <a:t>Sur une ou plusieurs lignes.</a:t>
            </a:r>
          </a:p>
        </p:txBody>
      </p:sp>
    </p:spTree>
    <p:extLst>
      <p:ext uri="{BB962C8B-B14F-4D97-AF65-F5344CB8AC3E}">
        <p14:creationId xmlns:p14="http://schemas.microsoft.com/office/powerpoint/2010/main" val="1818970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5">
            <a:extLst>
              <a:ext uri="{FF2B5EF4-FFF2-40B4-BE49-F238E27FC236}">
                <a16:creationId xmlns:a16="http://schemas.microsoft.com/office/drawing/2014/main" id="{179365D3-5C4B-4743-A7FC-58EB1A8B6685}"/>
              </a:ext>
            </a:extLst>
          </p:cNvPr>
          <p:cNvSpPr txBox="1">
            <a:spLocks/>
          </p:cNvSpPr>
          <p:nvPr/>
        </p:nvSpPr>
        <p:spPr>
          <a:xfrm>
            <a:off x="6352615" y="1339200"/>
            <a:ext cx="5348859" cy="4834800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 marL="92075" indent="-920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ct val="90000"/>
              <a:buFontTx/>
              <a:buBlip>
                <a:blip r:embed="rId3"/>
              </a:buBlip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b="1" dirty="0">
                <a:solidFill>
                  <a:schemeClr val="bg2"/>
                </a:solidFill>
              </a:rPr>
              <a:t>Intégrer une image</a:t>
            </a:r>
          </a:p>
          <a:p>
            <a:pPr lvl="1">
              <a:buBlip>
                <a:blip r:embed="rId4"/>
              </a:buBlip>
            </a:pPr>
            <a:r>
              <a:rPr lang="fr-FR" dirty="0"/>
              <a:t>Pour intégrer une image dans une slide, se référer à la banque d’images :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C457B615-1076-484C-B2C7-AD98F928C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66377C57-9C45-4D58-BA89-CFC71CCBBE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3200" y="1339199"/>
            <a:ext cx="8982100" cy="4834801"/>
          </a:xfrm>
        </p:spPr>
        <p:txBody>
          <a:bodyPr>
            <a:normAutofit/>
          </a:bodyPr>
          <a:lstStyle/>
          <a:p>
            <a:r>
              <a:rPr lang="fr-FR" b="1" dirty="0">
                <a:solidFill>
                  <a:schemeClr val="bg2"/>
                </a:solidFill>
              </a:rPr>
              <a:t>Pictogrammes &amp; illustrations</a:t>
            </a:r>
          </a:p>
          <a:p>
            <a:pPr lvl="1"/>
            <a:r>
              <a:rPr lang="fr-FR" dirty="0"/>
              <a:t>Toujours 3 couleurs (rouge, noir, bleu ardoise)</a:t>
            </a:r>
          </a:p>
          <a:p>
            <a:pPr lvl="1"/>
            <a:r>
              <a:rPr lang="fr-FR" dirty="0"/>
              <a:t>Couleurs fond de slides : </a:t>
            </a:r>
            <a:br>
              <a:rPr lang="fr-FR" dirty="0"/>
            </a:br>
            <a:r>
              <a:rPr lang="fr-FR" dirty="0"/>
              <a:t>utiliser les couleurs</a:t>
            </a:r>
            <a:br>
              <a:rPr lang="fr-FR" dirty="0"/>
            </a:br>
            <a:r>
              <a:rPr lang="fr-FR" dirty="0"/>
              <a:t>de la palette. 70 %</a:t>
            </a:r>
            <a:br>
              <a:rPr lang="fr-FR" dirty="0"/>
            </a:br>
            <a:r>
              <a:rPr lang="fr-FR" dirty="0"/>
              <a:t>de transparence</a:t>
            </a:r>
          </a:p>
          <a:p>
            <a:pPr lvl="2"/>
            <a:r>
              <a:rPr lang="fr-FR" dirty="0"/>
              <a:t>Une sélection d'illustrations et de pictogrammes</a:t>
            </a:r>
            <a:br>
              <a:rPr lang="fr-FR" dirty="0"/>
            </a:br>
            <a:r>
              <a:rPr lang="fr-FR" dirty="0"/>
              <a:t>se trouve dans les slides Toolbox situées en fin</a:t>
            </a:r>
            <a:br>
              <a:rPr lang="fr-FR" dirty="0"/>
            </a:br>
            <a:r>
              <a:rPr lang="fr-FR" dirty="0"/>
              <a:t>de présentation (slides 48 - 49 -50)</a:t>
            </a:r>
          </a:p>
          <a:p>
            <a:pPr>
              <a:spcBef>
                <a:spcPts val="1800"/>
              </a:spcBef>
            </a:pPr>
            <a:r>
              <a:rPr lang="fr-FR" b="1" dirty="0">
                <a:solidFill>
                  <a:schemeClr val="bg2"/>
                </a:solidFill>
              </a:rPr>
              <a:t>Règles d’utilisation des illustrations, </a:t>
            </a:r>
            <a:r>
              <a:rPr lang="fr-FR" b="1" dirty="0" err="1">
                <a:solidFill>
                  <a:schemeClr val="bg2"/>
                </a:solidFill>
              </a:rPr>
              <a:t>pictos</a:t>
            </a:r>
            <a:r>
              <a:rPr lang="fr-FR" b="1" dirty="0">
                <a:solidFill>
                  <a:schemeClr val="bg2"/>
                </a:solidFill>
              </a:rPr>
              <a:t> et photos</a:t>
            </a:r>
          </a:p>
          <a:p>
            <a:pPr lvl="1">
              <a:lnSpc>
                <a:spcPct val="110000"/>
              </a:lnSpc>
            </a:pPr>
            <a:r>
              <a:rPr lang="fr-FR" dirty="0"/>
              <a:t>Se référer au Design system</a:t>
            </a:r>
          </a:p>
          <a:p>
            <a:pPr lvl="3"/>
            <a:r>
              <a:rPr lang="fr-FR" dirty="0"/>
              <a:t>Photos : </a:t>
            </a:r>
            <a:r>
              <a:rPr lang="fr-FR" dirty="0">
                <a:hlinkClick r:id="rId5"/>
              </a:rPr>
              <a:t>https://design.maif.fr/identite-de-marque/iconographie/photographies.html</a:t>
            </a:r>
            <a:endParaRPr lang="fr-FR" dirty="0"/>
          </a:p>
          <a:p>
            <a:pPr lvl="3"/>
            <a:r>
              <a:rPr lang="fr-FR" dirty="0"/>
              <a:t>Illustrations : </a:t>
            </a:r>
            <a:r>
              <a:rPr lang="fr-FR" dirty="0">
                <a:hlinkClick r:id="rId6"/>
              </a:rPr>
              <a:t>https://design.maif.fr/identite-de-marque/iconographie/illustrations.html</a:t>
            </a:r>
            <a:endParaRPr lang="fr-FR" dirty="0"/>
          </a:p>
          <a:p>
            <a:pPr lvl="3"/>
            <a:r>
              <a:rPr lang="fr-FR" dirty="0"/>
              <a:t>Pictos : </a:t>
            </a:r>
            <a:r>
              <a:rPr lang="fr-FR" dirty="0">
                <a:hlinkClick r:id="rId7"/>
              </a:rPr>
              <a:t>https://design.maif.fr/identite-de-marque/iconographie/pictogrammes.html</a:t>
            </a:r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5B4B5CC-0596-406C-BA62-AFC30B5C44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4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A603D22-2C69-470E-9E8B-2FD0F61AFF0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28308C8-2F5B-4380-A842-F39A8C9C5CE3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7253E7E-F803-430F-9251-482F135EFA7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0" name="Espace réservé du numéro de diapositive 19">
            <a:extLst>
              <a:ext uri="{FF2B5EF4-FFF2-40B4-BE49-F238E27FC236}">
                <a16:creationId xmlns:a16="http://schemas.microsoft.com/office/drawing/2014/main" id="{2FAC3829-CF98-40EA-BEED-0B119F718EC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4</a:t>
            </a:fld>
            <a:endParaRPr lang="fr-FR" dirty="0"/>
          </a:p>
        </p:txBody>
      </p:sp>
      <p:sp>
        <p:nvSpPr>
          <p:cNvPr id="9" name="Rectangle : coins arrondis 8">
            <a:hlinkClick r:id="rId8"/>
            <a:extLst>
              <a:ext uri="{FF2B5EF4-FFF2-40B4-BE49-F238E27FC236}">
                <a16:creationId xmlns:a16="http://schemas.microsoft.com/office/drawing/2014/main" id="{09C4B0C9-4E25-47E9-86E7-F9CC1D721148}"/>
              </a:ext>
            </a:extLst>
          </p:cNvPr>
          <p:cNvSpPr/>
          <p:nvPr/>
        </p:nvSpPr>
        <p:spPr>
          <a:xfrm>
            <a:off x="6403108" y="2477273"/>
            <a:ext cx="2982192" cy="323395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>
                <a:solidFill>
                  <a:schemeClr val="bg1"/>
                </a:solidFill>
              </a:rPr>
              <a:t>Banque d’images générale (CTRL + clic)</a:t>
            </a:r>
          </a:p>
        </p:txBody>
      </p:sp>
      <p:sp>
        <p:nvSpPr>
          <p:cNvPr id="25" name="Rectangle : coins arrondis 24">
            <a:hlinkClick r:id="rId9"/>
            <a:extLst>
              <a:ext uri="{FF2B5EF4-FFF2-40B4-BE49-F238E27FC236}">
                <a16:creationId xmlns:a16="http://schemas.microsoft.com/office/drawing/2014/main" id="{13821A84-0E20-4545-B76E-8DF61C4DCB39}"/>
              </a:ext>
            </a:extLst>
          </p:cNvPr>
          <p:cNvSpPr/>
          <p:nvPr/>
        </p:nvSpPr>
        <p:spPr>
          <a:xfrm>
            <a:off x="3584728" y="2284095"/>
            <a:ext cx="2326358" cy="367873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fr-FR" sz="1100" b="1" dirty="0">
                <a:solidFill>
                  <a:schemeClr val="bg1"/>
                </a:solidFill>
              </a:rPr>
              <a:t>Banque de </a:t>
            </a:r>
            <a:r>
              <a:rPr lang="fr-FR" sz="1100" b="1" dirty="0" err="1">
                <a:solidFill>
                  <a:schemeClr val="bg1"/>
                </a:solidFill>
              </a:rPr>
              <a:t>pictos</a:t>
            </a:r>
            <a:r>
              <a:rPr lang="fr-FR" sz="1100" b="1" dirty="0">
                <a:solidFill>
                  <a:schemeClr val="bg1"/>
                </a:solidFill>
              </a:rPr>
              <a:t> (CTRL + clic)</a:t>
            </a:r>
          </a:p>
        </p:txBody>
      </p:sp>
      <p:sp>
        <p:nvSpPr>
          <p:cNvPr id="26" name="Rectangle : coins arrondis 25">
            <a:hlinkClick r:id="rId10"/>
            <a:extLst>
              <a:ext uri="{FF2B5EF4-FFF2-40B4-BE49-F238E27FC236}">
                <a16:creationId xmlns:a16="http://schemas.microsoft.com/office/drawing/2014/main" id="{BC665D3D-7161-4698-88FD-3CE893FC1408}"/>
              </a:ext>
            </a:extLst>
          </p:cNvPr>
          <p:cNvSpPr/>
          <p:nvPr/>
        </p:nvSpPr>
        <p:spPr>
          <a:xfrm>
            <a:off x="3225083" y="2720430"/>
            <a:ext cx="2686003" cy="367873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spAutoFit/>
          </a:bodyPr>
          <a:lstStyle/>
          <a:p>
            <a:pPr algn="ctr"/>
            <a:r>
              <a:rPr lang="fr-FR" sz="1100" b="1" dirty="0">
                <a:solidFill>
                  <a:schemeClr val="bg1"/>
                </a:solidFill>
              </a:rPr>
              <a:t>Banque d’illustrations (CTRL + clic)</a:t>
            </a:r>
          </a:p>
        </p:txBody>
      </p:sp>
    </p:spTree>
    <p:extLst>
      <p:ext uri="{BB962C8B-B14F-4D97-AF65-F5344CB8AC3E}">
        <p14:creationId xmlns:p14="http://schemas.microsoft.com/office/powerpoint/2010/main" val="4049634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AD37872E-1815-4E0F-9668-D7B3643D8C7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600FD1A-77FD-4A7F-97F6-969DB8971235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F7997D1-89DC-4342-BDD5-6C40EBA0849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3C9A3A5-E8CB-4226-8B28-994A48F4B35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40</a:t>
            </a:fld>
            <a:endParaRPr lang="fr-FR" dirty="0"/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888B9E1E-31CF-4A30-8657-770C8D05A1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60C7F38-DA7E-444A-9BFF-9E963C14F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3</a:t>
            </a:r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CA85C5A7-2E21-414E-B46B-9E1D1C4725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82248222-649C-4FC7-928C-B5E35C3396A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6399" y="2863480"/>
            <a:ext cx="11385551" cy="1826141"/>
          </a:xfrm>
        </p:spPr>
        <p:txBody>
          <a:bodyPr/>
          <a:lstStyle/>
          <a:p>
            <a:r>
              <a:rPr lang="fr-FR" dirty="0"/>
              <a:t>Page d’accentuation, pour des problématiques, </a:t>
            </a:r>
          </a:p>
          <a:p>
            <a:r>
              <a:rPr lang="fr-FR" dirty="0"/>
              <a:t>notions clés à mettre en avant, etc. </a:t>
            </a:r>
          </a:p>
          <a:p>
            <a:r>
              <a:rPr lang="fr-FR" dirty="0"/>
              <a:t>Sur une ou plusieurs lignes.</a:t>
            </a:r>
          </a:p>
        </p:txBody>
      </p:sp>
    </p:spTree>
    <p:extLst>
      <p:ext uri="{BB962C8B-B14F-4D97-AF65-F5344CB8AC3E}">
        <p14:creationId xmlns:p14="http://schemas.microsoft.com/office/powerpoint/2010/main" val="2070791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>
            <a:extLst>
              <a:ext uri="{FF2B5EF4-FFF2-40B4-BE49-F238E27FC236}">
                <a16:creationId xmlns:a16="http://schemas.microsoft.com/office/drawing/2014/main" id="{43D4589D-EBD1-473C-A7F8-B19E620834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7C7EB992-638C-4C0A-8BBB-F1A45C1D6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A5EC5-A781-43B0-9E3D-2F51247B7DBE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CFAAF507-5C64-429B-9B2B-3024EE7113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E47FD00-4A75-481F-BF7F-54EDC2DCD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41</a:t>
            </a:fld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B97B6D24-B9EE-440A-97AD-301B53D515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4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4CBA6855-6D64-441C-AA72-680C602B11D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0028" y="972088"/>
            <a:ext cx="11385551" cy="400110"/>
          </a:xfrm>
        </p:spPr>
        <p:txBody>
          <a:bodyPr/>
          <a:lstStyle/>
          <a:p>
            <a:r>
              <a:rPr lang="fr-FR" dirty="0"/>
              <a:t>Carte de la France</a:t>
            </a:r>
          </a:p>
        </p:txBody>
      </p:sp>
      <p:grpSp>
        <p:nvGrpSpPr>
          <p:cNvPr id="12" name="Group 120">
            <a:extLst>
              <a:ext uri="{FF2B5EF4-FFF2-40B4-BE49-F238E27FC236}">
                <a16:creationId xmlns:a16="http://schemas.microsoft.com/office/drawing/2014/main" id="{FA4C846F-4158-47F3-9698-D3FCE4974F49}"/>
              </a:ext>
            </a:extLst>
          </p:cNvPr>
          <p:cNvGrpSpPr/>
          <p:nvPr/>
        </p:nvGrpSpPr>
        <p:grpSpPr>
          <a:xfrm>
            <a:off x="3430259" y="1266513"/>
            <a:ext cx="5056656" cy="5024072"/>
            <a:chOff x="1949444" y="1448015"/>
            <a:chExt cx="5004000" cy="4971757"/>
          </a:xfrm>
          <a:solidFill>
            <a:schemeClr val="bg1">
              <a:lumMod val="85000"/>
            </a:schemeClr>
          </a:solidFill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451A81A-3047-4524-ACA4-773F8B42C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5284" y="2022270"/>
              <a:ext cx="462168" cy="683272"/>
            </a:xfrm>
            <a:custGeom>
              <a:avLst/>
              <a:gdLst>
                <a:gd name="T0" fmla="*/ 32 w 301"/>
                <a:gd name="T1" fmla="*/ 334 h 445"/>
                <a:gd name="T2" fmla="*/ 27 w 301"/>
                <a:gd name="T3" fmla="*/ 349 h 445"/>
                <a:gd name="T4" fmla="*/ 49 w 301"/>
                <a:gd name="T5" fmla="*/ 355 h 445"/>
                <a:gd name="T6" fmla="*/ 49 w 301"/>
                <a:gd name="T7" fmla="*/ 383 h 445"/>
                <a:gd name="T8" fmla="*/ 72 w 301"/>
                <a:gd name="T9" fmla="*/ 413 h 445"/>
                <a:gd name="T10" fmla="*/ 125 w 301"/>
                <a:gd name="T11" fmla="*/ 445 h 445"/>
                <a:gd name="T12" fmla="*/ 172 w 301"/>
                <a:gd name="T13" fmla="*/ 385 h 445"/>
                <a:gd name="T14" fmla="*/ 148 w 301"/>
                <a:gd name="T15" fmla="*/ 375 h 445"/>
                <a:gd name="T16" fmla="*/ 159 w 301"/>
                <a:gd name="T17" fmla="*/ 336 h 445"/>
                <a:gd name="T18" fmla="*/ 189 w 301"/>
                <a:gd name="T19" fmla="*/ 332 h 445"/>
                <a:gd name="T20" fmla="*/ 165 w 301"/>
                <a:gd name="T21" fmla="*/ 311 h 445"/>
                <a:gd name="T22" fmla="*/ 163 w 301"/>
                <a:gd name="T23" fmla="*/ 275 h 445"/>
                <a:gd name="T24" fmla="*/ 212 w 301"/>
                <a:gd name="T25" fmla="*/ 264 h 445"/>
                <a:gd name="T26" fmla="*/ 229 w 301"/>
                <a:gd name="T27" fmla="*/ 243 h 445"/>
                <a:gd name="T28" fmla="*/ 257 w 301"/>
                <a:gd name="T29" fmla="*/ 260 h 445"/>
                <a:gd name="T30" fmla="*/ 261 w 301"/>
                <a:gd name="T31" fmla="*/ 241 h 445"/>
                <a:gd name="T32" fmla="*/ 255 w 301"/>
                <a:gd name="T33" fmla="*/ 166 h 445"/>
                <a:gd name="T34" fmla="*/ 255 w 301"/>
                <a:gd name="T35" fmla="*/ 162 h 445"/>
                <a:gd name="T36" fmla="*/ 301 w 301"/>
                <a:gd name="T37" fmla="*/ 124 h 445"/>
                <a:gd name="T38" fmla="*/ 301 w 301"/>
                <a:gd name="T39" fmla="*/ 41 h 445"/>
                <a:gd name="T40" fmla="*/ 280 w 301"/>
                <a:gd name="T41" fmla="*/ 32 h 445"/>
                <a:gd name="T42" fmla="*/ 178 w 301"/>
                <a:gd name="T43" fmla="*/ 0 h 445"/>
                <a:gd name="T44" fmla="*/ 155 w 301"/>
                <a:gd name="T45" fmla="*/ 15 h 445"/>
                <a:gd name="T46" fmla="*/ 142 w 301"/>
                <a:gd name="T47" fmla="*/ 5 h 445"/>
                <a:gd name="T48" fmla="*/ 125 w 301"/>
                <a:gd name="T49" fmla="*/ 20 h 445"/>
                <a:gd name="T50" fmla="*/ 51 w 301"/>
                <a:gd name="T51" fmla="*/ 20 h 445"/>
                <a:gd name="T52" fmla="*/ 59 w 301"/>
                <a:gd name="T53" fmla="*/ 30 h 445"/>
                <a:gd name="T54" fmla="*/ 23 w 301"/>
                <a:gd name="T55" fmla="*/ 88 h 445"/>
                <a:gd name="T56" fmla="*/ 38 w 301"/>
                <a:gd name="T57" fmla="*/ 132 h 445"/>
                <a:gd name="T58" fmla="*/ 34 w 301"/>
                <a:gd name="T59" fmla="*/ 200 h 445"/>
                <a:gd name="T60" fmla="*/ 49 w 301"/>
                <a:gd name="T61" fmla="*/ 228 h 445"/>
                <a:gd name="T62" fmla="*/ 0 w 301"/>
                <a:gd name="T63" fmla="*/ 273 h 445"/>
                <a:gd name="T64" fmla="*/ 19 w 301"/>
                <a:gd name="T65" fmla="*/ 307 h 445"/>
                <a:gd name="T66" fmla="*/ 32 w 301"/>
                <a:gd name="T67" fmla="*/ 334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1" h="445">
                  <a:moveTo>
                    <a:pt x="32" y="334"/>
                  </a:moveTo>
                  <a:lnTo>
                    <a:pt x="27" y="349"/>
                  </a:lnTo>
                  <a:lnTo>
                    <a:pt x="49" y="355"/>
                  </a:lnTo>
                  <a:lnTo>
                    <a:pt x="49" y="383"/>
                  </a:lnTo>
                  <a:lnTo>
                    <a:pt x="72" y="413"/>
                  </a:lnTo>
                  <a:lnTo>
                    <a:pt x="125" y="445"/>
                  </a:lnTo>
                  <a:lnTo>
                    <a:pt x="172" y="385"/>
                  </a:lnTo>
                  <a:lnTo>
                    <a:pt x="148" y="375"/>
                  </a:lnTo>
                  <a:lnTo>
                    <a:pt x="159" y="336"/>
                  </a:lnTo>
                  <a:lnTo>
                    <a:pt x="189" y="332"/>
                  </a:lnTo>
                  <a:lnTo>
                    <a:pt x="165" y="311"/>
                  </a:lnTo>
                  <a:lnTo>
                    <a:pt x="163" y="275"/>
                  </a:lnTo>
                  <a:lnTo>
                    <a:pt x="212" y="264"/>
                  </a:lnTo>
                  <a:lnTo>
                    <a:pt x="229" y="243"/>
                  </a:lnTo>
                  <a:lnTo>
                    <a:pt x="257" y="260"/>
                  </a:lnTo>
                  <a:lnTo>
                    <a:pt x="261" y="241"/>
                  </a:lnTo>
                  <a:lnTo>
                    <a:pt x="255" y="166"/>
                  </a:lnTo>
                  <a:lnTo>
                    <a:pt x="255" y="162"/>
                  </a:lnTo>
                  <a:lnTo>
                    <a:pt x="301" y="124"/>
                  </a:lnTo>
                  <a:lnTo>
                    <a:pt x="301" y="41"/>
                  </a:lnTo>
                  <a:lnTo>
                    <a:pt x="280" y="32"/>
                  </a:lnTo>
                  <a:lnTo>
                    <a:pt x="178" y="0"/>
                  </a:lnTo>
                  <a:lnTo>
                    <a:pt x="155" y="15"/>
                  </a:lnTo>
                  <a:lnTo>
                    <a:pt x="142" y="5"/>
                  </a:lnTo>
                  <a:lnTo>
                    <a:pt x="125" y="20"/>
                  </a:lnTo>
                  <a:lnTo>
                    <a:pt x="51" y="20"/>
                  </a:lnTo>
                  <a:lnTo>
                    <a:pt x="59" y="30"/>
                  </a:lnTo>
                  <a:lnTo>
                    <a:pt x="23" y="88"/>
                  </a:lnTo>
                  <a:lnTo>
                    <a:pt x="38" y="132"/>
                  </a:lnTo>
                  <a:lnTo>
                    <a:pt x="34" y="200"/>
                  </a:lnTo>
                  <a:lnTo>
                    <a:pt x="49" y="228"/>
                  </a:lnTo>
                  <a:lnTo>
                    <a:pt x="0" y="273"/>
                  </a:lnTo>
                  <a:lnTo>
                    <a:pt x="19" y="307"/>
                  </a:lnTo>
                  <a:lnTo>
                    <a:pt x="32" y="33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58F0DC9A-8F80-450E-8D02-97F69E0A83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5244" y="4595668"/>
              <a:ext cx="515908" cy="482128"/>
            </a:xfrm>
            <a:custGeom>
              <a:avLst/>
              <a:gdLst>
                <a:gd name="T0" fmla="*/ 3 w 336"/>
                <a:gd name="T1" fmla="*/ 191 h 314"/>
                <a:gd name="T2" fmla="*/ 28 w 336"/>
                <a:gd name="T3" fmla="*/ 251 h 314"/>
                <a:gd name="T4" fmla="*/ 15 w 336"/>
                <a:gd name="T5" fmla="*/ 285 h 314"/>
                <a:gd name="T6" fmla="*/ 37 w 336"/>
                <a:gd name="T7" fmla="*/ 314 h 314"/>
                <a:gd name="T8" fmla="*/ 66 w 336"/>
                <a:gd name="T9" fmla="*/ 297 h 314"/>
                <a:gd name="T10" fmla="*/ 107 w 336"/>
                <a:gd name="T11" fmla="*/ 304 h 314"/>
                <a:gd name="T12" fmla="*/ 141 w 336"/>
                <a:gd name="T13" fmla="*/ 231 h 314"/>
                <a:gd name="T14" fmla="*/ 175 w 336"/>
                <a:gd name="T15" fmla="*/ 200 h 314"/>
                <a:gd name="T16" fmla="*/ 183 w 336"/>
                <a:gd name="T17" fmla="*/ 227 h 314"/>
                <a:gd name="T18" fmla="*/ 207 w 336"/>
                <a:gd name="T19" fmla="*/ 223 h 314"/>
                <a:gd name="T20" fmla="*/ 226 w 336"/>
                <a:gd name="T21" fmla="*/ 257 h 314"/>
                <a:gd name="T22" fmla="*/ 236 w 336"/>
                <a:gd name="T23" fmla="*/ 308 h 314"/>
                <a:gd name="T24" fmla="*/ 241 w 336"/>
                <a:gd name="T25" fmla="*/ 302 h 314"/>
                <a:gd name="T26" fmla="*/ 268 w 336"/>
                <a:gd name="T27" fmla="*/ 221 h 314"/>
                <a:gd name="T28" fmla="*/ 290 w 336"/>
                <a:gd name="T29" fmla="*/ 227 h 314"/>
                <a:gd name="T30" fmla="*/ 304 w 336"/>
                <a:gd name="T31" fmla="*/ 200 h 314"/>
                <a:gd name="T32" fmla="*/ 336 w 336"/>
                <a:gd name="T33" fmla="*/ 189 h 314"/>
                <a:gd name="T34" fmla="*/ 317 w 336"/>
                <a:gd name="T35" fmla="*/ 140 h 314"/>
                <a:gd name="T36" fmla="*/ 334 w 336"/>
                <a:gd name="T37" fmla="*/ 140 h 314"/>
                <a:gd name="T38" fmla="*/ 300 w 336"/>
                <a:gd name="T39" fmla="*/ 78 h 314"/>
                <a:gd name="T40" fmla="*/ 264 w 336"/>
                <a:gd name="T41" fmla="*/ 72 h 314"/>
                <a:gd name="T42" fmla="*/ 264 w 336"/>
                <a:gd name="T43" fmla="*/ 68 h 314"/>
                <a:gd name="T44" fmla="*/ 270 w 336"/>
                <a:gd name="T45" fmla="*/ 49 h 314"/>
                <a:gd name="T46" fmla="*/ 245 w 336"/>
                <a:gd name="T47" fmla="*/ 72 h 314"/>
                <a:gd name="T48" fmla="*/ 213 w 336"/>
                <a:gd name="T49" fmla="*/ 36 h 314"/>
                <a:gd name="T50" fmla="*/ 168 w 336"/>
                <a:gd name="T51" fmla="*/ 36 h 314"/>
                <a:gd name="T52" fmla="*/ 162 w 336"/>
                <a:gd name="T53" fmla="*/ 17 h 314"/>
                <a:gd name="T54" fmla="*/ 117 w 336"/>
                <a:gd name="T55" fmla="*/ 0 h 314"/>
                <a:gd name="T56" fmla="*/ 119 w 336"/>
                <a:gd name="T57" fmla="*/ 36 h 314"/>
                <a:gd name="T58" fmla="*/ 77 w 336"/>
                <a:gd name="T59" fmla="*/ 25 h 314"/>
                <a:gd name="T60" fmla="*/ 77 w 336"/>
                <a:gd name="T61" fmla="*/ 51 h 314"/>
                <a:gd name="T62" fmla="*/ 37 w 336"/>
                <a:gd name="T63" fmla="*/ 93 h 314"/>
                <a:gd name="T64" fmla="*/ 45 w 336"/>
                <a:gd name="T65" fmla="*/ 112 h 314"/>
                <a:gd name="T66" fmla="*/ 28 w 336"/>
                <a:gd name="T67" fmla="*/ 144 h 314"/>
                <a:gd name="T68" fmla="*/ 9 w 336"/>
                <a:gd name="T69" fmla="*/ 155 h 314"/>
                <a:gd name="T70" fmla="*/ 20 w 336"/>
                <a:gd name="T71" fmla="*/ 180 h 314"/>
                <a:gd name="T72" fmla="*/ 0 w 336"/>
                <a:gd name="T73" fmla="*/ 183 h 314"/>
                <a:gd name="T74" fmla="*/ 3 w 336"/>
                <a:gd name="T75" fmla="*/ 19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36" h="314">
                  <a:moveTo>
                    <a:pt x="3" y="191"/>
                  </a:moveTo>
                  <a:lnTo>
                    <a:pt x="28" y="251"/>
                  </a:lnTo>
                  <a:lnTo>
                    <a:pt x="15" y="285"/>
                  </a:lnTo>
                  <a:lnTo>
                    <a:pt x="37" y="314"/>
                  </a:lnTo>
                  <a:lnTo>
                    <a:pt x="66" y="297"/>
                  </a:lnTo>
                  <a:lnTo>
                    <a:pt x="107" y="304"/>
                  </a:lnTo>
                  <a:lnTo>
                    <a:pt x="141" y="231"/>
                  </a:lnTo>
                  <a:lnTo>
                    <a:pt x="175" y="200"/>
                  </a:lnTo>
                  <a:lnTo>
                    <a:pt x="183" y="227"/>
                  </a:lnTo>
                  <a:lnTo>
                    <a:pt x="207" y="223"/>
                  </a:lnTo>
                  <a:lnTo>
                    <a:pt x="226" y="257"/>
                  </a:lnTo>
                  <a:lnTo>
                    <a:pt x="236" y="308"/>
                  </a:lnTo>
                  <a:lnTo>
                    <a:pt x="241" y="302"/>
                  </a:lnTo>
                  <a:lnTo>
                    <a:pt x="268" y="221"/>
                  </a:lnTo>
                  <a:lnTo>
                    <a:pt x="290" y="227"/>
                  </a:lnTo>
                  <a:lnTo>
                    <a:pt x="304" y="200"/>
                  </a:lnTo>
                  <a:lnTo>
                    <a:pt x="336" y="189"/>
                  </a:lnTo>
                  <a:lnTo>
                    <a:pt x="317" y="140"/>
                  </a:lnTo>
                  <a:lnTo>
                    <a:pt x="334" y="140"/>
                  </a:lnTo>
                  <a:lnTo>
                    <a:pt x="300" y="78"/>
                  </a:lnTo>
                  <a:lnTo>
                    <a:pt x="264" y="72"/>
                  </a:lnTo>
                  <a:lnTo>
                    <a:pt x="264" y="68"/>
                  </a:lnTo>
                  <a:lnTo>
                    <a:pt x="270" y="49"/>
                  </a:lnTo>
                  <a:lnTo>
                    <a:pt x="245" y="72"/>
                  </a:lnTo>
                  <a:lnTo>
                    <a:pt x="213" y="36"/>
                  </a:lnTo>
                  <a:lnTo>
                    <a:pt x="168" y="36"/>
                  </a:lnTo>
                  <a:lnTo>
                    <a:pt x="162" y="17"/>
                  </a:lnTo>
                  <a:lnTo>
                    <a:pt x="117" y="0"/>
                  </a:lnTo>
                  <a:lnTo>
                    <a:pt x="119" y="36"/>
                  </a:lnTo>
                  <a:lnTo>
                    <a:pt x="77" y="25"/>
                  </a:lnTo>
                  <a:lnTo>
                    <a:pt x="77" y="51"/>
                  </a:lnTo>
                  <a:lnTo>
                    <a:pt x="37" y="93"/>
                  </a:lnTo>
                  <a:lnTo>
                    <a:pt x="45" y="112"/>
                  </a:lnTo>
                  <a:lnTo>
                    <a:pt x="28" y="144"/>
                  </a:lnTo>
                  <a:lnTo>
                    <a:pt x="9" y="155"/>
                  </a:lnTo>
                  <a:lnTo>
                    <a:pt x="20" y="180"/>
                  </a:lnTo>
                  <a:lnTo>
                    <a:pt x="0" y="183"/>
                  </a:lnTo>
                  <a:lnTo>
                    <a:pt x="3" y="19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2B6371A-9B6F-4404-AC32-A7A4D38CC7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6659" y="4435983"/>
              <a:ext cx="511302" cy="466774"/>
            </a:xfrm>
            <a:custGeom>
              <a:avLst/>
              <a:gdLst>
                <a:gd name="T0" fmla="*/ 2 w 333"/>
                <a:gd name="T1" fmla="*/ 201 h 304"/>
                <a:gd name="T2" fmla="*/ 47 w 333"/>
                <a:gd name="T3" fmla="*/ 229 h 304"/>
                <a:gd name="T4" fmla="*/ 38 w 333"/>
                <a:gd name="T5" fmla="*/ 238 h 304"/>
                <a:gd name="T6" fmla="*/ 55 w 333"/>
                <a:gd name="T7" fmla="*/ 267 h 304"/>
                <a:gd name="T8" fmla="*/ 102 w 333"/>
                <a:gd name="T9" fmla="*/ 263 h 304"/>
                <a:gd name="T10" fmla="*/ 138 w 333"/>
                <a:gd name="T11" fmla="*/ 304 h 304"/>
                <a:gd name="T12" fmla="*/ 214 w 333"/>
                <a:gd name="T13" fmla="*/ 287 h 304"/>
                <a:gd name="T14" fmla="*/ 234 w 333"/>
                <a:gd name="T15" fmla="*/ 284 h 304"/>
                <a:gd name="T16" fmla="*/ 223 w 333"/>
                <a:gd name="T17" fmla="*/ 259 h 304"/>
                <a:gd name="T18" fmla="*/ 242 w 333"/>
                <a:gd name="T19" fmla="*/ 248 h 304"/>
                <a:gd name="T20" fmla="*/ 259 w 333"/>
                <a:gd name="T21" fmla="*/ 216 h 304"/>
                <a:gd name="T22" fmla="*/ 251 w 333"/>
                <a:gd name="T23" fmla="*/ 197 h 304"/>
                <a:gd name="T24" fmla="*/ 291 w 333"/>
                <a:gd name="T25" fmla="*/ 155 h 304"/>
                <a:gd name="T26" fmla="*/ 291 w 333"/>
                <a:gd name="T27" fmla="*/ 129 h 304"/>
                <a:gd name="T28" fmla="*/ 333 w 333"/>
                <a:gd name="T29" fmla="*/ 140 h 304"/>
                <a:gd name="T30" fmla="*/ 331 w 333"/>
                <a:gd name="T31" fmla="*/ 104 h 304"/>
                <a:gd name="T32" fmla="*/ 327 w 333"/>
                <a:gd name="T33" fmla="*/ 10 h 304"/>
                <a:gd name="T34" fmla="*/ 270 w 333"/>
                <a:gd name="T35" fmla="*/ 36 h 304"/>
                <a:gd name="T36" fmla="*/ 214 w 333"/>
                <a:gd name="T37" fmla="*/ 0 h 304"/>
                <a:gd name="T38" fmla="*/ 176 w 333"/>
                <a:gd name="T39" fmla="*/ 21 h 304"/>
                <a:gd name="T40" fmla="*/ 10 w 333"/>
                <a:gd name="T41" fmla="*/ 110 h 304"/>
                <a:gd name="T42" fmla="*/ 27 w 333"/>
                <a:gd name="T43" fmla="*/ 133 h 304"/>
                <a:gd name="T44" fmla="*/ 4 w 333"/>
                <a:gd name="T45" fmla="*/ 157 h 304"/>
                <a:gd name="T46" fmla="*/ 15 w 333"/>
                <a:gd name="T47" fmla="*/ 184 h 304"/>
                <a:gd name="T48" fmla="*/ 0 w 333"/>
                <a:gd name="T49" fmla="*/ 195 h 304"/>
                <a:gd name="T50" fmla="*/ 2 w 333"/>
                <a:gd name="T51" fmla="*/ 201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33" h="304">
                  <a:moveTo>
                    <a:pt x="2" y="201"/>
                  </a:moveTo>
                  <a:lnTo>
                    <a:pt x="47" y="229"/>
                  </a:lnTo>
                  <a:lnTo>
                    <a:pt x="38" y="238"/>
                  </a:lnTo>
                  <a:lnTo>
                    <a:pt x="55" y="267"/>
                  </a:lnTo>
                  <a:lnTo>
                    <a:pt x="102" y="263"/>
                  </a:lnTo>
                  <a:lnTo>
                    <a:pt x="138" y="304"/>
                  </a:lnTo>
                  <a:lnTo>
                    <a:pt x="214" y="287"/>
                  </a:lnTo>
                  <a:lnTo>
                    <a:pt x="234" y="284"/>
                  </a:lnTo>
                  <a:lnTo>
                    <a:pt x="223" y="259"/>
                  </a:lnTo>
                  <a:lnTo>
                    <a:pt x="242" y="248"/>
                  </a:lnTo>
                  <a:lnTo>
                    <a:pt x="259" y="216"/>
                  </a:lnTo>
                  <a:lnTo>
                    <a:pt x="251" y="197"/>
                  </a:lnTo>
                  <a:lnTo>
                    <a:pt x="291" y="155"/>
                  </a:lnTo>
                  <a:lnTo>
                    <a:pt x="291" y="129"/>
                  </a:lnTo>
                  <a:lnTo>
                    <a:pt x="333" y="140"/>
                  </a:lnTo>
                  <a:lnTo>
                    <a:pt x="331" y="104"/>
                  </a:lnTo>
                  <a:lnTo>
                    <a:pt x="327" y="10"/>
                  </a:lnTo>
                  <a:lnTo>
                    <a:pt x="270" y="36"/>
                  </a:lnTo>
                  <a:lnTo>
                    <a:pt x="214" y="0"/>
                  </a:lnTo>
                  <a:lnTo>
                    <a:pt x="176" y="21"/>
                  </a:lnTo>
                  <a:lnTo>
                    <a:pt x="10" y="110"/>
                  </a:lnTo>
                  <a:lnTo>
                    <a:pt x="27" y="133"/>
                  </a:lnTo>
                  <a:lnTo>
                    <a:pt x="4" y="157"/>
                  </a:lnTo>
                  <a:lnTo>
                    <a:pt x="15" y="184"/>
                  </a:lnTo>
                  <a:lnTo>
                    <a:pt x="0" y="195"/>
                  </a:lnTo>
                  <a:lnTo>
                    <a:pt x="2" y="20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D00D2C4D-1EF4-43ED-81DF-72EEB00F9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0130" y="4670906"/>
              <a:ext cx="460632" cy="684807"/>
            </a:xfrm>
            <a:custGeom>
              <a:avLst/>
              <a:gdLst>
                <a:gd name="T0" fmla="*/ 0 w 300"/>
                <a:gd name="T1" fmla="*/ 363 h 446"/>
                <a:gd name="T2" fmla="*/ 13 w 300"/>
                <a:gd name="T3" fmla="*/ 284 h 446"/>
                <a:gd name="T4" fmla="*/ 34 w 300"/>
                <a:gd name="T5" fmla="*/ 253 h 446"/>
                <a:gd name="T6" fmla="*/ 28 w 300"/>
                <a:gd name="T7" fmla="*/ 210 h 446"/>
                <a:gd name="T8" fmla="*/ 58 w 300"/>
                <a:gd name="T9" fmla="*/ 148 h 446"/>
                <a:gd name="T10" fmla="*/ 34 w 300"/>
                <a:gd name="T11" fmla="*/ 17 h 446"/>
                <a:gd name="T12" fmla="*/ 87 w 300"/>
                <a:gd name="T13" fmla="*/ 0 h 446"/>
                <a:gd name="T14" fmla="*/ 104 w 300"/>
                <a:gd name="T15" fmla="*/ 21 h 446"/>
                <a:gd name="T16" fmla="*/ 119 w 300"/>
                <a:gd name="T17" fmla="*/ 17 h 446"/>
                <a:gd name="T18" fmla="*/ 117 w 300"/>
                <a:gd name="T19" fmla="*/ 34 h 446"/>
                <a:gd name="T20" fmla="*/ 136 w 300"/>
                <a:gd name="T21" fmla="*/ 44 h 446"/>
                <a:gd name="T22" fmla="*/ 121 w 300"/>
                <a:gd name="T23" fmla="*/ 97 h 446"/>
                <a:gd name="T24" fmla="*/ 187 w 300"/>
                <a:gd name="T25" fmla="*/ 110 h 446"/>
                <a:gd name="T26" fmla="*/ 213 w 300"/>
                <a:gd name="T27" fmla="*/ 93 h 446"/>
                <a:gd name="T28" fmla="*/ 209 w 300"/>
                <a:gd name="T29" fmla="*/ 195 h 446"/>
                <a:gd name="T30" fmla="*/ 300 w 300"/>
                <a:gd name="T31" fmla="*/ 227 h 446"/>
                <a:gd name="T32" fmla="*/ 296 w 300"/>
                <a:gd name="T33" fmla="*/ 246 h 446"/>
                <a:gd name="T34" fmla="*/ 257 w 300"/>
                <a:gd name="T35" fmla="*/ 248 h 446"/>
                <a:gd name="T36" fmla="*/ 247 w 300"/>
                <a:gd name="T37" fmla="*/ 287 h 446"/>
                <a:gd name="T38" fmla="*/ 264 w 300"/>
                <a:gd name="T39" fmla="*/ 301 h 446"/>
                <a:gd name="T40" fmla="*/ 251 w 300"/>
                <a:gd name="T41" fmla="*/ 314 h 446"/>
                <a:gd name="T42" fmla="*/ 211 w 300"/>
                <a:gd name="T43" fmla="*/ 306 h 446"/>
                <a:gd name="T44" fmla="*/ 221 w 300"/>
                <a:gd name="T45" fmla="*/ 331 h 446"/>
                <a:gd name="T46" fmla="*/ 202 w 300"/>
                <a:gd name="T47" fmla="*/ 333 h 446"/>
                <a:gd name="T48" fmla="*/ 206 w 300"/>
                <a:gd name="T49" fmla="*/ 338 h 446"/>
                <a:gd name="T50" fmla="*/ 223 w 300"/>
                <a:gd name="T51" fmla="*/ 363 h 446"/>
                <a:gd name="T52" fmla="*/ 257 w 300"/>
                <a:gd name="T53" fmla="*/ 363 h 446"/>
                <a:gd name="T54" fmla="*/ 272 w 300"/>
                <a:gd name="T55" fmla="*/ 416 h 446"/>
                <a:gd name="T56" fmla="*/ 274 w 300"/>
                <a:gd name="T57" fmla="*/ 431 h 446"/>
                <a:gd name="T58" fmla="*/ 247 w 300"/>
                <a:gd name="T59" fmla="*/ 416 h 446"/>
                <a:gd name="T60" fmla="*/ 226 w 300"/>
                <a:gd name="T61" fmla="*/ 446 h 446"/>
                <a:gd name="T62" fmla="*/ 187 w 300"/>
                <a:gd name="T63" fmla="*/ 410 h 446"/>
                <a:gd name="T64" fmla="*/ 138 w 300"/>
                <a:gd name="T65" fmla="*/ 408 h 446"/>
                <a:gd name="T66" fmla="*/ 136 w 300"/>
                <a:gd name="T67" fmla="*/ 376 h 446"/>
                <a:gd name="T68" fmla="*/ 47 w 300"/>
                <a:gd name="T69" fmla="*/ 408 h 446"/>
                <a:gd name="T70" fmla="*/ 43 w 300"/>
                <a:gd name="T71" fmla="*/ 380 h 446"/>
                <a:gd name="T72" fmla="*/ 2 w 300"/>
                <a:gd name="T73" fmla="*/ 372 h 446"/>
                <a:gd name="T74" fmla="*/ 0 w 300"/>
                <a:gd name="T75" fmla="*/ 370 h 446"/>
                <a:gd name="T76" fmla="*/ 0 w 300"/>
                <a:gd name="T77" fmla="*/ 363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00" h="446">
                  <a:moveTo>
                    <a:pt x="0" y="363"/>
                  </a:moveTo>
                  <a:lnTo>
                    <a:pt x="13" y="284"/>
                  </a:lnTo>
                  <a:lnTo>
                    <a:pt x="34" y="253"/>
                  </a:lnTo>
                  <a:lnTo>
                    <a:pt x="28" y="210"/>
                  </a:lnTo>
                  <a:lnTo>
                    <a:pt x="58" y="148"/>
                  </a:lnTo>
                  <a:lnTo>
                    <a:pt x="34" y="17"/>
                  </a:lnTo>
                  <a:lnTo>
                    <a:pt x="87" y="0"/>
                  </a:lnTo>
                  <a:lnTo>
                    <a:pt x="104" y="21"/>
                  </a:lnTo>
                  <a:lnTo>
                    <a:pt x="119" y="17"/>
                  </a:lnTo>
                  <a:lnTo>
                    <a:pt x="117" y="34"/>
                  </a:lnTo>
                  <a:lnTo>
                    <a:pt x="136" y="44"/>
                  </a:lnTo>
                  <a:lnTo>
                    <a:pt x="121" y="97"/>
                  </a:lnTo>
                  <a:lnTo>
                    <a:pt x="187" y="110"/>
                  </a:lnTo>
                  <a:lnTo>
                    <a:pt x="213" y="93"/>
                  </a:lnTo>
                  <a:lnTo>
                    <a:pt x="209" y="195"/>
                  </a:lnTo>
                  <a:lnTo>
                    <a:pt x="300" y="227"/>
                  </a:lnTo>
                  <a:lnTo>
                    <a:pt x="296" y="246"/>
                  </a:lnTo>
                  <a:lnTo>
                    <a:pt x="257" y="248"/>
                  </a:lnTo>
                  <a:lnTo>
                    <a:pt x="247" y="287"/>
                  </a:lnTo>
                  <a:lnTo>
                    <a:pt x="264" y="301"/>
                  </a:lnTo>
                  <a:lnTo>
                    <a:pt x="251" y="314"/>
                  </a:lnTo>
                  <a:lnTo>
                    <a:pt x="211" y="306"/>
                  </a:lnTo>
                  <a:lnTo>
                    <a:pt x="221" y="331"/>
                  </a:lnTo>
                  <a:lnTo>
                    <a:pt x="202" y="333"/>
                  </a:lnTo>
                  <a:lnTo>
                    <a:pt x="206" y="338"/>
                  </a:lnTo>
                  <a:lnTo>
                    <a:pt x="223" y="363"/>
                  </a:lnTo>
                  <a:lnTo>
                    <a:pt x="257" y="363"/>
                  </a:lnTo>
                  <a:lnTo>
                    <a:pt x="272" y="416"/>
                  </a:lnTo>
                  <a:lnTo>
                    <a:pt x="274" y="431"/>
                  </a:lnTo>
                  <a:lnTo>
                    <a:pt x="247" y="416"/>
                  </a:lnTo>
                  <a:lnTo>
                    <a:pt x="226" y="446"/>
                  </a:lnTo>
                  <a:lnTo>
                    <a:pt x="187" y="410"/>
                  </a:lnTo>
                  <a:lnTo>
                    <a:pt x="138" y="408"/>
                  </a:lnTo>
                  <a:lnTo>
                    <a:pt x="136" y="376"/>
                  </a:lnTo>
                  <a:lnTo>
                    <a:pt x="47" y="408"/>
                  </a:lnTo>
                  <a:lnTo>
                    <a:pt x="43" y="380"/>
                  </a:lnTo>
                  <a:lnTo>
                    <a:pt x="2" y="372"/>
                  </a:lnTo>
                  <a:lnTo>
                    <a:pt x="0" y="370"/>
                  </a:lnTo>
                  <a:lnTo>
                    <a:pt x="0" y="363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4130602B-CCF1-4BC8-8388-CAEF5F26E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8950" y="3563852"/>
              <a:ext cx="370042" cy="583467"/>
            </a:xfrm>
            <a:custGeom>
              <a:avLst/>
              <a:gdLst>
                <a:gd name="T0" fmla="*/ 2 w 241"/>
                <a:gd name="T1" fmla="*/ 132 h 380"/>
                <a:gd name="T2" fmla="*/ 0 w 241"/>
                <a:gd name="T3" fmla="*/ 121 h 380"/>
                <a:gd name="T4" fmla="*/ 45 w 241"/>
                <a:gd name="T5" fmla="*/ 59 h 380"/>
                <a:gd name="T6" fmla="*/ 64 w 241"/>
                <a:gd name="T7" fmla="*/ 0 h 380"/>
                <a:gd name="T8" fmla="*/ 79 w 241"/>
                <a:gd name="T9" fmla="*/ 19 h 380"/>
                <a:gd name="T10" fmla="*/ 109 w 241"/>
                <a:gd name="T11" fmla="*/ 13 h 380"/>
                <a:gd name="T12" fmla="*/ 141 w 241"/>
                <a:gd name="T13" fmla="*/ 57 h 380"/>
                <a:gd name="T14" fmla="*/ 124 w 241"/>
                <a:gd name="T15" fmla="*/ 102 h 380"/>
                <a:gd name="T16" fmla="*/ 138 w 241"/>
                <a:gd name="T17" fmla="*/ 91 h 380"/>
                <a:gd name="T18" fmla="*/ 164 w 241"/>
                <a:gd name="T19" fmla="*/ 102 h 380"/>
                <a:gd name="T20" fmla="*/ 194 w 241"/>
                <a:gd name="T21" fmla="*/ 161 h 380"/>
                <a:gd name="T22" fmla="*/ 241 w 241"/>
                <a:gd name="T23" fmla="*/ 189 h 380"/>
                <a:gd name="T24" fmla="*/ 209 w 241"/>
                <a:gd name="T25" fmla="*/ 221 h 380"/>
                <a:gd name="T26" fmla="*/ 202 w 241"/>
                <a:gd name="T27" fmla="*/ 253 h 380"/>
                <a:gd name="T28" fmla="*/ 226 w 241"/>
                <a:gd name="T29" fmla="*/ 270 h 380"/>
                <a:gd name="T30" fmla="*/ 209 w 241"/>
                <a:gd name="T31" fmla="*/ 321 h 380"/>
                <a:gd name="T32" fmla="*/ 162 w 241"/>
                <a:gd name="T33" fmla="*/ 378 h 380"/>
                <a:gd name="T34" fmla="*/ 126 w 241"/>
                <a:gd name="T35" fmla="*/ 380 h 380"/>
                <a:gd name="T36" fmla="*/ 104 w 241"/>
                <a:gd name="T37" fmla="*/ 353 h 380"/>
                <a:gd name="T38" fmla="*/ 70 w 241"/>
                <a:gd name="T39" fmla="*/ 380 h 380"/>
                <a:gd name="T40" fmla="*/ 49 w 241"/>
                <a:gd name="T41" fmla="*/ 351 h 380"/>
                <a:gd name="T42" fmla="*/ 43 w 241"/>
                <a:gd name="T43" fmla="*/ 363 h 380"/>
                <a:gd name="T44" fmla="*/ 19 w 241"/>
                <a:gd name="T45" fmla="*/ 315 h 380"/>
                <a:gd name="T46" fmla="*/ 45 w 241"/>
                <a:gd name="T47" fmla="*/ 302 h 380"/>
                <a:gd name="T48" fmla="*/ 30 w 241"/>
                <a:gd name="T49" fmla="*/ 274 h 380"/>
                <a:gd name="T50" fmla="*/ 49 w 241"/>
                <a:gd name="T51" fmla="*/ 244 h 380"/>
                <a:gd name="T52" fmla="*/ 19 w 241"/>
                <a:gd name="T53" fmla="*/ 183 h 380"/>
                <a:gd name="T54" fmla="*/ 53 w 241"/>
                <a:gd name="T55" fmla="*/ 166 h 380"/>
                <a:gd name="T56" fmla="*/ 0 w 241"/>
                <a:gd name="T57" fmla="*/ 134 h 380"/>
                <a:gd name="T58" fmla="*/ 2 w 241"/>
                <a:gd name="T59" fmla="*/ 132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41" h="380">
                  <a:moveTo>
                    <a:pt x="2" y="132"/>
                  </a:moveTo>
                  <a:lnTo>
                    <a:pt x="0" y="121"/>
                  </a:lnTo>
                  <a:lnTo>
                    <a:pt x="45" y="59"/>
                  </a:lnTo>
                  <a:lnTo>
                    <a:pt x="64" y="0"/>
                  </a:lnTo>
                  <a:lnTo>
                    <a:pt x="79" y="19"/>
                  </a:lnTo>
                  <a:lnTo>
                    <a:pt x="109" y="13"/>
                  </a:lnTo>
                  <a:lnTo>
                    <a:pt x="141" y="57"/>
                  </a:lnTo>
                  <a:lnTo>
                    <a:pt x="124" y="102"/>
                  </a:lnTo>
                  <a:lnTo>
                    <a:pt x="138" y="91"/>
                  </a:lnTo>
                  <a:lnTo>
                    <a:pt x="164" y="102"/>
                  </a:lnTo>
                  <a:lnTo>
                    <a:pt x="194" y="161"/>
                  </a:lnTo>
                  <a:lnTo>
                    <a:pt x="241" y="189"/>
                  </a:lnTo>
                  <a:lnTo>
                    <a:pt x="209" y="221"/>
                  </a:lnTo>
                  <a:lnTo>
                    <a:pt x="202" y="253"/>
                  </a:lnTo>
                  <a:lnTo>
                    <a:pt x="226" y="270"/>
                  </a:lnTo>
                  <a:lnTo>
                    <a:pt x="209" y="321"/>
                  </a:lnTo>
                  <a:lnTo>
                    <a:pt x="162" y="378"/>
                  </a:lnTo>
                  <a:lnTo>
                    <a:pt x="126" y="380"/>
                  </a:lnTo>
                  <a:lnTo>
                    <a:pt x="104" y="353"/>
                  </a:lnTo>
                  <a:lnTo>
                    <a:pt x="70" y="380"/>
                  </a:lnTo>
                  <a:lnTo>
                    <a:pt x="49" y="351"/>
                  </a:lnTo>
                  <a:lnTo>
                    <a:pt x="43" y="363"/>
                  </a:lnTo>
                  <a:lnTo>
                    <a:pt x="19" y="315"/>
                  </a:lnTo>
                  <a:lnTo>
                    <a:pt x="45" y="302"/>
                  </a:lnTo>
                  <a:lnTo>
                    <a:pt x="30" y="274"/>
                  </a:lnTo>
                  <a:lnTo>
                    <a:pt x="49" y="244"/>
                  </a:lnTo>
                  <a:lnTo>
                    <a:pt x="19" y="183"/>
                  </a:lnTo>
                  <a:lnTo>
                    <a:pt x="53" y="166"/>
                  </a:lnTo>
                  <a:lnTo>
                    <a:pt x="0" y="134"/>
                  </a:lnTo>
                  <a:lnTo>
                    <a:pt x="2" y="132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47F37041-9F59-40AA-9D6E-9E5CDE0D8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8593" y="4151927"/>
              <a:ext cx="425317" cy="583467"/>
            </a:xfrm>
            <a:custGeom>
              <a:avLst/>
              <a:gdLst>
                <a:gd name="T0" fmla="*/ 2 w 277"/>
                <a:gd name="T1" fmla="*/ 123 h 380"/>
                <a:gd name="T2" fmla="*/ 34 w 277"/>
                <a:gd name="T3" fmla="*/ 104 h 380"/>
                <a:gd name="T4" fmla="*/ 21 w 277"/>
                <a:gd name="T5" fmla="*/ 19 h 380"/>
                <a:gd name="T6" fmla="*/ 53 w 277"/>
                <a:gd name="T7" fmla="*/ 0 h 380"/>
                <a:gd name="T8" fmla="*/ 53 w 277"/>
                <a:gd name="T9" fmla="*/ 23 h 380"/>
                <a:gd name="T10" fmla="*/ 75 w 277"/>
                <a:gd name="T11" fmla="*/ 38 h 380"/>
                <a:gd name="T12" fmla="*/ 106 w 277"/>
                <a:gd name="T13" fmla="*/ 27 h 380"/>
                <a:gd name="T14" fmla="*/ 151 w 277"/>
                <a:gd name="T15" fmla="*/ 42 h 380"/>
                <a:gd name="T16" fmla="*/ 177 w 277"/>
                <a:gd name="T17" fmla="*/ 19 h 380"/>
                <a:gd name="T18" fmla="*/ 191 w 277"/>
                <a:gd name="T19" fmla="*/ 36 h 380"/>
                <a:gd name="T20" fmla="*/ 160 w 277"/>
                <a:gd name="T21" fmla="*/ 51 h 380"/>
                <a:gd name="T22" fmla="*/ 143 w 277"/>
                <a:gd name="T23" fmla="*/ 82 h 380"/>
                <a:gd name="T24" fmla="*/ 160 w 277"/>
                <a:gd name="T25" fmla="*/ 95 h 380"/>
                <a:gd name="T26" fmla="*/ 143 w 277"/>
                <a:gd name="T27" fmla="*/ 102 h 380"/>
                <a:gd name="T28" fmla="*/ 145 w 277"/>
                <a:gd name="T29" fmla="*/ 104 h 380"/>
                <a:gd name="T30" fmla="*/ 183 w 277"/>
                <a:gd name="T31" fmla="*/ 153 h 380"/>
                <a:gd name="T32" fmla="*/ 174 w 277"/>
                <a:gd name="T33" fmla="*/ 219 h 380"/>
                <a:gd name="T34" fmla="*/ 202 w 277"/>
                <a:gd name="T35" fmla="*/ 250 h 380"/>
                <a:gd name="T36" fmla="*/ 257 w 277"/>
                <a:gd name="T37" fmla="*/ 259 h 380"/>
                <a:gd name="T38" fmla="*/ 247 w 277"/>
                <a:gd name="T39" fmla="*/ 282 h 380"/>
                <a:gd name="T40" fmla="*/ 277 w 277"/>
                <a:gd name="T41" fmla="*/ 295 h 380"/>
                <a:gd name="T42" fmla="*/ 274 w 277"/>
                <a:gd name="T43" fmla="*/ 310 h 380"/>
                <a:gd name="T44" fmla="*/ 274 w 277"/>
                <a:gd name="T45" fmla="*/ 314 h 380"/>
                <a:gd name="T46" fmla="*/ 277 w 277"/>
                <a:gd name="T47" fmla="*/ 331 h 380"/>
                <a:gd name="T48" fmla="*/ 240 w 277"/>
                <a:gd name="T49" fmla="*/ 350 h 380"/>
                <a:gd name="T50" fmla="*/ 234 w 277"/>
                <a:gd name="T51" fmla="*/ 376 h 380"/>
                <a:gd name="T52" fmla="*/ 209 w 277"/>
                <a:gd name="T53" fmla="*/ 380 h 380"/>
                <a:gd name="T54" fmla="*/ 172 w 277"/>
                <a:gd name="T55" fmla="*/ 363 h 380"/>
                <a:gd name="T56" fmla="*/ 168 w 277"/>
                <a:gd name="T57" fmla="*/ 331 h 380"/>
                <a:gd name="T58" fmla="*/ 126 w 277"/>
                <a:gd name="T59" fmla="*/ 323 h 380"/>
                <a:gd name="T60" fmla="*/ 100 w 277"/>
                <a:gd name="T61" fmla="*/ 342 h 380"/>
                <a:gd name="T62" fmla="*/ 55 w 277"/>
                <a:gd name="T63" fmla="*/ 338 h 380"/>
                <a:gd name="T64" fmla="*/ 77 w 277"/>
                <a:gd name="T65" fmla="*/ 287 h 380"/>
                <a:gd name="T66" fmla="*/ 2 w 277"/>
                <a:gd name="T67" fmla="*/ 176 h 380"/>
                <a:gd name="T68" fmla="*/ 17 w 277"/>
                <a:gd name="T69" fmla="*/ 142 h 380"/>
                <a:gd name="T70" fmla="*/ 0 w 277"/>
                <a:gd name="T71" fmla="*/ 125 h 380"/>
                <a:gd name="T72" fmla="*/ 2 w 277"/>
                <a:gd name="T73" fmla="*/ 123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77" h="380">
                  <a:moveTo>
                    <a:pt x="2" y="123"/>
                  </a:moveTo>
                  <a:lnTo>
                    <a:pt x="34" y="104"/>
                  </a:lnTo>
                  <a:lnTo>
                    <a:pt x="21" y="19"/>
                  </a:lnTo>
                  <a:lnTo>
                    <a:pt x="53" y="0"/>
                  </a:lnTo>
                  <a:lnTo>
                    <a:pt x="53" y="23"/>
                  </a:lnTo>
                  <a:lnTo>
                    <a:pt x="75" y="38"/>
                  </a:lnTo>
                  <a:lnTo>
                    <a:pt x="106" y="27"/>
                  </a:lnTo>
                  <a:lnTo>
                    <a:pt x="151" y="42"/>
                  </a:lnTo>
                  <a:lnTo>
                    <a:pt x="177" y="19"/>
                  </a:lnTo>
                  <a:lnTo>
                    <a:pt x="191" y="36"/>
                  </a:lnTo>
                  <a:lnTo>
                    <a:pt x="160" y="51"/>
                  </a:lnTo>
                  <a:lnTo>
                    <a:pt x="143" y="82"/>
                  </a:lnTo>
                  <a:lnTo>
                    <a:pt x="160" y="95"/>
                  </a:lnTo>
                  <a:lnTo>
                    <a:pt x="143" y="102"/>
                  </a:lnTo>
                  <a:lnTo>
                    <a:pt x="145" y="104"/>
                  </a:lnTo>
                  <a:lnTo>
                    <a:pt x="183" y="153"/>
                  </a:lnTo>
                  <a:lnTo>
                    <a:pt x="174" y="219"/>
                  </a:lnTo>
                  <a:lnTo>
                    <a:pt x="202" y="250"/>
                  </a:lnTo>
                  <a:lnTo>
                    <a:pt x="257" y="259"/>
                  </a:lnTo>
                  <a:lnTo>
                    <a:pt x="247" y="282"/>
                  </a:lnTo>
                  <a:lnTo>
                    <a:pt x="277" y="295"/>
                  </a:lnTo>
                  <a:lnTo>
                    <a:pt x="274" y="310"/>
                  </a:lnTo>
                  <a:lnTo>
                    <a:pt x="274" y="314"/>
                  </a:lnTo>
                  <a:lnTo>
                    <a:pt x="277" y="331"/>
                  </a:lnTo>
                  <a:lnTo>
                    <a:pt x="240" y="350"/>
                  </a:lnTo>
                  <a:lnTo>
                    <a:pt x="234" y="376"/>
                  </a:lnTo>
                  <a:lnTo>
                    <a:pt x="209" y="380"/>
                  </a:lnTo>
                  <a:lnTo>
                    <a:pt x="172" y="363"/>
                  </a:lnTo>
                  <a:lnTo>
                    <a:pt x="168" y="331"/>
                  </a:lnTo>
                  <a:lnTo>
                    <a:pt x="126" y="323"/>
                  </a:lnTo>
                  <a:lnTo>
                    <a:pt x="100" y="342"/>
                  </a:lnTo>
                  <a:lnTo>
                    <a:pt x="55" y="338"/>
                  </a:lnTo>
                  <a:lnTo>
                    <a:pt x="77" y="287"/>
                  </a:lnTo>
                  <a:lnTo>
                    <a:pt x="2" y="176"/>
                  </a:lnTo>
                  <a:lnTo>
                    <a:pt x="17" y="142"/>
                  </a:lnTo>
                  <a:lnTo>
                    <a:pt x="0" y="125"/>
                  </a:lnTo>
                  <a:lnTo>
                    <a:pt x="2" y="123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F0A43039-50EA-4511-B894-7AC4ADFD5D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0196" y="3218379"/>
              <a:ext cx="623389" cy="540475"/>
            </a:xfrm>
            <a:custGeom>
              <a:avLst/>
              <a:gdLst>
                <a:gd name="T0" fmla="*/ 12 w 406"/>
                <a:gd name="T1" fmla="*/ 165 h 352"/>
                <a:gd name="T2" fmla="*/ 2 w 406"/>
                <a:gd name="T3" fmla="*/ 180 h 352"/>
                <a:gd name="T4" fmla="*/ 61 w 406"/>
                <a:gd name="T5" fmla="*/ 204 h 352"/>
                <a:gd name="T6" fmla="*/ 91 w 406"/>
                <a:gd name="T7" fmla="*/ 184 h 352"/>
                <a:gd name="T8" fmla="*/ 151 w 406"/>
                <a:gd name="T9" fmla="*/ 184 h 352"/>
                <a:gd name="T10" fmla="*/ 187 w 406"/>
                <a:gd name="T11" fmla="*/ 221 h 352"/>
                <a:gd name="T12" fmla="*/ 127 w 406"/>
                <a:gd name="T13" fmla="*/ 189 h 352"/>
                <a:gd name="T14" fmla="*/ 93 w 406"/>
                <a:gd name="T15" fmla="*/ 195 h 352"/>
                <a:gd name="T16" fmla="*/ 91 w 406"/>
                <a:gd name="T17" fmla="*/ 233 h 352"/>
                <a:gd name="T18" fmla="*/ 70 w 406"/>
                <a:gd name="T19" fmla="*/ 242 h 352"/>
                <a:gd name="T20" fmla="*/ 136 w 406"/>
                <a:gd name="T21" fmla="*/ 284 h 352"/>
                <a:gd name="T22" fmla="*/ 193 w 406"/>
                <a:gd name="T23" fmla="*/ 340 h 352"/>
                <a:gd name="T24" fmla="*/ 238 w 406"/>
                <a:gd name="T25" fmla="*/ 352 h 352"/>
                <a:gd name="T26" fmla="*/ 250 w 406"/>
                <a:gd name="T27" fmla="*/ 346 h 352"/>
                <a:gd name="T28" fmla="*/ 240 w 406"/>
                <a:gd name="T29" fmla="*/ 295 h 352"/>
                <a:gd name="T30" fmla="*/ 255 w 406"/>
                <a:gd name="T31" fmla="*/ 289 h 352"/>
                <a:gd name="T32" fmla="*/ 261 w 406"/>
                <a:gd name="T33" fmla="*/ 331 h 352"/>
                <a:gd name="T34" fmla="*/ 312 w 406"/>
                <a:gd name="T35" fmla="*/ 278 h 352"/>
                <a:gd name="T36" fmla="*/ 342 w 406"/>
                <a:gd name="T37" fmla="*/ 299 h 352"/>
                <a:gd name="T38" fmla="*/ 350 w 406"/>
                <a:gd name="T39" fmla="*/ 287 h 352"/>
                <a:gd name="T40" fmla="*/ 316 w 406"/>
                <a:gd name="T41" fmla="*/ 272 h 352"/>
                <a:gd name="T42" fmla="*/ 342 w 406"/>
                <a:gd name="T43" fmla="*/ 244 h 352"/>
                <a:gd name="T44" fmla="*/ 338 w 406"/>
                <a:gd name="T45" fmla="*/ 221 h 352"/>
                <a:gd name="T46" fmla="*/ 299 w 406"/>
                <a:gd name="T47" fmla="*/ 195 h 352"/>
                <a:gd name="T48" fmla="*/ 299 w 406"/>
                <a:gd name="T49" fmla="*/ 193 h 352"/>
                <a:gd name="T50" fmla="*/ 406 w 406"/>
                <a:gd name="T51" fmla="*/ 167 h 352"/>
                <a:gd name="T52" fmla="*/ 393 w 406"/>
                <a:gd name="T53" fmla="*/ 131 h 352"/>
                <a:gd name="T54" fmla="*/ 348 w 406"/>
                <a:gd name="T55" fmla="*/ 121 h 352"/>
                <a:gd name="T56" fmla="*/ 348 w 406"/>
                <a:gd name="T57" fmla="*/ 102 h 352"/>
                <a:gd name="T58" fmla="*/ 389 w 406"/>
                <a:gd name="T59" fmla="*/ 97 h 352"/>
                <a:gd name="T60" fmla="*/ 357 w 406"/>
                <a:gd name="T61" fmla="*/ 82 h 352"/>
                <a:gd name="T62" fmla="*/ 331 w 406"/>
                <a:gd name="T63" fmla="*/ 25 h 352"/>
                <a:gd name="T64" fmla="*/ 280 w 406"/>
                <a:gd name="T65" fmla="*/ 0 h 352"/>
                <a:gd name="T66" fmla="*/ 229 w 406"/>
                <a:gd name="T67" fmla="*/ 40 h 352"/>
                <a:gd name="T68" fmla="*/ 153 w 406"/>
                <a:gd name="T69" fmla="*/ 44 h 352"/>
                <a:gd name="T70" fmla="*/ 119 w 406"/>
                <a:gd name="T71" fmla="*/ 63 h 352"/>
                <a:gd name="T72" fmla="*/ 102 w 406"/>
                <a:gd name="T73" fmla="*/ 112 h 352"/>
                <a:gd name="T74" fmla="*/ 68 w 406"/>
                <a:gd name="T75" fmla="*/ 104 h 352"/>
                <a:gd name="T76" fmla="*/ 63 w 406"/>
                <a:gd name="T77" fmla="*/ 121 h 352"/>
                <a:gd name="T78" fmla="*/ 25 w 406"/>
                <a:gd name="T79" fmla="*/ 123 h 352"/>
                <a:gd name="T80" fmla="*/ 29 w 406"/>
                <a:gd name="T81" fmla="*/ 138 h 352"/>
                <a:gd name="T82" fmla="*/ 0 w 406"/>
                <a:gd name="T83" fmla="*/ 148 h 352"/>
                <a:gd name="T84" fmla="*/ 12 w 406"/>
                <a:gd name="T85" fmla="*/ 165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6" h="352">
                  <a:moveTo>
                    <a:pt x="12" y="165"/>
                  </a:moveTo>
                  <a:lnTo>
                    <a:pt x="2" y="180"/>
                  </a:lnTo>
                  <a:lnTo>
                    <a:pt x="61" y="204"/>
                  </a:lnTo>
                  <a:lnTo>
                    <a:pt x="91" y="184"/>
                  </a:lnTo>
                  <a:lnTo>
                    <a:pt x="151" y="184"/>
                  </a:lnTo>
                  <a:lnTo>
                    <a:pt x="187" y="221"/>
                  </a:lnTo>
                  <a:lnTo>
                    <a:pt x="127" y="189"/>
                  </a:lnTo>
                  <a:lnTo>
                    <a:pt x="93" y="195"/>
                  </a:lnTo>
                  <a:lnTo>
                    <a:pt x="91" y="233"/>
                  </a:lnTo>
                  <a:lnTo>
                    <a:pt x="70" y="242"/>
                  </a:lnTo>
                  <a:lnTo>
                    <a:pt x="136" y="284"/>
                  </a:lnTo>
                  <a:lnTo>
                    <a:pt x="193" y="340"/>
                  </a:lnTo>
                  <a:lnTo>
                    <a:pt x="238" y="352"/>
                  </a:lnTo>
                  <a:lnTo>
                    <a:pt x="250" y="346"/>
                  </a:lnTo>
                  <a:lnTo>
                    <a:pt x="240" y="295"/>
                  </a:lnTo>
                  <a:lnTo>
                    <a:pt x="255" y="289"/>
                  </a:lnTo>
                  <a:lnTo>
                    <a:pt x="261" y="331"/>
                  </a:lnTo>
                  <a:lnTo>
                    <a:pt x="312" y="278"/>
                  </a:lnTo>
                  <a:lnTo>
                    <a:pt x="342" y="299"/>
                  </a:lnTo>
                  <a:lnTo>
                    <a:pt x="350" y="287"/>
                  </a:lnTo>
                  <a:lnTo>
                    <a:pt x="316" y="272"/>
                  </a:lnTo>
                  <a:lnTo>
                    <a:pt x="342" y="244"/>
                  </a:lnTo>
                  <a:lnTo>
                    <a:pt x="338" y="221"/>
                  </a:lnTo>
                  <a:lnTo>
                    <a:pt x="299" y="195"/>
                  </a:lnTo>
                  <a:lnTo>
                    <a:pt x="299" y="193"/>
                  </a:lnTo>
                  <a:lnTo>
                    <a:pt x="406" y="167"/>
                  </a:lnTo>
                  <a:lnTo>
                    <a:pt x="393" y="131"/>
                  </a:lnTo>
                  <a:lnTo>
                    <a:pt x="348" y="121"/>
                  </a:lnTo>
                  <a:lnTo>
                    <a:pt x="348" y="102"/>
                  </a:lnTo>
                  <a:lnTo>
                    <a:pt x="389" y="97"/>
                  </a:lnTo>
                  <a:lnTo>
                    <a:pt x="357" y="82"/>
                  </a:lnTo>
                  <a:lnTo>
                    <a:pt x="331" y="25"/>
                  </a:lnTo>
                  <a:lnTo>
                    <a:pt x="280" y="0"/>
                  </a:lnTo>
                  <a:lnTo>
                    <a:pt x="229" y="40"/>
                  </a:lnTo>
                  <a:lnTo>
                    <a:pt x="153" y="44"/>
                  </a:lnTo>
                  <a:lnTo>
                    <a:pt x="119" y="63"/>
                  </a:lnTo>
                  <a:lnTo>
                    <a:pt x="102" y="112"/>
                  </a:lnTo>
                  <a:lnTo>
                    <a:pt x="68" y="104"/>
                  </a:lnTo>
                  <a:lnTo>
                    <a:pt x="63" y="121"/>
                  </a:lnTo>
                  <a:lnTo>
                    <a:pt x="25" y="123"/>
                  </a:lnTo>
                  <a:lnTo>
                    <a:pt x="29" y="138"/>
                  </a:lnTo>
                  <a:lnTo>
                    <a:pt x="0" y="148"/>
                  </a:lnTo>
                  <a:lnTo>
                    <a:pt x="12" y="16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13">
              <a:extLst>
                <a:ext uri="{FF2B5EF4-FFF2-40B4-BE49-F238E27FC236}">
                  <a16:creationId xmlns:a16="http://schemas.microsoft.com/office/drawing/2014/main" id="{BFF026CC-B761-480B-8FB3-CE3A02E6E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0362" y="4167281"/>
              <a:ext cx="626460" cy="538940"/>
            </a:xfrm>
            <a:custGeom>
              <a:avLst/>
              <a:gdLst>
                <a:gd name="T0" fmla="*/ 4 w 408"/>
                <a:gd name="T1" fmla="*/ 147 h 351"/>
                <a:gd name="T2" fmla="*/ 57 w 408"/>
                <a:gd name="T3" fmla="*/ 98 h 351"/>
                <a:gd name="T4" fmla="*/ 46 w 408"/>
                <a:gd name="T5" fmla="*/ 38 h 351"/>
                <a:gd name="T6" fmla="*/ 61 w 408"/>
                <a:gd name="T7" fmla="*/ 45 h 351"/>
                <a:gd name="T8" fmla="*/ 89 w 408"/>
                <a:gd name="T9" fmla="*/ 9 h 351"/>
                <a:gd name="T10" fmla="*/ 106 w 408"/>
                <a:gd name="T11" fmla="*/ 17 h 351"/>
                <a:gd name="T12" fmla="*/ 110 w 408"/>
                <a:gd name="T13" fmla="*/ 2 h 351"/>
                <a:gd name="T14" fmla="*/ 138 w 408"/>
                <a:gd name="T15" fmla="*/ 0 h 351"/>
                <a:gd name="T16" fmla="*/ 148 w 408"/>
                <a:gd name="T17" fmla="*/ 45 h 351"/>
                <a:gd name="T18" fmla="*/ 202 w 408"/>
                <a:gd name="T19" fmla="*/ 66 h 351"/>
                <a:gd name="T20" fmla="*/ 270 w 408"/>
                <a:gd name="T21" fmla="*/ 66 h 351"/>
                <a:gd name="T22" fmla="*/ 274 w 408"/>
                <a:gd name="T23" fmla="*/ 87 h 351"/>
                <a:gd name="T24" fmla="*/ 306 w 408"/>
                <a:gd name="T25" fmla="*/ 81 h 351"/>
                <a:gd name="T26" fmla="*/ 331 w 408"/>
                <a:gd name="T27" fmla="*/ 115 h 351"/>
                <a:gd name="T28" fmla="*/ 348 w 408"/>
                <a:gd name="T29" fmla="*/ 132 h 351"/>
                <a:gd name="T30" fmla="*/ 333 w 408"/>
                <a:gd name="T31" fmla="*/ 166 h 351"/>
                <a:gd name="T32" fmla="*/ 408 w 408"/>
                <a:gd name="T33" fmla="*/ 277 h 351"/>
                <a:gd name="T34" fmla="*/ 386 w 408"/>
                <a:gd name="T35" fmla="*/ 328 h 351"/>
                <a:gd name="T36" fmla="*/ 331 w 408"/>
                <a:gd name="T37" fmla="*/ 317 h 351"/>
                <a:gd name="T38" fmla="*/ 316 w 408"/>
                <a:gd name="T39" fmla="*/ 332 h 351"/>
                <a:gd name="T40" fmla="*/ 282 w 408"/>
                <a:gd name="T41" fmla="*/ 302 h 351"/>
                <a:gd name="T42" fmla="*/ 246 w 408"/>
                <a:gd name="T43" fmla="*/ 302 h 351"/>
                <a:gd name="T44" fmla="*/ 182 w 408"/>
                <a:gd name="T45" fmla="*/ 328 h 351"/>
                <a:gd name="T46" fmla="*/ 157 w 408"/>
                <a:gd name="T47" fmla="*/ 351 h 351"/>
                <a:gd name="T48" fmla="*/ 125 w 408"/>
                <a:gd name="T49" fmla="*/ 315 h 351"/>
                <a:gd name="T50" fmla="*/ 80 w 408"/>
                <a:gd name="T51" fmla="*/ 315 h 351"/>
                <a:gd name="T52" fmla="*/ 74 w 408"/>
                <a:gd name="T53" fmla="*/ 296 h 351"/>
                <a:gd name="T54" fmla="*/ 29 w 408"/>
                <a:gd name="T55" fmla="*/ 279 h 351"/>
                <a:gd name="T56" fmla="*/ 25 w 408"/>
                <a:gd name="T57" fmla="*/ 185 h 351"/>
                <a:gd name="T58" fmla="*/ 0 w 408"/>
                <a:gd name="T59" fmla="*/ 151 h 351"/>
                <a:gd name="T60" fmla="*/ 4 w 408"/>
                <a:gd name="T61" fmla="*/ 147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08" h="351">
                  <a:moveTo>
                    <a:pt x="4" y="147"/>
                  </a:moveTo>
                  <a:lnTo>
                    <a:pt x="57" y="98"/>
                  </a:lnTo>
                  <a:lnTo>
                    <a:pt x="46" y="38"/>
                  </a:lnTo>
                  <a:lnTo>
                    <a:pt x="61" y="45"/>
                  </a:lnTo>
                  <a:lnTo>
                    <a:pt x="89" y="9"/>
                  </a:lnTo>
                  <a:lnTo>
                    <a:pt x="106" y="17"/>
                  </a:lnTo>
                  <a:lnTo>
                    <a:pt x="110" y="2"/>
                  </a:lnTo>
                  <a:lnTo>
                    <a:pt x="138" y="0"/>
                  </a:lnTo>
                  <a:lnTo>
                    <a:pt x="148" y="45"/>
                  </a:lnTo>
                  <a:lnTo>
                    <a:pt x="202" y="66"/>
                  </a:lnTo>
                  <a:lnTo>
                    <a:pt x="270" y="66"/>
                  </a:lnTo>
                  <a:lnTo>
                    <a:pt x="274" y="87"/>
                  </a:lnTo>
                  <a:lnTo>
                    <a:pt x="306" y="81"/>
                  </a:lnTo>
                  <a:lnTo>
                    <a:pt x="331" y="115"/>
                  </a:lnTo>
                  <a:lnTo>
                    <a:pt x="348" y="132"/>
                  </a:lnTo>
                  <a:lnTo>
                    <a:pt x="333" y="166"/>
                  </a:lnTo>
                  <a:lnTo>
                    <a:pt x="408" y="277"/>
                  </a:lnTo>
                  <a:lnTo>
                    <a:pt x="386" y="328"/>
                  </a:lnTo>
                  <a:lnTo>
                    <a:pt x="331" y="317"/>
                  </a:lnTo>
                  <a:lnTo>
                    <a:pt x="316" y="332"/>
                  </a:lnTo>
                  <a:lnTo>
                    <a:pt x="282" y="302"/>
                  </a:lnTo>
                  <a:lnTo>
                    <a:pt x="246" y="302"/>
                  </a:lnTo>
                  <a:lnTo>
                    <a:pt x="182" y="328"/>
                  </a:lnTo>
                  <a:lnTo>
                    <a:pt x="157" y="351"/>
                  </a:lnTo>
                  <a:lnTo>
                    <a:pt x="125" y="315"/>
                  </a:lnTo>
                  <a:lnTo>
                    <a:pt x="80" y="315"/>
                  </a:lnTo>
                  <a:lnTo>
                    <a:pt x="74" y="296"/>
                  </a:lnTo>
                  <a:lnTo>
                    <a:pt x="29" y="279"/>
                  </a:lnTo>
                  <a:lnTo>
                    <a:pt x="25" y="185"/>
                  </a:lnTo>
                  <a:lnTo>
                    <a:pt x="0" y="151"/>
                  </a:lnTo>
                  <a:lnTo>
                    <a:pt x="4" y="14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14">
              <a:extLst>
                <a:ext uri="{FF2B5EF4-FFF2-40B4-BE49-F238E27FC236}">
                  <a16:creationId xmlns:a16="http://schemas.microsoft.com/office/drawing/2014/main" id="{0CA84A90-FC7B-40DC-AD10-EE51E436F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7023" y="2975779"/>
              <a:ext cx="287128" cy="489806"/>
            </a:xfrm>
            <a:custGeom>
              <a:avLst/>
              <a:gdLst>
                <a:gd name="T0" fmla="*/ 2 w 187"/>
                <a:gd name="T1" fmla="*/ 187 h 319"/>
                <a:gd name="T2" fmla="*/ 49 w 187"/>
                <a:gd name="T3" fmla="*/ 219 h 319"/>
                <a:gd name="T4" fmla="*/ 42 w 187"/>
                <a:gd name="T5" fmla="*/ 264 h 319"/>
                <a:gd name="T6" fmla="*/ 62 w 187"/>
                <a:gd name="T7" fmla="*/ 262 h 319"/>
                <a:gd name="T8" fmla="*/ 76 w 187"/>
                <a:gd name="T9" fmla="*/ 298 h 319"/>
                <a:gd name="T10" fmla="*/ 93 w 187"/>
                <a:gd name="T11" fmla="*/ 298 h 319"/>
                <a:gd name="T12" fmla="*/ 87 w 187"/>
                <a:gd name="T13" fmla="*/ 319 h 319"/>
                <a:gd name="T14" fmla="*/ 140 w 187"/>
                <a:gd name="T15" fmla="*/ 319 h 319"/>
                <a:gd name="T16" fmla="*/ 187 w 187"/>
                <a:gd name="T17" fmla="*/ 262 h 319"/>
                <a:gd name="T18" fmla="*/ 166 w 187"/>
                <a:gd name="T19" fmla="*/ 219 h 319"/>
                <a:gd name="T20" fmla="*/ 187 w 187"/>
                <a:gd name="T21" fmla="*/ 119 h 319"/>
                <a:gd name="T22" fmla="*/ 172 w 187"/>
                <a:gd name="T23" fmla="*/ 66 h 319"/>
                <a:gd name="T24" fmla="*/ 79 w 187"/>
                <a:gd name="T25" fmla="*/ 0 h 319"/>
                <a:gd name="T26" fmla="*/ 21 w 187"/>
                <a:gd name="T27" fmla="*/ 121 h 319"/>
                <a:gd name="T28" fmla="*/ 17 w 187"/>
                <a:gd name="T29" fmla="*/ 172 h 319"/>
                <a:gd name="T30" fmla="*/ 0 w 187"/>
                <a:gd name="T31" fmla="*/ 183 h 319"/>
                <a:gd name="T32" fmla="*/ 2 w 187"/>
                <a:gd name="T33" fmla="*/ 187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7" h="319">
                  <a:moveTo>
                    <a:pt x="2" y="187"/>
                  </a:moveTo>
                  <a:lnTo>
                    <a:pt x="49" y="219"/>
                  </a:lnTo>
                  <a:lnTo>
                    <a:pt x="42" y="264"/>
                  </a:lnTo>
                  <a:lnTo>
                    <a:pt x="62" y="262"/>
                  </a:lnTo>
                  <a:lnTo>
                    <a:pt x="76" y="298"/>
                  </a:lnTo>
                  <a:lnTo>
                    <a:pt x="93" y="298"/>
                  </a:lnTo>
                  <a:lnTo>
                    <a:pt x="87" y="319"/>
                  </a:lnTo>
                  <a:lnTo>
                    <a:pt x="140" y="319"/>
                  </a:lnTo>
                  <a:lnTo>
                    <a:pt x="187" y="262"/>
                  </a:lnTo>
                  <a:lnTo>
                    <a:pt x="166" y="219"/>
                  </a:lnTo>
                  <a:lnTo>
                    <a:pt x="187" y="119"/>
                  </a:lnTo>
                  <a:lnTo>
                    <a:pt x="172" y="66"/>
                  </a:lnTo>
                  <a:lnTo>
                    <a:pt x="79" y="0"/>
                  </a:lnTo>
                  <a:lnTo>
                    <a:pt x="21" y="121"/>
                  </a:lnTo>
                  <a:lnTo>
                    <a:pt x="17" y="172"/>
                  </a:lnTo>
                  <a:lnTo>
                    <a:pt x="0" y="183"/>
                  </a:lnTo>
                  <a:lnTo>
                    <a:pt x="2" y="18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id="{D305E5CC-68B7-43D5-A4F0-0BFBFFBF2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8161" y="4131965"/>
              <a:ext cx="362364" cy="472916"/>
            </a:xfrm>
            <a:custGeom>
              <a:avLst/>
              <a:gdLst>
                <a:gd name="T0" fmla="*/ 2 w 236"/>
                <a:gd name="T1" fmla="*/ 117 h 308"/>
                <a:gd name="T2" fmla="*/ 40 w 236"/>
                <a:gd name="T3" fmla="*/ 166 h 308"/>
                <a:gd name="T4" fmla="*/ 31 w 236"/>
                <a:gd name="T5" fmla="*/ 232 h 308"/>
                <a:gd name="T6" fmla="*/ 59 w 236"/>
                <a:gd name="T7" fmla="*/ 263 h 308"/>
                <a:gd name="T8" fmla="*/ 114 w 236"/>
                <a:gd name="T9" fmla="*/ 272 h 308"/>
                <a:gd name="T10" fmla="*/ 104 w 236"/>
                <a:gd name="T11" fmla="*/ 295 h 308"/>
                <a:gd name="T12" fmla="*/ 134 w 236"/>
                <a:gd name="T13" fmla="*/ 308 h 308"/>
                <a:gd name="T14" fmla="*/ 163 w 236"/>
                <a:gd name="T15" fmla="*/ 283 h 308"/>
                <a:gd name="T16" fmla="*/ 140 w 236"/>
                <a:gd name="T17" fmla="*/ 263 h 308"/>
                <a:gd name="T18" fmla="*/ 204 w 236"/>
                <a:gd name="T19" fmla="*/ 251 h 308"/>
                <a:gd name="T20" fmla="*/ 236 w 236"/>
                <a:gd name="T21" fmla="*/ 215 h 308"/>
                <a:gd name="T22" fmla="*/ 208 w 236"/>
                <a:gd name="T23" fmla="*/ 191 h 308"/>
                <a:gd name="T24" fmla="*/ 219 w 236"/>
                <a:gd name="T25" fmla="*/ 178 h 308"/>
                <a:gd name="T26" fmla="*/ 172 w 236"/>
                <a:gd name="T27" fmla="*/ 181 h 308"/>
                <a:gd name="T28" fmla="*/ 161 w 236"/>
                <a:gd name="T29" fmla="*/ 146 h 308"/>
                <a:gd name="T30" fmla="*/ 125 w 236"/>
                <a:gd name="T31" fmla="*/ 134 h 308"/>
                <a:gd name="T32" fmla="*/ 134 w 236"/>
                <a:gd name="T33" fmla="*/ 47 h 308"/>
                <a:gd name="T34" fmla="*/ 121 w 236"/>
                <a:gd name="T35" fmla="*/ 44 h 308"/>
                <a:gd name="T36" fmla="*/ 110 w 236"/>
                <a:gd name="T37" fmla="*/ 0 h 308"/>
                <a:gd name="T38" fmla="*/ 93 w 236"/>
                <a:gd name="T39" fmla="*/ 15 h 308"/>
                <a:gd name="T40" fmla="*/ 44 w 236"/>
                <a:gd name="T41" fmla="*/ 2 h 308"/>
                <a:gd name="T42" fmla="*/ 34 w 236"/>
                <a:gd name="T43" fmla="*/ 32 h 308"/>
                <a:gd name="T44" fmla="*/ 48 w 236"/>
                <a:gd name="T45" fmla="*/ 49 h 308"/>
                <a:gd name="T46" fmla="*/ 17 w 236"/>
                <a:gd name="T47" fmla="*/ 64 h 308"/>
                <a:gd name="T48" fmla="*/ 0 w 236"/>
                <a:gd name="T49" fmla="*/ 95 h 308"/>
                <a:gd name="T50" fmla="*/ 17 w 236"/>
                <a:gd name="T51" fmla="*/ 108 h 308"/>
                <a:gd name="T52" fmla="*/ 0 w 236"/>
                <a:gd name="T53" fmla="*/ 115 h 308"/>
                <a:gd name="T54" fmla="*/ 2 w 236"/>
                <a:gd name="T55" fmla="*/ 11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36" h="308">
                  <a:moveTo>
                    <a:pt x="2" y="117"/>
                  </a:moveTo>
                  <a:lnTo>
                    <a:pt x="40" y="166"/>
                  </a:lnTo>
                  <a:lnTo>
                    <a:pt x="31" y="232"/>
                  </a:lnTo>
                  <a:lnTo>
                    <a:pt x="59" y="263"/>
                  </a:lnTo>
                  <a:lnTo>
                    <a:pt x="114" y="272"/>
                  </a:lnTo>
                  <a:lnTo>
                    <a:pt x="104" y="295"/>
                  </a:lnTo>
                  <a:lnTo>
                    <a:pt x="134" y="308"/>
                  </a:lnTo>
                  <a:lnTo>
                    <a:pt x="163" y="283"/>
                  </a:lnTo>
                  <a:lnTo>
                    <a:pt x="140" y="263"/>
                  </a:lnTo>
                  <a:lnTo>
                    <a:pt x="204" y="251"/>
                  </a:lnTo>
                  <a:lnTo>
                    <a:pt x="236" y="215"/>
                  </a:lnTo>
                  <a:lnTo>
                    <a:pt x="208" y="191"/>
                  </a:lnTo>
                  <a:lnTo>
                    <a:pt x="219" y="178"/>
                  </a:lnTo>
                  <a:lnTo>
                    <a:pt x="172" y="181"/>
                  </a:lnTo>
                  <a:lnTo>
                    <a:pt x="161" y="146"/>
                  </a:lnTo>
                  <a:lnTo>
                    <a:pt x="125" y="134"/>
                  </a:lnTo>
                  <a:lnTo>
                    <a:pt x="134" y="47"/>
                  </a:lnTo>
                  <a:lnTo>
                    <a:pt x="121" y="44"/>
                  </a:lnTo>
                  <a:lnTo>
                    <a:pt x="110" y="0"/>
                  </a:lnTo>
                  <a:lnTo>
                    <a:pt x="93" y="15"/>
                  </a:lnTo>
                  <a:lnTo>
                    <a:pt x="44" y="2"/>
                  </a:lnTo>
                  <a:lnTo>
                    <a:pt x="34" y="32"/>
                  </a:lnTo>
                  <a:lnTo>
                    <a:pt x="48" y="49"/>
                  </a:lnTo>
                  <a:lnTo>
                    <a:pt x="17" y="64"/>
                  </a:lnTo>
                  <a:lnTo>
                    <a:pt x="0" y="95"/>
                  </a:lnTo>
                  <a:lnTo>
                    <a:pt x="17" y="108"/>
                  </a:lnTo>
                  <a:lnTo>
                    <a:pt x="0" y="115"/>
                  </a:lnTo>
                  <a:lnTo>
                    <a:pt x="2" y="11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16">
              <a:extLst>
                <a:ext uri="{FF2B5EF4-FFF2-40B4-BE49-F238E27FC236}">
                  <a16:creationId xmlns:a16="http://schemas.microsoft.com/office/drawing/2014/main" id="{A4838C8C-EEBE-4D14-B586-4CFB13CD69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5514" y="2888258"/>
              <a:ext cx="518979" cy="512837"/>
            </a:xfrm>
            <a:custGeom>
              <a:avLst/>
              <a:gdLst>
                <a:gd name="T0" fmla="*/ 2 w 338"/>
                <a:gd name="T1" fmla="*/ 234 h 334"/>
                <a:gd name="T2" fmla="*/ 13 w 338"/>
                <a:gd name="T3" fmla="*/ 255 h 334"/>
                <a:gd name="T4" fmla="*/ 17 w 338"/>
                <a:gd name="T5" fmla="*/ 272 h 334"/>
                <a:gd name="T6" fmla="*/ 64 w 338"/>
                <a:gd name="T7" fmla="*/ 276 h 334"/>
                <a:gd name="T8" fmla="*/ 60 w 338"/>
                <a:gd name="T9" fmla="*/ 300 h 334"/>
                <a:gd name="T10" fmla="*/ 83 w 338"/>
                <a:gd name="T11" fmla="*/ 293 h 334"/>
                <a:gd name="T12" fmla="*/ 142 w 338"/>
                <a:gd name="T13" fmla="*/ 327 h 334"/>
                <a:gd name="T14" fmla="*/ 162 w 338"/>
                <a:gd name="T15" fmla="*/ 319 h 334"/>
                <a:gd name="T16" fmla="*/ 198 w 338"/>
                <a:gd name="T17" fmla="*/ 334 h 334"/>
                <a:gd name="T18" fmla="*/ 202 w 338"/>
                <a:gd name="T19" fmla="*/ 308 h 334"/>
                <a:gd name="T20" fmla="*/ 217 w 338"/>
                <a:gd name="T21" fmla="*/ 317 h 334"/>
                <a:gd name="T22" fmla="*/ 259 w 338"/>
                <a:gd name="T23" fmla="*/ 291 h 334"/>
                <a:gd name="T24" fmla="*/ 255 w 338"/>
                <a:gd name="T25" fmla="*/ 293 h 334"/>
                <a:gd name="T26" fmla="*/ 251 w 338"/>
                <a:gd name="T27" fmla="*/ 285 h 334"/>
                <a:gd name="T28" fmla="*/ 298 w 338"/>
                <a:gd name="T29" fmla="*/ 242 h 334"/>
                <a:gd name="T30" fmla="*/ 295 w 338"/>
                <a:gd name="T31" fmla="*/ 219 h 334"/>
                <a:gd name="T32" fmla="*/ 312 w 338"/>
                <a:gd name="T33" fmla="*/ 219 h 334"/>
                <a:gd name="T34" fmla="*/ 306 w 338"/>
                <a:gd name="T35" fmla="*/ 157 h 334"/>
                <a:gd name="T36" fmla="*/ 321 w 338"/>
                <a:gd name="T37" fmla="*/ 142 h 334"/>
                <a:gd name="T38" fmla="*/ 338 w 338"/>
                <a:gd name="T39" fmla="*/ 127 h 334"/>
                <a:gd name="T40" fmla="*/ 308 w 338"/>
                <a:gd name="T41" fmla="*/ 110 h 334"/>
                <a:gd name="T42" fmla="*/ 215 w 338"/>
                <a:gd name="T43" fmla="*/ 61 h 334"/>
                <a:gd name="T44" fmla="*/ 213 w 338"/>
                <a:gd name="T45" fmla="*/ 21 h 334"/>
                <a:gd name="T46" fmla="*/ 189 w 338"/>
                <a:gd name="T47" fmla="*/ 0 h 334"/>
                <a:gd name="T48" fmla="*/ 106 w 338"/>
                <a:gd name="T49" fmla="*/ 36 h 334"/>
                <a:gd name="T50" fmla="*/ 79 w 338"/>
                <a:gd name="T51" fmla="*/ 51 h 334"/>
                <a:gd name="T52" fmla="*/ 79 w 338"/>
                <a:gd name="T53" fmla="*/ 98 h 334"/>
                <a:gd name="T54" fmla="*/ 53 w 338"/>
                <a:gd name="T55" fmla="*/ 112 h 334"/>
                <a:gd name="T56" fmla="*/ 55 w 338"/>
                <a:gd name="T57" fmla="*/ 149 h 334"/>
                <a:gd name="T58" fmla="*/ 30 w 338"/>
                <a:gd name="T59" fmla="*/ 153 h 334"/>
                <a:gd name="T60" fmla="*/ 40 w 338"/>
                <a:gd name="T61" fmla="*/ 187 h 334"/>
                <a:gd name="T62" fmla="*/ 11 w 338"/>
                <a:gd name="T63" fmla="*/ 200 h 334"/>
                <a:gd name="T64" fmla="*/ 19 w 338"/>
                <a:gd name="T65" fmla="*/ 215 h 334"/>
                <a:gd name="T66" fmla="*/ 0 w 338"/>
                <a:gd name="T67" fmla="*/ 229 h 334"/>
                <a:gd name="T68" fmla="*/ 2 w 338"/>
                <a:gd name="T69" fmla="*/ 2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8" h="334">
                  <a:moveTo>
                    <a:pt x="2" y="234"/>
                  </a:moveTo>
                  <a:lnTo>
                    <a:pt x="13" y="255"/>
                  </a:lnTo>
                  <a:lnTo>
                    <a:pt x="17" y="272"/>
                  </a:lnTo>
                  <a:lnTo>
                    <a:pt x="64" y="276"/>
                  </a:lnTo>
                  <a:lnTo>
                    <a:pt x="60" y="300"/>
                  </a:lnTo>
                  <a:lnTo>
                    <a:pt x="83" y="293"/>
                  </a:lnTo>
                  <a:lnTo>
                    <a:pt x="142" y="327"/>
                  </a:lnTo>
                  <a:lnTo>
                    <a:pt x="162" y="319"/>
                  </a:lnTo>
                  <a:lnTo>
                    <a:pt x="198" y="334"/>
                  </a:lnTo>
                  <a:lnTo>
                    <a:pt x="202" y="308"/>
                  </a:lnTo>
                  <a:lnTo>
                    <a:pt x="217" y="317"/>
                  </a:lnTo>
                  <a:lnTo>
                    <a:pt x="259" y="291"/>
                  </a:lnTo>
                  <a:lnTo>
                    <a:pt x="255" y="293"/>
                  </a:lnTo>
                  <a:lnTo>
                    <a:pt x="251" y="285"/>
                  </a:lnTo>
                  <a:lnTo>
                    <a:pt x="298" y="242"/>
                  </a:lnTo>
                  <a:lnTo>
                    <a:pt x="295" y="219"/>
                  </a:lnTo>
                  <a:lnTo>
                    <a:pt x="312" y="219"/>
                  </a:lnTo>
                  <a:lnTo>
                    <a:pt x="306" y="157"/>
                  </a:lnTo>
                  <a:lnTo>
                    <a:pt x="321" y="142"/>
                  </a:lnTo>
                  <a:lnTo>
                    <a:pt x="338" y="127"/>
                  </a:lnTo>
                  <a:lnTo>
                    <a:pt x="308" y="110"/>
                  </a:lnTo>
                  <a:lnTo>
                    <a:pt x="215" y="61"/>
                  </a:lnTo>
                  <a:lnTo>
                    <a:pt x="213" y="21"/>
                  </a:lnTo>
                  <a:lnTo>
                    <a:pt x="189" y="0"/>
                  </a:lnTo>
                  <a:lnTo>
                    <a:pt x="106" y="36"/>
                  </a:lnTo>
                  <a:lnTo>
                    <a:pt x="79" y="51"/>
                  </a:lnTo>
                  <a:lnTo>
                    <a:pt x="79" y="98"/>
                  </a:lnTo>
                  <a:lnTo>
                    <a:pt x="53" y="112"/>
                  </a:lnTo>
                  <a:lnTo>
                    <a:pt x="55" y="149"/>
                  </a:lnTo>
                  <a:lnTo>
                    <a:pt x="30" y="153"/>
                  </a:lnTo>
                  <a:lnTo>
                    <a:pt x="40" y="187"/>
                  </a:lnTo>
                  <a:lnTo>
                    <a:pt x="11" y="200"/>
                  </a:lnTo>
                  <a:lnTo>
                    <a:pt x="19" y="215"/>
                  </a:lnTo>
                  <a:lnTo>
                    <a:pt x="0" y="229"/>
                  </a:lnTo>
                  <a:lnTo>
                    <a:pt x="2" y="23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28C83CFE-CA32-4ED9-920C-3BA410F173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3242" y="4326967"/>
              <a:ext cx="618783" cy="486735"/>
            </a:xfrm>
            <a:custGeom>
              <a:avLst/>
              <a:gdLst>
                <a:gd name="T0" fmla="*/ 0 w 403"/>
                <a:gd name="T1" fmla="*/ 119 h 317"/>
                <a:gd name="T2" fmla="*/ 36 w 403"/>
                <a:gd name="T3" fmla="*/ 81 h 317"/>
                <a:gd name="T4" fmla="*/ 48 w 403"/>
                <a:gd name="T5" fmla="*/ 0 h 317"/>
                <a:gd name="T6" fmla="*/ 93 w 403"/>
                <a:gd name="T7" fmla="*/ 68 h 317"/>
                <a:gd name="T8" fmla="*/ 136 w 403"/>
                <a:gd name="T9" fmla="*/ 64 h 317"/>
                <a:gd name="T10" fmla="*/ 161 w 403"/>
                <a:gd name="T11" fmla="*/ 90 h 317"/>
                <a:gd name="T12" fmla="*/ 178 w 403"/>
                <a:gd name="T13" fmla="*/ 85 h 317"/>
                <a:gd name="T14" fmla="*/ 223 w 403"/>
                <a:gd name="T15" fmla="*/ 7 h 317"/>
                <a:gd name="T16" fmla="*/ 272 w 403"/>
                <a:gd name="T17" fmla="*/ 68 h 317"/>
                <a:gd name="T18" fmla="*/ 297 w 403"/>
                <a:gd name="T19" fmla="*/ 49 h 317"/>
                <a:gd name="T20" fmla="*/ 312 w 403"/>
                <a:gd name="T21" fmla="*/ 81 h 317"/>
                <a:gd name="T22" fmla="*/ 352 w 403"/>
                <a:gd name="T23" fmla="*/ 98 h 317"/>
                <a:gd name="T24" fmla="*/ 355 w 403"/>
                <a:gd name="T25" fmla="*/ 147 h 317"/>
                <a:gd name="T26" fmla="*/ 403 w 403"/>
                <a:gd name="T27" fmla="*/ 181 h 317"/>
                <a:gd name="T28" fmla="*/ 378 w 403"/>
                <a:gd name="T29" fmla="*/ 251 h 317"/>
                <a:gd name="T30" fmla="*/ 348 w 403"/>
                <a:gd name="T31" fmla="*/ 255 h 317"/>
                <a:gd name="T32" fmla="*/ 325 w 403"/>
                <a:gd name="T33" fmla="*/ 285 h 317"/>
                <a:gd name="T34" fmla="*/ 301 w 403"/>
                <a:gd name="T35" fmla="*/ 275 h 317"/>
                <a:gd name="T36" fmla="*/ 265 w 403"/>
                <a:gd name="T37" fmla="*/ 294 h 317"/>
                <a:gd name="T38" fmla="*/ 233 w 403"/>
                <a:gd name="T39" fmla="*/ 298 h 317"/>
                <a:gd name="T40" fmla="*/ 221 w 403"/>
                <a:gd name="T41" fmla="*/ 317 h 317"/>
                <a:gd name="T42" fmla="*/ 170 w 403"/>
                <a:gd name="T43" fmla="*/ 292 h 317"/>
                <a:gd name="T44" fmla="*/ 140 w 403"/>
                <a:gd name="T45" fmla="*/ 283 h 317"/>
                <a:gd name="T46" fmla="*/ 134 w 403"/>
                <a:gd name="T47" fmla="*/ 236 h 317"/>
                <a:gd name="T48" fmla="*/ 148 w 403"/>
                <a:gd name="T49" fmla="*/ 211 h 317"/>
                <a:gd name="T50" fmla="*/ 129 w 403"/>
                <a:gd name="T51" fmla="*/ 181 h 317"/>
                <a:gd name="T52" fmla="*/ 89 w 403"/>
                <a:gd name="T53" fmla="*/ 164 h 317"/>
                <a:gd name="T54" fmla="*/ 72 w 403"/>
                <a:gd name="T55" fmla="*/ 200 h 317"/>
                <a:gd name="T56" fmla="*/ 31 w 403"/>
                <a:gd name="T57" fmla="*/ 185 h 317"/>
                <a:gd name="T58" fmla="*/ 0 w 403"/>
                <a:gd name="T59" fmla="*/ 124 h 317"/>
                <a:gd name="T60" fmla="*/ 0 w 403"/>
                <a:gd name="T61" fmla="*/ 11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03" h="317">
                  <a:moveTo>
                    <a:pt x="0" y="119"/>
                  </a:moveTo>
                  <a:lnTo>
                    <a:pt x="36" y="81"/>
                  </a:lnTo>
                  <a:lnTo>
                    <a:pt x="48" y="0"/>
                  </a:lnTo>
                  <a:lnTo>
                    <a:pt x="93" y="68"/>
                  </a:lnTo>
                  <a:lnTo>
                    <a:pt x="136" y="64"/>
                  </a:lnTo>
                  <a:lnTo>
                    <a:pt x="161" y="90"/>
                  </a:lnTo>
                  <a:lnTo>
                    <a:pt x="178" y="85"/>
                  </a:lnTo>
                  <a:lnTo>
                    <a:pt x="223" y="7"/>
                  </a:lnTo>
                  <a:lnTo>
                    <a:pt x="272" y="68"/>
                  </a:lnTo>
                  <a:lnTo>
                    <a:pt x="297" y="49"/>
                  </a:lnTo>
                  <a:lnTo>
                    <a:pt x="312" y="81"/>
                  </a:lnTo>
                  <a:lnTo>
                    <a:pt x="352" y="98"/>
                  </a:lnTo>
                  <a:lnTo>
                    <a:pt x="355" y="147"/>
                  </a:lnTo>
                  <a:lnTo>
                    <a:pt x="403" y="181"/>
                  </a:lnTo>
                  <a:lnTo>
                    <a:pt x="378" y="251"/>
                  </a:lnTo>
                  <a:lnTo>
                    <a:pt x="348" y="255"/>
                  </a:lnTo>
                  <a:lnTo>
                    <a:pt x="325" y="285"/>
                  </a:lnTo>
                  <a:lnTo>
                    <a:pt x="301" y="275"/>
                  </a:lnTo>
                  <a:lnTo>
                    <a:pt x="265" y="294"/>
                  </a:lnTo>
                  <a:lnTo>
                    <a:pt x="233" y="298"/>
                  </a:lnTo>
                  <a:lnTo>
                    <a:pt x="221" y="317"/>
                  </a:lnTo>
                  <a:lnTo>
                    <a:pt x="170" y="292"/>
                  </a:lnTo>
                  <a:lnTo>
                    <a:pt x="140" y="283"/>
                  </a:lnTo>
                  <a:lnTo>
                    <a:pt x="134" y="236"/>
                  </a:lnTo>
                  <a:lnTo>
                    <a:pt x="148" y="211"/>
                  </a:lnTo>
                  <a:lnTo>
                    <a:pt x="129" y="181"/>
                  </a:lnTo>
                  <a:lnTo>
                    <a:pt x="89" y="164"/>
                  </a:lnTo>
                  <a:lnTo>
                    <a:pt x="72" y="200"/>
                  </a:lnTo>
                  <a:lnTo>
                    <a:pt x="31" y="185"/>
                  </a:lnTo>
                  <a:lnTo>
                    <a:pt x="0" y="124"/>
                  </a:lnTo>
                  <a:lnTo>
                    <a:pt x="0" y="11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18">
              <a:extLst>
                <a:ext uri="{FF2B5EF4-FFF2-40B4-BE49-F238E27FC236}">
                  <a16:creationId xmlns:a16="http://schemas.microsoft.com/office/drawing/2014/main" id="{A1736D5B-AA45-4C4B-B4AF-B79734B80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7171" y="1842624"/>
              <a:ext cx="658704" cy="457561"/>
            </a:xfrm>
            <a:custGeom>
              <a:avLst/>
              <a:gdLst>
                <a:gd name="T0" fmla="*/ 6 w 429"/>
                <a:gd name="T1" fmla="*/ 115 h 298"/>
                <a:gd name="T2" fmla="*/ 72 w 429"/>
                <a:gd name="T3" fmla="*/ 171 h 298"/>
                <a:gd name="T4" fmla="*/ 93 w 429"/>
                <a:gd name="T5" fmla="*/ 226 h 298"/>
                <a:gd name="T6" fmla="*/ 108 w 429"/>
                <a:gd name="T7" fmla="*/ 247 h 298"/>
                <a:gd name="T8" fmla="*/ 202 w 429"/>
                <a:gd name="T9" fmla="*/ 249 h 298"/>
                <a:gd name="T10" fmla="*/ 295 w 429"/>
                <a:gd name="T11" fmla="*/ 298 h 298"/>
                <a:gd name="T12" fmla="*/ 306 w 429"/>
                <a:gd name="T13" fmla="*/ 279 h 298"/>
                <a:gd name="T14" fmla="*/ 331 w 429"/>
                <a:gd name="T15" fmla="*/ 281 h 298"/>
                <a:gd name="T16" fmla="*/ 348 w 429"/>
                <a:gd name="T17" fmla="*/ 251 h 298"/>
                <a:gd name="T18" fmla="*/ 370 w 429"/>
                <a:gd name="T19" fmla="*/ 262 h 298"/>
                <a:gd name="T20" fmla="*/ 408 w 429"/>
                <a:gd name="T21" fmla="*/ 249 h 298"/>
                <a:gd name="T22" fmla="*/ 393 w 429"/>
                <a:gd name="T23" fmla="*/ 205 h 298"/>
                <a:gd name="T24" fmla="*/ 429 w 429"/>
                <a:gd name="T25" fmla="*/ 147 h 298"/>
                <a:gd name="T26" fmla="*/ 421 w 429"/>
                <a:gd name="T27" fmla="*/ 137 h 298"/>
                <a:gd name="T28" fmla="*/ 402 w 429"/>
                <a:gd name="T29" fmla="*/ 124 h 298"/>
                <a:gd name="T30" fmla="*/ 346 w 429"/>
                <a:gd name="T31" fmla="*/ 134 h 298"/>
                <a:gd name="T32" fmla="*/ 344 w 429"/>
                <a:gd name="T33" fmla="*/ 113 h 298"/>
                <a:gd name="T34" fmla="*/ 323 w 429"/>
                <a:gd name="T35" fmla="*/ 128 h 298"/>
                <a:gd name="T36" fmla="*/ 329 w 429"/>
                <a:gd name="T37" fmla="*/ 100 h 298"/>
                <a:gd name="T38" fmla="*/ 312 w 429"/>
                <a:gd name="T39" fmla="*/ 96 h 298"/>
                <a:gd name="T40" fmla="*/ 310 w 429"/>
                <a:gd name="T41" fmla="*/ 111 h 298"/>
                <a:gd name="T42" fmla="*/ 282 w 429"/>
                <a:gd name="T43" fmla="*/ 90 h 298"/>
                <a:gd name="T44" fmla="*/ 259 w 429"/>
                <a:gd name="T45" fmla="*/ 90 h 298"/>
                <a:gd name="T46" fmla="*/ 246 w 429"/>
                <a:gd name="T47" fmla="*/ 109 h 298"/>
                <a:gd name="T48" fmla="*/ 238 w 429"/>
                <a:gd name="T49" fmla="*/ 86 h 298"/>
                <a:gd name="T50" fmla="*/ 263 w 429"/>
                <a:gd name="T51" fmla="*/ 69 h 298"/>
                <a:gd name="T52" fmla="*/ 253 w 429"/>
                <a:gd name="T53" fmla="*/ 56 h 298"/>
                <a:gd name="T54" fmla="*/ 183 w 429"/>
                <a:gd name="T55" fmla="*/ 71 h 298"/>
                <a:gd name="T56" fmla="*/ 134 w 429"/>
                <a:gd name="T57" fmla="*/ 17 h 298"/>
                <a:gd name="T58" fmla="*/ 93 w 429"/>
                <a:gd name="T59" fmla="*/ 5 h 298"/>
                <a:gd name="T60" fmla="*/ 70 w 429"/>
                <a:gd name="T61" fmla="*/ 15 h 298"/>
                <a:gd name="T62" fmla="*/ 55 w 429"/>
                <a:gd name="T63" fmla="*/ 0 h 298"/>
                <a:gd name="T64" fmla="*/ 40 w 429"/>
                <a:gd name="T65" fmla="*/ 37 h 298"/>
                <a:gd name="T66" fmla="*/ 72 w 429"/>
                <a:gd name="T67" fmla="*/ 71 h 298"/>
                <a:gd name="T68" fmla="*/ 40 w 429"/>
                <a:gd name="T69" fmla="*/ 58 h 298"/>
                <a:gd name="T70" fmla="*/ 0 w 429"/>
                <a:gd name="T71" fmla="*/ 111 h 298"/>
                <a:gd name="T72" fmla="*/ 6 w 429"/>
                <a:gd name="T73" fmla="*/ 115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9" h="298">
                  <a:moveTo>
                    <a:pt x="6" y="115"/>
                  </a:moveTo>
                  <a:lnTo>
                    <a:pt x="72" y="171"/>
                  </a:lnTo>
                  <a:lnTo>
                    <a:pt x="93" y="226"/>
                  </a:lnTo>
                  <a:lnTo>
                    <a:pt x="108" y="247"/>
                  </a:lnTo>
                  <a:lnTo>
                    <a:pt x="202" y="249"/>
                  </a:lnTo>
                  <a:lnTo>
                    <a:pt x="295" y="298"/>
                  </a:lnTo>
                  <a:lnTo>
                    <a:pt x="306" y="279"/>
                  </a:lnTo>
                  <a:lnTo>
                    <a:pt x="331" y="281"/>
                  </a:lnTo>
                  <a:lnTo>
                    <a:pt x="348" y="251"/>
                  </a:lnTo>
                  <a:lnTo>
                    <a:pt x="370" y="262"/>
                  </a:lnTo>
                  <a:lnTo>
                    <a:pt x="408" y="249"/>
                  </a:lnTo>
                  <a:lnTo>
                    <a:pt x="393" y="205"/>
                  </a:lnTo>
                  <a:lnTo>
                    <a:pt x="429" y="147"/>
                  </a:lnTo>
                  <a:lnTo>
                    <a:pt x="421" y="137"/>
                  </a:lnTo>
                  <a:lnTo>
                    <a:pt x="402" y="124"/>
                  </a:lnTo>
                  <a:lnTo>
                    <a:pt x="346" y="134"/>
                  </a:lnTo>
                  <a:lnTo>
                    <a:pt x="344" y="113"/>
                  </a:lnTo>
                  <a:lnTo>
                    <a:pt x="323" y="128"/>
                  </a:lnTo>
                  <a:lnTo>
                    <a:pt x="329" y="100"/>
                  </a:lnTo>
                  <a:lnTo>
                    <a:pt x="312" y="96"/>
                  </a:lnTo>
                  <a:lnTo>
                    <a:pt x="310" y="111"/>
                  </a:lnTo>
                  <a:lnTo>
                    <a:pt x="282" y="90"/>
                  </a:lnTo>
                  <a:lnTo>
                    <a:pt x="259" y="90"/>
                  </a:lnTo>
                  <a:lnTo>
                    <a:pt x="246" y="109"/>
                  </a:lnTo>
                  <a:lnTo>
                    <a:pt x="238" y="86"/>
                  </a:lnTo>
                  <a:lnTo>
                    <a:pt x="263" y="69"/>
                  </a:lnTo>
                  <a:lnTo>
                    <a:pt x="253" y="56"/>
                  </a:lnTo>
                  <a:lnTo>
                    <a:pt x="183" y="71"/>
                  </a:lnTo>
                  <a:lnTo>
                    <a:pt x="134" y="17"/>
                  </a:lnTo>
                  <a:lnTo>
                    <a:pt x="93" y="5"/>
                  </a:lnTo>
                  <a:lnTo>
                    <a:pt x="70" y="15"/>
                  </a:lnTo>
                  <a:lnTo>
                    <a:pt x="55" y="0"/>
                  </a:lnTo>
                  <a:lnTo>
                    <a:pt x="40" y="37"/>
                  </a:lnTo>
                  <a:lnTo>
                    <a:pt x="72" y="71"/>
                  </a:lnTo>
                  <a:lnTo>
                    <a:pt x="40" y="58"/>
                  </a:lnTo>
                  <a:lnTo>
                    <a:pt x="0" y="111"/>
                  </a:lnTo>
                  <a:lnTo>
                    <a:pt x="6" y="11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19">
              <a:extLst>
                <a:ext uri="{FF2B5EF4-FFF2-40B4-BE49-F238E27FC236}">
                  <a16:creationId xmlns:a16="http://schemas.microsoft.com/office/drawing/2014/main" id="{746AE7F3-A87A-4A11-94DA-0117E7B73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0130" y="5242089"/>
              <a:ext cx="457561" cy="365435"/>
            </a:xfrm>
            <a:custGeom>
              <a:avLst/>
              <a:gdLst>
                <a:gd name="T0" fmla="*/ 2 w 298"/>
                <a:gd name="T1" fmla="*/ 17 h 238"/>
                <a:gd name="T2" fmla="*/ 2 w 298"/>
                <a:gd name="T3" fmla="*/ 0 h 238"/>
                <a:gd name="T4" fmla="*/ 43 w 298"/>
                <a:gd name="T5" fmla="*/ 8 h 238"/>
                <a:gd name="T6" fmla="*/ 47 w 298"/>
                <a:gd name="T7" fmla="*/ 36 h 238"/>
                <a:gd name="T8" fmla="*/ 136 w 298"/>
                <a:gd name="T9" fmla="*/ 4 h 238"/>
                <a:gd name="T10" fmla="*/ 138 w 298"/>
                <a:gd name="T11" fmla="*/ 36 h 238"/>
                <a:gd name="T12" fmla="*/ 187 w 298"/>
                <a:gd name="T13" fmla="*/ 38 h 238"/>
                <a:gd name="T14" fmla="*/ 226 w 298"/>
                <a:gd name="T15" fmla="*/ 74 h 238"/>
                <a:gd name="T16" fmla="*/ 228 w 298"/>
                <a:gd name="T17" fmla="*/ 91 h 238"/>
                <a:gd name="T18" fmla="*/ 230 w 298"/>
                <a:gd name="T19" fmla="*/ 134 h 238"/>
                <a:gd name="T20" fmla="*/ 255 w 298"/>
                <a:gd name="T21" fmla="*/ 146 h 238"/>
                <a:gd name="T22" fmla="*/ 243 w 298"/>
                <a:gd name="T23" fmla="*/ 180 h 238"/>
                <a:gd name="T24" fmla="*/ 268 w 298"/>
                <a:gd name="T25" fmla="*/ 178 h 238"/>
                <a:gd name="T26" fmla="*/ 298 w 298"/>
                <a:gd name="T27" fmla="*/ 210 h 238"/>
                <a:gd name="T28" fmla="*/ 298 w 298"/>
                <a:gd name="T29" fmla="*/ 214 h 238"/>
                <a:gd name="T30" fmla="*/ 257 w 298"/>
                <a:gd name="T31" fmla="*/ 238 h 238"/>
                <a:gd name="T32" fmla="*/ 228 w 298"/>
                <a:gd name="T33" fmla="*/ 236 h 238"/>
                <a:gd name="T34" fmla="*/ 179 w 298"/>
                <a:gd name="T35" fmla="*/ 212 h 238"/>
                <a:gd name="T36" fmla="*/ 147 w 298"/>
                <a:gd name="T37" fmla="*/ 214 h 238"/>
                <a:gd name="T38" fmla="*/ 92 w 298"/>
                <a:gd name="T39" fmla="*/ 168 h 238"/>
                <a:gd name="T40" fmla="*/ 28 w 298"/>
                <a:gd name="T41" fmla="*/ 148 h 238"/>
                <a:gd name="T42" fmla="*/ 53 w 298"/>
                <a:gd name="T43" fmla="*/ 114 h 238"/>
                <a:gd name="T44" fmla="*/ 17 w 298"/>
                <a:gd name="T45" fmla="*/ 80 h 238"/>
                <a:gd name="T46" fmla="*/ 22 w 298"/>
                <a:gd name="T47" fmla="*/ 51 h 238"/>
                <a:gd name="T48" fmla="*/ 0 w 298"/>
                <a:gd name="T49" fmla="*/ 19 h 238"/>
                <a:gd name="T50" fmla="*/ 2 w 298"/>
                <a:gd name="T51" fmla="*/ 17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8" h="238">
                  <a:moveTo>
                    <a:pt x="2" y="17"/>
                  </a:moveTo>
                  <a:lnTo>
                    <a:pt x="2" y="0"/>
                  </a:lnTo>
                  <a:lnTo>
                    <a:pt x="43" y="8"/>
                  </a:lnTo>
                  <a:lnTo>
                    <a:pt x="47" y="36"/>
                  </a:lnTo>
                  <a:lnTo>
                    <a:pt x="136" y="4"/>
                  </a:lnTo>
                  <a:lnTo>
                    <a:pt x="138" y="36"/>
                  </a:lnTo>
                  <a:lnTo>
                    <a:pt x="187" y="38"/>
                  </a:lnTo>
                  <a:lnTo>
                    <a:pt x="226" y="74"/>
                  </a:lnTo>
                  <a:lnTo>
                    <a:pt x="228" y="91"/>
                  </a:lnTo>
                  <a:lnTo>
                    <a:pt x="230" y="134"/>
                  </a:lnTo>
                  <a:lnTo>
                    <a:pt x="255" y="146"/>
                  </a:lnTo>
                  <a:lnTo>
                    <a:pt x="243" y="180"/>
                  </a:lnTo>
                  <a:lnTo>
                    <a:pt x="268" y="178"/>
                  </a:lnTo>
                  <a:lnTo>
                    <a:pt x="298" y="210"/>
                  </a:lnTo>
                  <a:lnTo>
                    <a:pt x="298" y="214"/>
                  </a:lnTo>
                  <a:lnTo>
                    <a:pt x="257" y="238"/>
                  </a:lnTo>
                  <a:lnTo>
                    <a:pt x="228" y="236"/>
                  </a:lnTo>
                  <a:lnTo>
                    <a:pt x="179" y="212"/>
                  </a:lnTo>
                  <a:lnTo>
                    <a:pt x="147" y="214"/>
                  </a:lnTo>
                  <a:lnTo>
                    <a:pt x="92" y="168"/>
                  </a:lnTo>
                  <a:lnTo>
                    <a:pt x="28" y="148"/>
                  </a:lnTo>
                  <a:lnTo>
                    <a:pt x="53" y="114"/>
                  </a:lnTo>
                  <a:lnTo>
                    <a:pt x="17" y="80"/>
                  </a:lnTo>
                  <a:lnTo>
                    <a:pt x="22" y="51"/>
                  </a:lnTo>
                  <a:lnTo>
                    <a:pt x="0" y="19"/>
                  </a:lnTo>
                  <a:lnTo>
                    <a:pt x="2" y="1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10C4729A-FCC3-43D7-B546-E3D06EEFB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1469" y="5182207"/>
              <a:ext cx="69095" cy="75237"/>
            </a:xfrm>
            <a:custGeom>
              <a:avLst/>
              <a:gdLst>
                <a:gd name="T0" fmla="*/ 0 w 45"/>
                <a:gd name="T1" fmla="*/ 24 h 49"/>
                <a:gd name="T2" fmla="*/ 21 w 45"/>
                <a:gd name="T3" fmla="*/ 0 h 49"/>
                <a:gd name="T4" fmla="*/ 45 w 45"/>
                <a:gd name="T5" fmla="*/ 22 h 49"/>
                <a:gd name="T6" fmla="*/ 24 w 45"/>
                <a:gd name="T7" fmla="*/ 49 h 49"/>
                <a:gd name="T8" fmla="*/ 0 w 45"/>
                <a:gd name="T9" fmla="*/ 2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49">
                  <a:moveTo>
                    <a:pt x="0" y="24"/>
                  </a:moveTo>
                  <a:lnTo>
                    <a:pt x="21" y="0"/>
                  </a:lnTo>
                  <a:lnTo>
                    <a:pt x="45" y="22"/>
                  </a:lnTo>
                  <a:lnTo>
                    <a:pt x="24" y="49"/>
                  </a:lnTo>
                  <a:lnTo>
                    <a:pt x="0" y="2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21">
              <a:extLst>
                <a:ext uri="{FF2B5EF4-FFF2-40B4-BE49-F238E27FC236}">
                  <a16:creationId xmlns:a16="http://schemas.microsoft.com/office/drawing/2014/main" id="{F03DC9DB-8EBE-4D80-B509-04FFDBF149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6066" y="3622199"/>
              <a:ext cx="492877" cy="634137"/>
            </a:xfrm>
            <a:custGeom>
              <a:avLst/>
              <a:gdLst>
                <a:gd name="T0" fmla="*/ 0 w 321"/>
                <a:gd name="T1" fmla="*/ 41 h 413"/>
                <a:gd name="T2" fmla="*/ 15 w 321"/>
                <a:gd name="T3" fmla="*/ 106 h 413"/>
                <a:gd name="T4" fmla="*/ 30 w 321"/>
                <a:gd name="T5" fmla="*/ 115 h 413"/>
                <a:gd name="T6" fmla="*/ 11 w 321"/>
                <a:gd name="T7" fmla="*/ 123 h 413"/>
                <a:gd name="T8" fmla="*/ 30 w 321"/>
                <a:gd name="T9" fmla="*/ 160 h 413"/>
                <a:gd name="T10" fmla="*/ 2 w 321"/>
                <a:gd name="T11" fmla="*/ 194 h 413"/>
                <a:gd name="T12" fmla="*/ 28 w 321"/>
                <a:gd name="T13" fmla="*/ 211 h 413"/>
                <a:gd name="T14" fmla="*/ 7 w 321"/>
                <a:gd name="T15" fmla="*/ 253 h 413"/>
                <a:gd name="T16" fmla="*/ 19 w 321"/>
                <a:gd name="T17" fmla="*/ 306 h 413"/>
                <a:gd name="T18" fmla="*/ 60 w 321"/>
                <a:gd name="T19" fmla="*/ 306 h 413"/>
                <a:gd name="T20" fmla="*/ 41 w 321"/>
                <a:gd name="T21" fmla="*/ 359 h 413"/>
                <a:gd name="T22" fmla="*/ 66 w 321"/>
                <a:gd name="T23" fmla="*/ 370 h 413"/>
                <a:gd name="T24" fmla="*/ 60 w 321"/>
                <a:gd name="T25" fmla="*/ 393 h 413"/>
                <a:gd name="T26" fmla="*/ 117 w 321"/>
                <a:gd name="T27" fmla="*/ 413 h 413"/>
                <a:gd name="T28" fmla="*/ 136 w 321"/>
                <a:gd name="T29" fmla="*/ 381 h 413"/>
                <a:gd name="T30" fmla="*/ 162 w 321"/>
                <a:gd name="T31" fmla="*/ 404 h 413"/>
                <a:gd name="T32" fmla="*/ 194 w 321"/>
                <a:gd name="T33" fmla="*/ 383 h 413"/>
                <a:gd name="T34" fmla="*/ 221 w 321"/>
                <a:gd name="T35" fmla="*/ 387 h 413"/>
                <a:gd name="T36" fmla="*/ 219 w 321"/>
                <a:gd name="T37" fmla="*/ 351 h 413"/>
                <a:gd name="T38" fmla="*/ 313 w 321"/>
                <a:gd name="T39" fmla="*/ 296 h 413"/>
                <a:gd name="T40" fmla="*/ 321 w 321"/>
                <a:gd name="T41" fmla="*/ 279 h 413"/>
                <a:gd name="T42" fmla="*/ 306 w 321"/>
                <a:gd name="T43" fmla="*/ 272 h 413"/>
                <a:gd name="T44" fmla="*/ 306 w 321"/>
                <a:gd name="T45" fmla="*/ 251 h 413"/>
                <a:gd name="T46" fmla="*/ 247 w 321"/>
                <a:gd name="T47" fmla="*/ 217 h 413"/>
                <a:gd name="T48" fmla="*/ 240 w 321"/>
                <a:gd name="T49" fmla="*/ 164 h 413"/>
                <a:gd name="T50" fmla="*/ 238 w 321"/>
                <a:gd name="T51" fmla="*/ 160 h 413"/>
                <a:gd name="T52" fmla="*/ 196 w 321"/>
                <a:gd name="T53" fmla="*/ 77 h 413"/>
                <a:gd name="T54" fmla="*/ 166 w 321"/>
                <a:gd name="T55" fmla="*/ 64 h 413"/>
                <a:gd name="T56" fmla="*/ 172 w 321"/>
                <a:gd name="T57" fmla="*/ 81 h 413"/>
                <a:gd name="T58" fmla="*/ 104 w 321"/>
                <a:gd name="T59" fmla="*/ 89 h 413"/>
                <a:gd name="T60" fmla="*/ 100 w 321"/>
                <a:gd name="T61" fmla="*/ 45 h 413"/>
                <a:gd name="T62" fmla="*/ 68 w 321"/>
                <a:gd name="T63" fmla="*/ 41 h 413"/>
                <a:gd name="T64" fmla="*/ 73 w 321"/>
                <a:gd name="T65" fmla="*/ 21 h 413"/>
                <a:gd name="T66" fmla="*/ 41 w 321"/>
                <a:gd name="T67" fmla="*/ 4 h 413"/>
                <a:gd name="T68" fmla="*/ 41 w 321"/>
                <a:gd name="T69" fmla="*/ 0 h 413"/>
                <a:gd name="T70" fmla="*/ 0 w 321"/>
                <a:gd name="T71" fmla="*/ 36 h 413"/>
                <a:gd name="T72" fmla="*/ 0 w 321"/>
                <a:gd name="T73" fmla="*/ 41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1" h="413">
                  <a:moveTo>
                    <a:pt x="0" y="41"/>
                  </a:moveTo>
                  <a:lnTo>
                    <a:pt x="15" y="106"/>
                  </a:lnTo>
                  <a:lnTo>
                    <a:pt x="30" y="115"/>
                  </a:lnTo>
                  <a:lnTo>
                    <a:pt x="11" y="123"/>
                  </a:lnTo>
                  <a:lnTo>
                    <a:pt x="30" y="160"/>
                  </a:lnTo>
                  <a:lnTo>
                    <a:pt x="2" y="194"/>
                  </a:lnTo>
                  <a:lnTo>
                    <a:pt x="28" y="211"/>
                  </a:lnTo>
                  <a:lnTo>
                    <a:pt x="7" y="253"/>
                  </a:lnTo>
                  <a:lnTo>
                    <a:pt x="19" y="306"/>
                  </a:lnTo>
                  <a:lnTo>
                    <a:pt x="60" y="306"/>
                  </a:lnTo>
                  <a:lnTo>
                    <a:pt x="41" y="359"/>
                  </a:lnTo>
                  <a:lnTo>
                    <a:pt x="66" y="370"/>
                  </a:lnTo>
                  <a:lnTo>
                    <a:pt x="60" y="393"/>
                  </a:lnTo>
                  <a:lnTo>
                    <a:pt x="117" y="413"/>
                  </a:lnTo>
                  <a:lnTo>
                    <a:pt x="136" y="381"/>
                  </a:lnTo>
                  <a:lnTo>
                    <a:pt x="162" y="404"/>
                  </a:lnTo>
                  <a:lnTo>
                    <a:pt x="194" y="383"/>
                  </a:lnTo>
                  <a:lnTo>
                    <a:pt x="221" y="387"/>
                  </a:lnTo>
                  <a:lnTo>
                    <a:pt x="219" y="351"/>
                  </a:lnTo>
                  <a:lnTo>
                    <a:pt x="313" y="296"/>
                  </a:lnTo>
                  <a:lnTo>
                    <a:pt x="321" y="279"/>
                  </a:lnTo>
                  <a:lnTo>
                    <a:pt x="306" y="272"/>
                  </a:lnTo>
                  <a:lnTo>
                    <a:pt x="306" y="251"/>
                  </a:lnTo>
                  <a:lnTo>
                    <a:pt x="247" y="217"/>
                  </a:lnTo>
                  <a:lnTo>
                    <a:pt x="240" y="164"/>
                  </a:lnTo>
                  <a:lnTo>
                    <a:pt x="238" y="160"/>
                  </a:lnTo>
                  <a:lnTo>
                    <a:pt x="196" y="77"/>
                  </a:lnTo>
                  <a:lnTo>
                    <a:pt x="166" y="64"/>
                  </a:lnTo>
                  <a:lnTo>
                    <a:pt x="172" y="81"/>
                  </a:lnTo>
                  <a:lnTo>
                    <a:pt x="104" y="89"/>
                  </a:lnTo>
                  <a:lnTo>
                    <a:pt x="100" y="45"/>
                  </a:lnTo>
                  <a:lnTo>
                    <a:pt x="68" y="41"/>
                  </a:lnTo>
                  <a:lnTo>
                    <a:pt x="73" y="21"/>
                  </a:lnTo>
                  <a:lnTo>
                    <a:pt x="41" y="4"/>
                  </a:lnTo>
                  <a:lnTo>
                    <a:pt x="41" y="0"/>
                  </a:lnTo>
                  <a:lnTo>
                    <a:pt x="0" y="36"/>
                  </a:lnTo>
                  <a:lnTo>
                    <a:pt x="0" y="4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22">
              <a:extLst>
                <a:ext uri="{FF2B5EF4-FFF2-40B4-BE49-F238E27FC236}">
                  <a16:creationId xmlns:a16="http://schemas.microsoft.com/office/drawing/2014/main" id="{1C191D29-A574-4CEB-B221-61535CB8C1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4779" y="3256764"/>
              <a:ext cx="148938" cy="214962"/>
            </a:xfrm>
            <a:custGeom>
              <a:avLst/>
              <a:gdLst>
                <a:gd name="T0" fmla="*/ 2 w 97"/>
                <a:gd name="T1" fmla="*/ 32 h 140"/>
                <a:gd name="T2" fmla="*/ 17 w 97"/>
                <a:gd name="T3" fmla="*/ 96 h 140"/>
                <a:gd name="T4" fmla="*/ 51 w 97"/>
                <a:gd name="T5" fmla="*/ 113 h 140"/>
                <a:gd name="T6" fmla="*/ 40 w 97"/>
                <a:gd name="T7" fmla="*/ 119 h 140"/>
                <a:gd name="T8" fmla="*/ 51 w 97"/>
                <a:gd name="T9" fmla="*/ 140 h 140"/>
                <a:gd name="T10" fmla="*/ 61 w 97"/>
                <a:gd name="T11" fmla="*/ 119 h 140"/>
                <a:gd name="T12" fmla="*/ 97 w 97"/>
                <a:gd name="T13" fmla="*/ 115 h 140"/>
                <a:gd name="T14" fmla="*/ 83 w 97"/>
                <a:gd name="T15" fmla="*/ 79 h 140"/>
                <a:gd name="T16" fmla="*/ 63 w 97"/>
                <a:gd name="T17" fmla="*/ 81 h 140"/>
                <a:gd name="T18" fmla="*/ 70 w 97"/>
                <a:gd name="T19" fmla="*/ 36 h 140"/>
                <a:gd name="T20" fmla="*/ 23 w 97"/>
                <a:gd name="T21" fmla="*/ 4 h 140"/>
                <a:gd name="T22" fmla="*/ 21 w 97"/>
                <a:gd name="T23" fmla="*/ 0 h 140"/>
                <a:gd name="T24" fmla="*/ 15 w 97"/>
                <a:gd name="T25" fmla="*/ 2 h 140"/>
                <a:gd name="T26" fmla="*/ 0 w 97"/>
                <a:gd name="T27" fmla="*/ 28 h 140"/>
                <a:gd name="T28" fmla="*/ 2 w 97"/>
                <a:gd name="T29" fmla="*/ 3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" h="140">
                  <a:moveTo>
                    <a:pt x="2" y="32"/>
                  </a:moveTo>
                  <a:lnTo>
                    <a:pt x="17" y="96"/>
                  </a:lnTo>
                  <a:lnTo>
                    <a:pt x="51" y="113"/>
                  </a:lnTo>
                  <a:lnTo>
                    <a:pt x="40" y="119"/>
                  </a:lnTo>
                  <a:lnTo>
                    <a:pt x="51" y="140"/>
                  </a:lnTo>
                  <a:lnTo>
                    <a:pt x="61" y="119"/>
                  </a:lnTo>
                  <a:lnTo>
                    <a:pt x="97" y="115"/>
                  </a:lnTo>
                  <a:lnTo>
                    <a:pt x="83" y="79"/>
                  </a:lnTo>
                  <a:lnTo>
                    <a:pt x="63" y="81"/>
                  </a:lnTo>
                  <a:lnTo>
                    <a:pt x="70" y="36"/>
                  </a:lnTo>
                  <a:lnTo>
                    <a:pt x="23" y="4"/>
                  </a:lnTo>
                  <a:lnTo>
                    <a:pt x="21" y="0"/>
                  </a:lnTo>
                  <a:lnTo>
                    <a:pt x="15" y="2"/>
                  </a:lnTo>
                  <a:lnTo>
                    <a:pt x="0" y="28"/>
                  </a:lnTo>
                  <a:lnTo>
                    <a:pt x="2" y="32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23">
              <a:extLst>
                <a:ext uri="{FF2B5EF4-FFF2-40B4-BE49-F238E27FC236}">
                  <a16:creationId xmlns:a16="http://schemas.microsoft.com/office/drawing/2014/main" id="{6F00BD7F-713D-4884-A2FF-B7391E596C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3914" y="5196026"/>
              <a:ext cx="429923" cy="492877"/>
            </a:xfrm>
            <a:custGeom>
              <a:avLst/>
              <a:gdLst>
                <a:gd name="T0" fmla="*/ 0 w 280"/>
                <a:gd name="T1" fmla="*/ 212 h 321"/>
                <a:gd name="T2" fmla="*/ 19 w 280"/>
                <a:gd name="T3" fmla="*/ 204 h 321"/>
                <a:gd name="T4" fmla="*/ 8 w 280"/>
                <a:gd name="T5" fmla="*/ 176 h 321"/>
                <a:gd name="T6" fmla="*/ 80 w 280"/>
                <a:gd name="T7" fmla="*/ 168 h 321"/>
                <a:gd name="T8" fmla="*/ 25 w 280"/>
                <a:gd name="T9" fmla="*/ 119 h 321"/>
                <a:gd name="T10" fmla="*/ 8 w 280"/>
                <a:gd name="T11" fmla="*/ 72 h 321"/>
                <a:gd name="T12" fmla="*/ 59 w 280"/>
                <a:gd name="T13" fmla="*/ 0 h 321"/>
                <a:gd name="T14" fmla="*/ 93 w 280"/>
                <a:gd name="T15" fmla="*/ 47 h 321"/>
                <a:gd name="T16" fmla="*/ 159 w 280"/>
                <a:gd name="T17" fmla="*/ 72 h 321"/>
                <a:gd name="T18" fmla="*/ 204 w 280"/>
                <a:gd name="T19" fmla="*/ 83 h 321"/>
                <a:gd name="T20" fmla="*/ 270 w 280"/>
                <a:gd name="T21" fmla="*/ 57 h 321"/>
                <a:gd name="T22" fmla="*/ 280 w 280"/>
                <a:gd name="T23" fmla="*/ 91 h 321"/>
                <a:gd name="T24" fmla="*/ 227 w 280"/>
                <a:gd name="T25" fmla="*/ 168 h 321"/>
                <a:gd name="T26" fmla="*/ 236 w 280"/>
                <a:gd name="T27" fmla="*/ 202 h 321"/>
                <a:gd name="T28" fmla="*/ 184 w 280"/>
                <a:gd name="T29" fmla="*/ 244 h 321"/>
                <a:gd name="T30" fmla="*/ 180 w 280"/>
                <a:gd name="T31" fmla="*/ 234 h 321"/>
                <a:gd name="T32" fmla="*/ 138 w 280"/>
                <a:gd name="T33" fmla="*/ 255 h 321"/>
                <a:gd name="T34" fmla="*/ 138 w 280"/>
                <a:gd name="T35" fmla="*/ 293 h 321"/>
                <a:gd name="T36" fmla="*/ 89 w 280"/>
                <a:gd name="T37" fmla="*/ 300 h 321"/>
                <a:gd name="T38" fmla="*/ 82 w 280"/>
                <a:gd name="T39" fmla="*/ 321 h 321"/>
                <a:gd name="T40" fmla="*/ 68 w 280"/>
                <a:gd name="T41" fmla="*/ 304 h 321"/>
                <a:gd name="T42" fmla="*/ 76 w 280"/>
                <a:gd name="T43" fmla="*/ 278 h 321"/>
                <a:gd name="T44" fmla="*/ 46 w 280"/>
                <a:gd name="T45" fmla="*/ 268 h 321"/>
                <a:gd name="T46" fmla="*/ 31 w 280"/>
                <a:gd name="T47" fmla="*/ 229 h 321"/>
                <a:gd name="T48" fmla="*/ 0 w 280"/>
                <a:gd name="T49" fmla="*/ 215 h 321"/>
                <a:gd name="T50" fmla="*/ 0 w 280"/>
                <a:gd name="T51" fmla="*/ 21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80" h="321">
                  <a:moveTo>
                    <a:pt x="0" y="212"/>
                  </a:moveTo>
                  <a:lnTo>
                    <a:pt x="19" y="204"/>
                  </a:lnTo>
                  <a:lnTo>
                    <a:pt x="8" y="176"/>
                  </a:lnTo>
                  <a:lnTo>
                    <a:pt x="80" y="168"/>
                  </a:lnTo>
                  <a:lnTo>
                    <a:pt x="25" y="119"/>
                  </a:lnTo>
                  <a:lnTo>
                    <a:pt x="8" y="72"/>
                  </a:lnTo>
                  <a:lnTo>
                    <a:pt x="59" y="0"/>
                  </a:lnTo>
                  <a:lnTo>
                    <a:pt x="93" y="47"/>
                  </a:lnTo>
                  <a:lnTo>
                    <a:pt x="159" y="72"/>
                  </a:lnTo>
                  <a:lnTo>
                    <a:pt x="204" y="83"/>
                  </a:lnTo>
                  <a:lnTo>
                    <a:pt x="270" y="57"/>
                  </a:lnTo>
                  <a:lnTo>
                    <a:pt x="280" y="91"/>
                  </a:lnTo>
                  <a:lnTo>
                    <a:pt x="227" y="168"/>
                  </a:lnTo>
                  <a:lnTo>
                    <a:pt x="236" y="202"/>
                  </a:lnTo>
                  <a:lnTo>
                    <a:pt x="184" y="244"/>
                  </a:lnTo>
                  <a:lnTo>
                    <a:pt x="180" y="234"/>
                  </a:lnTo>
                  <a:lnTo>
                    <a:pt x="138" y="255"/>
                  </a:lnTo>
                  <a:lnTo>
                    <a:pt x="138" y="293"/>
                  </a:lnTo>
                  <a:lnTo>
                    <a:pt x="89" y="300"/>
                  </a:lnTo>
                  <a:lnTo>
                    <a:pt x="82" y="321"/>
                  </a:lnTo>
                  <a:lnTo>
                    <a:pt x="68" y="304"/>
                  </a:lnTo>
                  <a:lnTo>
                    <a:pt x="76" y="278"/>
                  </a:lnTo>
                  <a:lnTo>
                    <a:pt x="46" y="268"/>
                  </a:lnTo>
                  <a:lnTo>
                    <a:pt x="31" y="229"/>
                  </a:lnTo>
                  <a:lnTo>
                    <a:pt x="0" y="215"/>
                  </a:lnTo>
                  <a:lnTo>
                    <a:pt x="0" y="212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24">
              <a:extLst>
                <a:ext uri="{FF2B5EF4-FFF2-40B4-BE49-F238E27FC236}">
                  <a16:creationId xmlns:a16="http://schemas.microsoft.com/office/drawing/2014/main" id="{132AA451-A397-4602-B459-40156E1D7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9020" y="3335072"/>
              <a:ext cx="495948" cy="532798"/>
            </a:xfrm>
            <a:custGeom>
              <a:avLst/>
              <a:gdLst>
                <a:gd name="T0" fmla="*/ 0 w 323"/>
                <a:gd name="T1" fmla="*/ 191 h 347"/>
                <a:gd name="T2" fmla="*/ 32 w 323"/>
                <a:gd name="T3" fmla="*/ 208 h 347"/>
                <a:gd name="T4" fmla="*/ 27 w 323"/>
                <a:gd name="T5" fmla="*/ 228 h 347"/>
                <a:gd name="T6" fmla="*/ 59 w 323"/>
                <a:gd name="T7" fmla="*/ 232 h 347"/>
                <a:gd name="T8" fmla="*/ 63 w 323"/>
                <a:gd name="T9" fmla="*/ 276 h 347"/>
                <a:gd name="T10" fmla="*/ 131 w 323"/>
                <a:gd name="T11" fmla="*/ 268 h 347"/>
                <a:gd name="T12" fmla="*/ 125 w 323"/>
                <a:gd name="T13" fmla="*/ 251 h 347"/>
                <a:gd name="T14" fmla="*/ 155 w 323"/>
                <a:gd name="T15" fmla="*/ 264 h 347"/>
                <a:gd name="T16" fmla="*/ 197 w 323"/>
                <a:gd name="T17" fmla="*/ 347 h 347"/>
                <a:gd name="T18" fmla="*/ 231 w 323"/>
                <a:gd name="T19" fmla="*/ 344 h 347"/>
                <a:gd name="T20" fmla="*/ 246 w 323"/>
                <a:gd name="T21" fmla="*/ 259 h 347"/>
                <a:gd name="T22" fmla="*/ 272 w 323"/>
                <a:gd name="T23" fmla="*/ 245 h 347"/>
                <a:gd name="T24" fmla="*/ 297 w 323"/>
                <a:gd name="T25" fmla="*/ 251 h 347"/>
                <a:gd name="T26" fmla="*/ 323 w 323"/>
                <a:gd name="T27" fmla="*/ 219 h 347"/>
                <a:gd name="T28" fmla="*/ 319 w 323"/>
                <a:gd name="T29" fmla="*/ 191 h 347"/>
                <a:gd name="T30" fmla="*/ 297 w 323"/>
                <a:gd name="T31" fmla="*/ 153 h 347"/>
                <a:gd name="T32" fmla="*/ 263 w 323"/>
                <a:gd name="T33" fmla="*/ 149 h 347"/>
                <a:gd name="T34" fmla="*/ 272 w 323"/>
                <a:gd name="T35" fmla="*/ 96 h 347"/>
                <a:gd name="T36" fmla="*/ 248 w 323"/>
                <a:gd name="T37" fmla="*/ 36 h 347"/>
                <a:gd name="T38" fmla="*/ 221 w 323"/>
                <a:gd name="T39" fmla="*/ 26 h 347"/>
                <a:gd name="T40" fmla="*/ 206 w 323"/>
                <a:gd name="T41" fmla="*/ 36 h 347"/>
                <a:gd name="T42" fmla="*/ 206 w 323"/>
                <a:gd name="T43" fmla="*/ 6 h 347"/>
                <a:gd name="T44" fmla="*/ 146 w 323"/>
                <a:gd name="T45" fmla="*/ 0 h 347"/>
                <a:gd name="T46" fmla="*/ 104 w 323"/>
                <a:gd name="T47" fmla="*/ 26 h 347"/>
                <a:gd name="T48" fmla="*/ 89 w 323"/>
                <a:gd name="T49" fmla="*/ 17 h 347"/>
                <a:gd name="T50" fmla="*/ 85 w 323"/>
                <a:gd name="T51" fmla="*/ 43 h 347"/>
                <a:gd name="T52" fmla="*/ 49 w 323"/>
                <a:gd name="T53" fmla="*/ 28 h 347"/>
                <a:gd name="T54" fmla="*/ 0 w 323"/>
                <a:gd name="T55" fmla="*/ 187 h 347"/>
                <a:gd name="T56" fmla="*/ 0 w 323"/>
                <a:gd name="T57" fmla="*/ 191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3" h="347">
                  <a:moveTo>
                    <a:pt x="0" y="191"/>
                  </a:moveTo>
                  <a:lnTo>
                    <a:pt x="32" y="208"/>
                  </a:lnTo>
                  <a:lnTo>
                    <a:pt x="27" y="228"/>
                  </a:lnTo>
                  <a:lnTo>
                    <a:pt x="59" y="232"/>
                  </a:lnTo>
                  <a:lnTo>
                    <a:pt x="63" y="276"/>
                  </a:lnTo>
                  <a:lnTo>
                    <a:pt x="131" y="268"/>
                  </a:lnTo>
                  <a:lnTo>
                    <a:pt x="125" y="251"/>
                  </a:lnTo>
                  <a:lnTo>
                    <a:pt x="155" y="264"/>
                  </a:lnTo>
                  <a:lnTo>
                    <a:pt x="197" y="347"/>
                  </a:lnTo>
                  <a:lnTo>
                    <a:pt x="231" y="344"/>
                  </a:lnTo>
                  <a:lnTo>
                    <a:pt x="246" y="259"/>
                  </a:lnTo>
                  <a:lnTo>
                    <a:pt x="272" y="245"/>
                  </a:lnTo>
                  <a:lnTo>
                    <a:pt x="297" y="251"/>
                  </a:lnTo>
                  <a:lnTo>
                    <a:pt x="323" y="219"/>
                  </a:lnTo>
                  <a:lnTo>
                    <a:pt x="319" y="191"/>
                  </a:lnTo>
                  <a:lnTo>
                    <a:pt x="297" y="153"/>
                  </a:lnTo>
                  <a:lnTo>
                    <a:pt x="263" y="149"/>
                  </a:lnTo>
                  <a:lnTo>
                    <a:pt x="272" y="96"/>
                  </a:lnTo>
                  <a:lnTo>
                    <a:pt x="248" y="36"/>
                  </a:lnTo>
                  <a:lnTo>
                    <a:pt x="221" y="26"/>
                  </a:lnTo>
                  <a:lnTo>
                    <a:pt x="206" y="36"/>
                  </a:lnTo>
                  <a:lnTo>
                    <a:pt x="206" y="6"/>
                  </a:lnTo>
                  <a:lnTo>
                    <a:pt x="146" y="0"/>
                  </a:lnTo>
                  <a:lnTo>
                    <a:pt x="104" y="26"/>
                  </a:lnTo>
                  <a:lnTo>
                    <a:pt x="89" y="17"/>
                  </a:lnTo>
                  <a:lnTo>
                    <a:pt x="85" y="43"/>
                  </a:lnTo>
                  <a:lnTo>
                    <a:pt x="49" y="28"/>
                  </a:lnTo>
                  <a:lnTo>
                    <a:pt x="0" y="187"/>
                  </a:lnTo>
                  <a:lnTo>
                    <a:pt x="0" y="19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25">
              <a:extLst>
                <a:ext uri="{FF2B5EF4-FFF2-40B4-BE49-F238E27FC236}">
                  <a16:creationId xmlns:a16="http://schemas.microsoft.com/office/drawing/2014/main" id="{98071D8F-4109-4F8C-98D7-9065371B45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6345" y="5731895"/>
              <a:ext cx="635672" cy="446814"/>
            </a:xfrm>
            <a:custGeom>
              <a:avLst/>
              <a:gdLst>
                <a:gd name="T0" fmla="*/ 4 w 414"/>
                <a:gd name="T1" fmla="*/ 61 h 291"/>
                <a:gd name="T2" fmla="*/ 13 w 414"/>
                <a:gd name="T3" fmla="*/ 42 h 291"/>
                <a:gd name="T4" fmla="*/ 34 w 414"/>
                <a:gd name="T5" fmla="*/ 40 h 291"/>
                <a:gd name="T6" fmla="*/ 45 w 414"/>
                <a:gd name="T7" fmla="*/ 4 h 291"/>
                <a:gd name="T8" fmla="*/ 59 w 414"/>
                <a:gd name="T9" fmla="*/ 21 h 291"/>
                <a:gd name="T10" fmla="*/ 93 w 414"/>
                <a:gd name="T11" fmla="*/ 8 h 291"/>
                <a:gd name="T12" fmla="*/ 140 w 414"/>
                <a:gd name="T13" fmla="*/ 27 h 291"/>
                <a:gd name="T14" fmla="*/ 153 w 414"/>
                <a:gd name="T15" fmla="*/ 0 h 291"/>
                <a:gd name="T16" fmla="*/ 236 w 414"/>
                <a:gd name="T17" fmla="*/ 14 h 291"/>
                <a:gd name="T18" fmla="*/ 229 w 414"/>
                <a:gd name="T19" fmla="*/ 40 h 291"/>
                <a:gd name="T20" fmla="*/ 227 w 414"/>
                <a:gd name="T21" fmla="*/ 42 h 291"/>
                <a:gd name="T22" fmla="*/ 249 w 414"/>
                <a:gd name="T23" fmla="*/ 63 h 291"/>
                <a:gd name="T24" fmla="*/ 268 w 414"/>
                <a:gd name="T25" fmla="*/ 53 h 291"/>
                <a:gd name="T26" fmla="*/ 285 w 414"/>
                <a:gd name="T27" fmla="*/ 76 h 291"/>
                <a:gd name="T28" fmla="*/ 317 w 414"/>
                <a:gd name="T29" fmla="*/ 31 h 291"/>
                <a:gd name="T30" fmla="*/ 323 w 414"/>
                <a:gd name="T31" fmla="*/ 51 h 291"/>
                <a:gd name="T32" fmla="*/ 414 w 414"/>
                <a:gd name="T33" fmla="*/ 91 h 291"/>
                <a:gd name="T34" fmla="*/ 374 w 414"/>
                <a:gd name="T35" fmla="*/ 146 h 291"/>
                <a:gd name="T36" fmla="*/ 372 w 414"/>
                <a:gd name="T37" fmla="*/ 148 h 291"/>
                <a:gd name="T38" fmla="*/ 359 w 414"/>
                <a:gd name="T39" fmla="*/ 191 h 291"/>
                <a:gd name="T40" fmla="*/ 361 w 414"/>
                <a:gd name="T41" fmla="*/ 229 h 291"/>
                <a:gd name="T42" fmla="*/ 357 w 414"/>
                <a:gd name="T43" fmla="*/ 227 h 291"/>
                <a:gd name="T44" fmla="*/ 342 w 414"/>
                <a:gd name="T45" fmla="*/ 219 h 291"/>
                <a:gd name="T46" fmla="*/ 314 w 414"/>
                <a:gd name="T47" fmla="*/ 199 h 291"/>
                <a:gd name="T48" fmla="*/ 278 w 414"/>
                <a:gd name="T49" fmla="*/ 231 h 291"/>
                <a:gd name="T50" fmla="*/ 181 w 414"/>
                <a:gd name="T51" fmla="*/ 225 h 291"/>
                <a:gd name="T52" fmla="*/ 170 w 414"/>
                <a:gd name="T53" fmla="*/ 229 h 291"/>
                <a:gd name="T54" fmla="*/ 178 w 414"/>
                <a:gd name="T55" fmla="*/ 265 h 291"/>
                <a:gd name="T56" fmla="*/ 125 w 414"/>
                <a:gd name="T57" fmla="*/ 291 h 291"/>
                <a:gd name="T58" fmla="*/ 102 w 414"/>
                <a:gd name="T59" fmla="*/ 257 h 291"/>
                <a:gd name="T60" fmla="*/ 68 w 414"/>
                <a:gd name="T61" fmla="*/ 263 h 291"/>
                <a:gd name="T62" fmla="*/ 42 w 414"/>
                <a:gd name="T63" fmla="*/ 231 h 291"/>
                <a:gd name="T64" fmla="*/ 79 w 414"/>
                <a:gd name="T65" fmla="*/ 212 h 291"/>
                <a:gd name="T66" fmla="*/ 64 w 414"/>
                <a:gd name="T67" fmla="*/ 189 h 291"/>
                <a:gd name="T68" fmla="*/ 83 w 414"/>
                <a:gd name="T69" fmla="*/ 182 h 291"/>
                <a:gd name="T70" fmla="*/ 79 w 414"/>
                <a:gd name="T71" fmla="*/ 155 h 291"/>
                <a:gd name="T72" fmla="*/ 68 w 414"/>
                <a:gd name="T73" fmla="*/ 121 h 291"/>
                <a:gd name="T74" fmla="*/ 6 w 414"/>
                <a:gd name="T75" fmla="*/ 95 h 291"/>
                <a:gd name="T76" fmla="*/ 0 w 414"/>
                <a:gd name="T77" fmla="*/ 65 h 291"/>
                <a:gd name="T78" fmla="*/ 4 w 414"/>
                <a:gd name="T79" fmla="*/ 61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14" h="291">
                  <a:moveTo>
                    <a:pt x="4" y="61"/>
                  </a:moveTo>
                  <a:lnTo>
                    <a:pt x="13" y="42"/>
                  </a:lnTo>
                  <a:lnTo>
                    <a:pt x="34" y="40"/>
                  </a:lnTo>
                  <a:lnTo>
                    <a:pt x="45" y="4"/>
                  </a:lnTo>
                  <a:lnTo>
                    <a:pt x="59" y="21"/>
                  </a:lnTo>
                  <a:lnTo>
                    <a:pt x="93" y="8"/>
                  </a:lnTo>
                  <a:lnTo>
                    <a:pt x="140" y="27"/>
                  </a:lnTo>
                  <a:lnTo>
                    <a:pt x="153" y="0"/>
                  </a:lnTo>
                  <a:lnTo>
                    <a:pt x="236" y="14"/>
                  </a:lnTo>
                  <a:lnTo>
                    <a:pt x="229" y="40"/>
                  </a:lnTo>
                  <a:lnTo>
                    <a:pt x="227" y="42"/>
                  </a:lnTo>
                  <a:lnTo>
                    <a:pt x="249" y="63"/>
                  </a:lnTo>
                  <a:lnTo>
                    <a:pt x="268" y="53"/>
                  </a:lnTo>
                  <a:lnTo>
                    <a:pt x="285" y="76"/>
                  </a:lnTo>
                  <a:lnTo>
                    <a:pt x="317" y="31"/>
                  </a:lnTo>
                  <a:lnTo>
                    <a:pt x="323" y="51"/>
                  </a:lnTo>
                  <a:lnTo>
                    <a:pt x="414" y="91"/>
                  </a:lnTo>
                  <a:lnTo>
                    <a:pt x="374" y="146"/>
                  </a:lnTo>
                  <a:lnTo>
                    <a:pt x="372" y="148"/>
                  </a:lnTo>
                  <a:lnTo>
                    <a:pt x="359" y="191"/>
                  </a:lnTo>
                  <a:lnTo>
                    <a:pt x="361" y="229"/>
                  </a:lnTo>
                  <a:lnTo>
                    <a:pt x="357" y="227"/>
                  </a:lnTo>
                  <a:lnTo>
                    <a:pt x="342" y="219"/>
                  </a:lnTo>
                  <a:lnTo>
                    <a:pt x="314" y="199"/>
                  </a:lnTo>
                  <a:lnTo>
                    <a:pt x="278" y="231"/>
                  </a:lnTo>
                  <a:lnTo>
                    <a:pt x="181" y="225"/>
                  </a:lnTo>
                  <a:lnTo>
                    <a:pt x="170" y="229"/>
                  </a:lnTo>
                  <a:lnTo>
                    <a:pt x="178" y="265"/>
                  </a:lnTo>
                  <a:lnTo>
                    <a:pt x="125" y="291"/>
                  </a:lnTo>
                  <a:lnTo>
                    <a:pt x="102" y="257"/>
                  </a:lnTo>
                  <a:lnTo>
                    <a:pt x="68" y="263"/>
                  </a:lnTo>
                  <a:lnTo>
                    <a:pt x="42" y="231"/>
                  </a:lnTo>
                  <a:lnTo>
                    <a:pt x="79" y="212"/>
                  </a:lnTo>
                  <a:lnTo>
                    <a:pt x="64" y="189"/>
                  </a:lnTo>
                  <a:lnTo>
                    <a:pt x="83" y="182"/>
                  </a:lnTo>
                  <a:lnTo>
                    <a:pt x="79" y="155"/>
                  </a:lnTo>
                  <a:lnTo>
                    <a:pt x="68" y="121"/>
                  </a:lnTo>
                  <a:lnTo>
                    <a:pt x="6" y="95"/>
                  </a:lnTo>
                  <a:lnTo>
                    <a:pt x="0" y="65"/>
                  </a:lnTo>
                  <a:lnTo>
                    <a:pt x="4" y="6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26">
              <a:extLst>
                <a:ext uri="{FF2B5EF4-FFF2-40B4-BE49-F238E27FC236}">
                  <a16:creationId xmlns:a16="http://schemas.microsoft.com/office/drawing/2014/main" id="{C3CCB2A7-530C-48FB-BF11-084C2408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0593" y="2352390"/>
              <a:ext cx="597287" cy="365435"/>
            </a:xfrm>
            <a:custGeom>
              <a:avLst/>
              <a:gdLst>
                <a:gd name="T0" fmla="*/ 0 w 389"/>
                <a:gd name="T1" fmla="*/ 204 h 238"/>
                <a:gd name="T2" fmla="*/ 34 w 389"/>
                <a:gd name="T3" fmla="*/ 181 h 238"/>
                <a:gd name="T4" fmla="*/ 28 w 389"/>
                <a:gd name="T5" fmla="*/ 160 h 238"/>
                <a:gd name="T6" fmla="*/ 53 w 389"/>
                <a:gd name="T7" fmla="*/ 160 h 238"/>
                <a:gd name="T8" fmla="*/ 72 w 389"/>
                <a:gd name="T9" fmla="*/ 136 h 238"/>
                <a:gd name="T10" fmla="*/ 70 w 389"/>
                <a:gd name="T11" fmla="*/ 98 h 238"/>
                <a:gd name="T12" fmla="*/ 55 w 389"/>
                <a:gd name="T13" fmla="*/ 87 h 238"/>
                <a:gd name="T14" fmla="*/ 70 w 389"/>
                <a:gd name="T15" fmla="*/ 72 h 238"/>
                <a:gd name="T16" fmla="*/ 40 w 389"/>
                <a:gd name="T17" fmla="*/ 70 h 238"/>
                <a:gd name="T18" fmla="*/ 15 w 389"/>
                <a:gd name="T19" fmla="*/ 43 h 238"/>
                <a:gd name="T20" fmla="*/ 19 w 389"/>
                <a:gd name="T21" fmla="*/ 21 h 238"/>
                <a:gd name="T22" fmla="*/ 30 w 389"/>
                <a:gd name="T23" fmla="*/ 2 h 238"/>
                <a:gd name="T24" fmla="*/ 53 w 389"/>
                <a:gd name="T25" fmla="*/ 0 h 238"/>
                <a:gd name="T26" fmla="*/ 234 w 389"/>
                <a:gd name="T27" fmla="*/ 51 h 238"/>
                <a:gd name="T28" fmla="*/ 359 w 389"/>
                <a:gd name="T29" fmla="*/ 0 h 238"/>
                <a:gd name="T30" fmla="*/ 359 w 389"/>
                <a:gd name="T31" fmla="*/ 43 h 238"/>
                <a:gd name="T32" fmla="*/ 359 w 389"/>
                <a:gd name="T33" fmla="*/ 45 h 238"/>
                <a:gd name="T34" fmla="*/ 376 w 389"/>
                <a:gd name="T35" fmla="*/ 58 h 238"/>
                <a:gd name="T36" fmla="*/ 363 w 389"/>
                <a:gd name="T37" fmla="*/ 68 h 238"/>
                <a:gd name="T38" fmla="*/ 387 w 389"/>
                <a:gd name="T39" fmla="*/ 111 h 238"/>
                <a:gd name="T40" fmla="*/ 372 w 389"/>
                <a:gd name="T41" fmla="*/ 140 h 238"/>
                <a:gd name="T42" fmla="*/ 389 w 389"/>
                <a:gd name="T43" fmla="*/ 155 h 238"/>
                <a:gd name="T44" fmla="*/ 378 w 389"/>
                <a:gd name="T45" fmla="*/ 181 h 238"/>
                <a:gd name="T46" fmla="*/ 310 w 389"/>
                <a:gd name="T47" fmla="*/ 177 h 238"/>
                <a:gd name="T48" fmla="*/ 249 w 389"/>
                <a:gd name="T49" fmla="*/ 223 h 238"/>
                <a:gd name="T50" fmla="*/ 200 w 389"/>
                <a:gd name="T51" fmla="*/ 204 h 238"/>
                <a:gd name="T52" fmla="*/ 196 w 389"/>
                <a:gd name="T53" fmla="*/ 217 h 238"/>
                <a:gd name="T54" fmla="*/ 176 w 389"/>
                <a:gd name="T55" fmla="*/ 198 h 238"/>
                <a:gd name="T56" fmla="*/ 142 w 389"/>
                <a:gd name="T57" fmla="*/ 213 h 238"/>
                <a:gd name="T58" fmla="*/ 113 w 389"/>
                <a:gd name="T59" fmla="*/ 204 h 238"/>
                <a:gd name="T60" fmla="*/ 76 w 389"/>
                <a:gd name="T61" fmla="*/ 238 h 238"/>
                <a:gd name="T62" fmla="*/ 23 w 389"/>
                <a:gd name="T63" fmla="*/ 228 h 238"/>
                <a:gd name="T64" fmla="*/ 0 w 389"/>
                <a:gd name="T65" fmla="*/ 204 h 238"/>
                <a:gd name="T66" fmla="*/ 0 w 389"/>
                <a:gd name="T67" fmla="*/ 204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89" h="238">
                  <a:moveTo>
                    <a:pt x="0" y="204"/>
                  </a:moveTo>
                  <a:lnTo>
                    <a:pt x="34" y="181"/>
                  </a:lnTo>
                  <a:lnTo>
                    <a:pt x="28" y="160"/>
                  </a:lnTo>
                  <a:lnTo>
                    <a:pt x="53" y="160"/>
                  </a:lnTo>
                  <a:lnTo>
                    <a:pt x="72" y="136"/>
                  </a:lnTo>
                  <a:lnTo>
                    <a:pt x="70" y="98"/>
                  </a:lnTo>
                  <a:lnTo>
                    <a:pt x="55" y="87"/>
                  </a:lnTo>
                  <a:lnTo>
                    <a:pt x="70" y="72"/>
                  </a:lnTo>
                  <a:lnTo>
                    <a:pt x="40" y="70"/>
                  </a:lnTo>
                  <a:lnTo>
                    <a:pt x="15" y="43"/>
                  </a:lnTo>
                  <a:lnTo>
                    <a:pt x="19" y="21"/>
                  </a:lnTo>
                  <a:lnTo>
                    <a:pt x="30" y="2"/>
                  </a:lnTo>
                  <a:lnTo>
                    <a:pt x="53" y="0"/>
                  </a:lnTo>
                  <a:lnTo>
                    <a:pt x="234" y="51"/>
                  </a:lnTo>
                  <a:lnTo>
                    <a:pt x="359" y="0"/>
                  </a:lnTo>
                  <a:lnTo>
                    <a:pt x="359" y="43"/>
                  </a:lnTo>
                  <a:lnTo>
                    <a:pt x="359" y="45"/>
                  </a:lnTo>
                  <a:lnTo>
                    <a:pt x="376" y="58"/>
                  </a:lnTo>
                  <a:lnTo>
                    <a:pt x="363" y="68"/>
                  </a:lnTo>
                  <a:lnTo>
                    <a:pt x="387" y="111"/>
                  </a:lnTo>
                  <a:lnTo>
                    <a:pt x="372" y="140"/>
                  </a:lnTo>
                  <a:lnTo>
                    <a:pt x="389" y="155"/>
                  </a:lnTo>
                  <a:lnTo>
                    <a:pt x="378" y="181"/>
                  </a:lnTo>
                  <a:lnTo>
                    <a:pt x="310" y="177"/>
                  </a:lnTo>
                  <a:lnTo>
                    <a:pt x="249" y="223"/>
                  </a:lnTo>
                  <a:lnTo>
                    <a:pt x="200" y="204"/>
                  </a:lnTo>
                  <a:lnTo>
                    <a:pt x="196" y="217"/>
                  </a:lnTo>
                  <a:lnTo>
                    <a:pt x="176" y="198"/>
                  </a:lnTo>
                  <a:lnTo>
                    <a:pt x="142" y="213"/>
                  </a:lnTo>
                  <a:lnTo>
                    <a:pt x="113" y="204"/>
                  </a:lnTo>
                  <a:lnTo>
                    <a:pt x="76" y="238"/>
                  </a:lnTo>
                  <a:lnTo>
                    <a:pt x="23" y="228"/>
                  </a:lnTo>
                  <a:lnTo>
                    <a:pt x="0" y="204"/>
                  </a:lnTo>
                  <a:lnTo>
                    <a:pt x="0" y="20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27">
              <a:extLst>
                <a:ext uri="{FF2B5EF4-FFF2-40B4-BE49-F238E27FC236}">
                  <a16:creationId xmlns:a16="http://schemas.microsoft.com/office/drawing/2014/main" id="{1FD3D3E4-5E93-4C0B-95B9-5B49CAD236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8088" y="5500044"/>
              <a:ext cx="405356" cy="661775"/>
            </a:xfrm>
            <a:custGeom>
              <a:avLst/>
              <a:gdLst>
                <a:gd name="T0" fmla="*/ 4 w 264"/>
                <a:gd name="T1" fmla="*/ 229 h 431"/>
                <a:gd name="T2" fmla="*/ 72 w 264"/>
                <a:gd name="T3" fmla="*/ 246 h 431"/>
                <a:gd name="T4" fmla="*/ 85 w 264"/>
                <a:gd name="T5" fmla="*/ 272 h 431"/>
                <a:gd name="T6" fmla="*/ 124 w 264"/>
                <a:gd name="T7" fmla="*/ 291 h 431"/>
                <a:gd name="T8" fmla="*/ 153 w 264"/>
                <a:gd name="T9" fmla="*/ 359 h 431"/>
                <a:gd name="T10" fmla="*/ 170 w 264"/>
                <a:gd name="T11" fmla="*/ 359 h 431"/>
                <a:gd name="T12" fmla="*/ 170 w 264"/>
                <a:gd name="T13" fmla="*/ 421 h 431"/>
                <a:gd name="T14" fmla="*/ 194 w 264"/>
                <a:gd name="T15" fmla="*/ 431 h 431"/>
                <a:gd name="T16" fmla="*/ 217 w 264"/>
                <a:gd name="T17" fmla="*/ 418 h 431"/>
                <a:gd name="T18" fmla="*/ 262 w 264"/>
                <a:gd name="T19" fmla="*/ 331 h 431"/>
                <a:gd name="T20" fmla="*/ 264 w 264"/>
                <a:gd name="T21" fmla="*/ 270 h 431"/>
                <a:gd name="T22" fmla="*/ 257 w 264"/>
                <a:gd name="T23" fmla="*/ 168 h 431"/>
                <a:gd name="T24" fmla="*/ 236 w 264"/>
                <a:gd name="T25" fmla="*/ 127 h 431"/>
                <a:gd name="T26" fmla="*/ 247 w 264"/>
                <a:gd name="T27" fmla="*/ 70 h 431"/>
                <a:gd name="T28" fmla="*/ 232 w 264"/>
                <a:gd name="T29" fmla="*/ 0 h 431"/>
                <a:gd name="T30" fmla="*/ 211 w 264"/>
                <a:gd name="T31" fmla="*/ 4 h 431"/>
                <a:gd name="T32" fmla="*/ 202 w 264"/>
                <a:gd name="T33" fmla="*/ 114 h 431"/>
                <a:gd name="T34" fmla="*/ 158 w 264"/>
                <a:gd name="T35" fmla="*/ 97 h 431"/>
                <a:gd name="T36" fmla="*/ 51 w 264"/>
                <a:gd name="T37" fmla="*/ 163 h 431"/>
                <a:gd name="T38" fmla="*/ 38 w 264"/>
                <a:gd name="T39" fmla="*/ 153 h 431"/>
                <a:gd name="T40" fmla="*/ 21 w 264"/>
                <a:gd name="T41" fmla="*/ 210 h 431"/>
                <a:gd name="T42" fmla="*/ 0 w 264"/>
                <a:gd name="T43" fmla="*/ 225 h 431"/>
                <a:gd name="T44" fmla="*/ 4 w 264"/>
                <a:gd name="T45" fmla="*/ 229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64" h="431">
                  <a:moveTo>
                    <a:pt x="4" y="229"/>
                  </a:moveTo>
                  <a:lnTo>
                    <a:pt x="72" y="246"/>
                  </a:lnTo>
                  <a:lnTo>
                    <a:pt x="85" y="272"/>
                  </a:lnTo>
                  <a:lnTo>
                    <a:pt x="124" y="291"/>
                  </a:lnTo>
                  <a:lnTo>
                    <a:pt x="153" y="359"/>
                  </a:lnTo>
                  <a:lnTo>
                    <a:pt x="170" y="359"/>
                  </a:lnTo>
                  <a:lnTo>
                    <a:pt x="170" y="421"/>
                  </a:lnTo>
                  <a:lnTo>
                    <a:pt x="194" y="431"/>
                  </a:lnTo>
                  <a:lnTo>
                    <a:pt x="217" y="418"/>
                  </a:lnTo>
                  <a:lnTo>
                    <a:pt x="262" y="331"/>
                  </a:lnTo>
                  <a:lnTo>
                    <a:pt x="264" y="270"/>
                  </a:lnTo>
                  <a:lnTo>
                    <a:pt x="257" y="168"/>
                  </a:lnTo>
                  <a:lnTo>
                    <a:pt x="236" y="127"/>
                  </a:lnTo>
                  <a:lnTo>
                    <a:pt x="247" y="70"/>
                  </a:lnTo>
                  <a:lnTo>
                    <a:pt x="232" y="0"/>
                  </a:lnTo>
                  <a:lnTo>
                    <a:pt x="211" y="4"/>
                  </a:lnTo>
                  <a:lnTo>
                    <a:pt x="202" y="114"/>
                  </a:lnTo>
                  <a:lnTo>
                    <a:pt x="158" y="97"/>
                  </a:lnTo>
                  <a:lnTo>
                    <a:pt x="51" y="163"/>
                  </a:lnTo>
                  <a:lnTo>
                    <a:pt x="38" y="153"/>
                  </a:lnTo>
                  <a:lnTo>
                    <a:pt x="21" y="210"/>
                  </a:lnTo>
                  <a:lnTo>
                    <a:pt x="0" y="225"/>
                  </a:lnTo>
                  <a:lnTo>
                    <a:pt x="4" y="229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28">
              <a:extLst>
                <a:ext uri="{FF2B5EF4-FFF2-40B4-BE49-F238E27FC236}">
                  <a16:creationId xmlns:a16="http://schemas.microsoft.com/office/drawing/2014/main" id="{59FEB715-111B-4D0E-A932-EAFD06D87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9444" y="2642588"/>
              <a:ext cx="503624" cy="555830"/>
            </a:xfrm>
            <a:custGeom>
              <a:avLst/>
              <a:gdLst>
                <a:gd name="T0" fmla="*/ 111 w 328"/>
                <a:gd name="T1" fmla="*/ 224 h 362"/>
                <a:gd name="T2" fmla="*/ 119 w 328"/>
                <a:gd name="T3" fmla="*/ 204 h 362"/>
                <a:gd name="T4" fmla="*/ 79 w 328"/>
                <a:gd name="T5" fmla="*/ 170 h 362"/>
                <a:gd name="T6" fmla="*/ 51 w 328"/>
                <a:gd name="T7" fmla="*/ 192 h 362"/>
                <a:gd name="T8" fmla="*/ 55 w 328"/>
                <a:gd name="T9" fmla="*/ 160 h 362"/>
                <a:gd name="T10" fmla="*/ 36 w 328"/>
                <a:gd name="T11" fmla="*/ 158 h 362"/>
                <a:gd name="T12" fmla="*/ 58 w 328"/>
                <a:gd name="T13" fmla="*/ 130 h 362"/>
                <a:gd name="T14" fmla="*/ 68 w 328"/>
                <a:gd name="T15" fmla="*/ 151 h 362"/>
                <a:gd name="T16" fmla="*/ 117 w 328"/>
                <a:gd name="T17" fmla="*/ 149 h 362"/>
                <a:gd name="T18" fmla="*/ 109 w 328"/>
                <a:gd name="T19" fmla="*/ 134 h 362"/>
                <a:gd name="T20" fmla="*/ 81 w 328"/>
                <a:gd name="T21" fmla="*/ 136 h 362"/>
                <a:gd name="T22" fmla="*/ 92 w 328"/>
                <a:gd name="T23" fmla="*/ 113 h 362"/>
                <a:gd name="T24" fmla="*/ 4 w 328"/>
                <a:gd name="T25" fmla="*/ 128 h 362"/>
                <a:gd name="T26" fmla="*/ 24 w 328"/>
                <a:gd name="T27" fmla="*/ 45 h 362"/>
                <a:gd name="T28" fmla="*/ 72 w 328"/>
                <a:gd name="T29" fmla="*/ 22 h 362"/>
                <a:gd name="T30" fmla="*/ 126 w 328"/>
                <a:gd name="T31" fmla="*/ 13 h 362"/>
                <a:gd name="T32" fmla="*/ 130 w 328"/>
                <a:gd name="T33" fmla="*/ 26 h 362"/>
                <a:gd name="T34" fmla="*/ 204 w 328"/>
                <a:gd name="T35" fmla="*/ 0 h 362"/>
                <a:gd name="T36" fmla="*/ 236 w 328"/>
                <a:gd name="T37" fmla="*/ 39 h 362"/>
                <a:gd name="T38" fmla="*/ 249 w 328"/>
                <a:gd name="T39" fmla="*/ 11 h 362"/>
                <a:gd name="T40" fmla="*/ 291 w 328"/>
                <a:gd name="T41" fmla="*/ 26 h 362"/>
                <a:gd name="T42" fmla="*/ 283 w 328"/>
                <a:gd name="T43" fmla="*/ 36 h 362"/>
                <a:gd name="T44" fmla="*/ 285 w 328"/>
                <a:gd name="T45" fmla="*/ 39 h 362"/>
                <a:gd name="T46" fmla="*/ 308 w 328"/>
                <a:gd name="T47" fmla="*/ 81 h 362"/>
                <a:gd name="T48" fmla="*/ 294 w 328"/>
                <a:gd name="T49" fmla="*/ 102 h 362"/>
                <a:gd name="T50" fmla="*/ 304 w 328"/>
                <a:gd name="T51" fmla="*/ 113 h 362"/>
                <a:gd name="T52" fmla="*/ 289 w 328"/>
                <a:gd name="T53" fmla="*/ 134 h 362"/>
                <a:gd name="T54" fmla="*/ 308 w 328"/>
                <a:gd name="T55" fmla="*/ 162 h 362"/>
                <a:gd name="T56" fmla="*/ 291 w 328"/>
                <a:gd name="T57" fmla="*/ 207 h 362"/>
                <a:gd name="T58" fmla="*/ 251 w 328"/>
                <a:gd name="T59" fmla="*/ 226 h 362"/>
                <a:gd name="T60" fmla="*/ 249 w 328"/>
                <a:gd name="T61" fmla="*/ 236 h 362"/>
                <a:gd name="T62" fmla="*/ 268 w 328"/>
                <a:gd name="T63" fmla="*/ 277 h 362"/>
                <a:gd name="T64" fmla="*/ 328 w 328"/>
                <a:gd name="T65" fmla="*/ 296 h 362"/>
                <a:gd name="T66" fmla="*/ 321 w 328"/>
                <a:gd name="T67" fmla="*/ 328 h 362"/>
                <a:gd name="T68" fmla="*/ 291 w 328"/>
                <a:gd name="T69" fmla="*/ 334 h 362"/>
                <a:gd name="T70" fmla="*/ 285 w 328"/>
                <a:gd name="T71" fmla="*/ 362 h 362"/>
                <a:gd name="T72" fmla="*/ 208 w 328"/>
                <a:gd name="T73" fmla="*/ 345 h 362"/>
                <a:gd name="T74" fmla="*/ 185 w 328"/>
                <a:gd name="T75" fmla="*/ 302 h 362"/>
                <a:gd name="T76" fmla="*/ 179 w 328"/>
                <a:gd name="T77" fmla="*/ 319 h 362"/>
                <a:gd name="T78" fmla="*/ 138 w 328"/>
                <a:gd name="T79" fmla="*/ 315 h 362"/>
                <a:gd name="T80" fmla="*/ 130 w 328"/>
                <a:gd name="T81" fmla="*/ 334 h 362"/>
                <a:gd name="T82" fmla="*/ 83 w 328"/>
                <a:gd name="T83" fmla="*/ 330 h 362"/>
                <a:gd name="T84" fmla="*/ 89 w 328"/>
                <a:gd name="T85" fmla="*/ 306 h 362"/>
                <a:gd name="T86" fmla="*/ 66 w 328"/>
                <a:gd name="T87" fmla="*/ 258 h 362"/>
                <a:gd name="T88" fmla="*/ 0 w 328"/>
                <a:gd name="T89" fmla="*/ 234 h 362"/>
                <a:gd name="T90" fmla="*/ 111 w 328"/>
                <a:gd name="T91" fmla="*/ 224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8" h="362">
                  <a:moveTo>
                    <a:pt x="111" y="224"/>
                  </a:moveTo>
                  <a:lnTo>
                    <a:pt x="119" y="204"/>
                  </a:lnTo>
                  <a:lnTo>
                    <a:pt x="79" y="170"/>
                  </a:lnTo>
                  <a:lnTo>
                    <a:pt x="51" y="192"/>
                  </a:lnTo>
                  <a:lnTo>
                    <a:pt x="55" y="160"/>
                  </a:lnTo>
                  <a:lnTo>
                    <a:pt x="36" y="158"/>
                  </a:lnTo>
                  <a:lnTo>
                    <a:pt x="58" y="130"/>
                  </a:lnTo>
                  <a:lnTo>
                    <a:pt x="68" y="151"/>
                  </a:lnTo>
                  <a:lnTo>
                    <a:pt x="117" y="149"/>
                  </a:lnTo>
                  <a:lnTo>
                    <a:pt x="109" y="134"/>
                  </a:lnTo>
                  <a:lnTo>
                    <a:pt x="81" y="136"/>
                  </a:lnTo>
                  <a:lnTo>
                    <a:pt x="92" y="113"/>
                  </a:lnTo>
                  <a:lnTo>
                    <a:pt x="4" y="128"/>
                  </a:lnTo>
                  <a:lnTo>
                    <a:pt x="24" y="45"/>
                  </a:lnTo>
                  <a:lnTo>
                    <a:pt x="72" y="22"/>
                  </a:lnTo>
                  <a:lnTo>
                    <a:pt x="126" y="13"/>
                  </a:lnTo>
                  <a:lnTo>
                    <a:pt x="130" y="26"/>
                  </a:lnTo>
                  <a:lnTo>
                    <a:pt x="204" y="0"/>
                  </a:lnTo>
                  <a:lnTo>
                    <a:pt x="236" y="39"/>
                  </a:lnTo>
                  <a:lnTo>
                    <a:pt x="249" y="11"/>
                  </a:lnTo>
                  <a:lnTo>
                    <a:pt x="291" y="26"/>
                  </a:lnTo>
                  <a:lnTo>
                    <a:pt x="283" y="36"/>
                  </a:lnTo>
                  <a:lnTo>
                    <a:pt x="285" y="39"/>
                  </a:lnTo>
                  <a:lnTo>
                    <a:pt x="308" y="81"/>
                  </a:lnTo>
                  <a:lnTo>
                    <a:pt x="294" y="102"/>
                  </a:lnTo>
                  <a:lnTo>
                    <a:pt x="304" y="113"/>
                  </a:lnTo>
                  <a:lnTo>
                    <a:pt x="289" y="134"/>
                  </a:lnTo>
                  <a:lnTo>
                    <a:pt x="308" y="162"/>
                  </a:lnTo>
                  <a:lnTo>
                    <a:pt x="291" y="207"/>
                  </a:lnTo>
                  <a:lnTo>
                    <a:pt x="251" y="226"/>
                  </a:lnTo>
                  <a:lnTo>
                    <a:pt x="249" y="236"/>
                  </a:lnTo>
                  <a:lnTo>
                    <a:pt x="268" y="277"/>
                  </a:lnTo>
                  <a:lnTo>
                    <a:pt x="328" y="296"/>
                  </a:lnTo>
                  <a:lnTo>
                    <a:pt x="321" y="328"/>
                  </a:lnTo>
                  <a:lnTo>
                    <a:pt x="291" y="334"/>
                  </a:lnTo>
                  <a:lnTo>
                    <a:pt x="285" y="362"/>
                  </a:lnTo>
                  <a:lnTo>
                    <a:pt x="208" y="345"/>
                  </a:lnTo>
                  <a:lnTo>
                    <a:pt x="185" y="302"/>
                  </a:lnTo>
                  <a:lnTo>
                    <a:pt x="179" y="319"/>
                  </a:lnTo>
                  <a:lnTo>
                    <a:pt x="138" y="315"/>
                  </a:lnTo>
                  <a:lnTo>
                    <a:pt x="130" y="334"/>
                  </a:lnTo>
                  <a:lnTo>
                    <a:pt x="83" y="330"/>
                  </a:lnTo>
                  <a:lnTo>
                    <a:pt x="89" y="306"/>
                  </a:lnTo>
                  <a:lnTo>
                    <a:pt x="66" y="258"/>
                  </a:lnTo>
                  <a:lnTo>
                    <a:pt x="0" y="234"/>
                  </a:lnTo>
                  <a:lnTo>
                    <a:pt x="111" y="224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29">
              <a:extLst>
                <a:ext uri="{FF2B5EF4-FFF2-40B4-BE49-F238E27FC236}">
                  <a16:creationId xmlns:a16="http://schemas.microsoft.com/office/drawing/2014/main" id="{28746F71-A156-43D1-8A85-E972DE730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9303" y="4363817"/>
              <a:ext cx="649492" cy="655634"/>
            </a:xfrm>
            <a:custGeom>
              <a:avLst/>
              <a:gdLst>
                <a:gd name="T0" fmla="*/ 0 w 423"/>
                <a:gd name="T1" fmla="*/ 176 h 427"/>
                <a:gd name="T2" fmla="*/ 3 w 423"/>
                <a:gd name="T3" fmla="*/ 193 h 427"/>
                <a:gd name="T4" fmla="*/ 15 w 423"/>
                <a:gd name="T5" fmla="*/ 217 h 427"/>
                <a:gd name="T6" fmla="*/ 68 w 423"/>
                <a:gd name="T7" fmla="*/ 200 h 427"/>
                <a:gd name="T8" fmla="*/ 85 w 423"/>
                <a:gd name="T9" fmla="*/ 221 h 427"/>
                <a:gd name="T10" fmla="*/ 100 w 423"/>
                <a:gd name="T11" fmla="*/ 217 h 427"/>
                <a:gd name="T12" fmla="*/ 98 w 423"/>
                <a:gd name="T13" fmla="*/ 234 h 427"/>
                <a:gd name="T14" fmla="*/ 117 w 423"/>
                <a:gd name="T15" fmla="*/ 244 h 427"/>
                <a:gd name="T16" fmla="*/ 102 w 423"/>
                <a:gd name="T17" fmla="*/ 297 h 427"/>
                <a:gd name="T18" fmla="*/ 168 w 423"/>
                <a:gd name="T19" fmla="*/ 310 h 427"/>
                <a:gd name="T20" fmla="*/ 194 w 423"/>
                <a:gd name="T21" fmla="*/ 293 h 427"/>
                <a:gd name="T22" fmla="*/ 190 w 423"/>
                <a:gd name="T23" fmla="*/ 395 h 427"/>
                <a:gd name="T24" fmla="*/ 281 w 423"/>
                <a:gd name="T25" fmla="*/ 427 h 427"/>
                <a:gd name="T26" fmla="*/ 334 w 423"/>
                <a:gd name="T27" fmla="*/ 378 h 427"/>
                <a:gd name="T28" fmla="*/ 423 w 423"/>
                <a:gd name="T29" fmla="*/ 365 h 427"/>
                <a:gd name="T30" fmla="*/ 411 w 423"/>
                <a:gd name="T31" fmla="*/ 312 h 427"/>
                <a:gd name="T32" fmla="*/ 381 w 423"/>
                <a:gd name="T33" fmla="*/ 310 h 427"/>
                <a:gd name="T34" fmla="*/ 394 w 423"/>
                <a:gd name="T35" fmla="*/ 268 h 427"/>
                <a:gd name="T36" fmla="*/ 364 w 423"/>
                <a:gd name="T37" fmla="*/ 259 h 427"/>
                <a:gd name="T38" fmla="*/ 358 w 423"/>
                <a:gd name="T39" fmla="*/ 212 h 427"/>
                <a:gd name="T40" fmla="*/ 372 w 423"/>
                <a:gd name="T41" fmla="*/ 187 h 427"/>
                <a:gd name="T42" fmla="*/ 353 w 423"/>
                <a:gd name="T43" fmla="*/ 157 h 427"/>
                <a:gd name="T44" fmla="*/ 313 w 423"/>
                <a:gd name="T45" fmla="*/ 140 h 427"/>
                <a:gd name="T46" fmla="*/ 296 w 423"/>
                <a:gd name="T47" fmla="*/ 176 h 427"/>
                <a:gd name="T48" fmla="*/ 255 w 423"/>
                <a:gd name="T49" fmla="*/ 161 h 427"/>
                <a:gd name="T50" fmla="*/ 224 w 423"/>
                <a:gd name="T51" fmla="*/ 100 h 427"/>
                <a:gd name="T52" fmla="*/ 224 w 423"/>
                <a:gd name="T53" fmla="*/ 95 h 427"/>
                <a:gd name="T54" fmla="*/ 153 w 423"/>
                <a:gd name="T55" fmla="*/ 0 h 427"/>
                <a:gd name="T56" fmla="*/ 124 w 423"/>
                <a:gd name="T57" fmla="*/ 40 h 427"/>
                <a:gd name="T58" fmla="*/ 88 w 423"/>
                <a:gd name="T59" fmla="*/ 27 h 427"/>
                <a:gd name="T60" fmla="*/ 77 w 423"/>
                <a:gd name="T61" fmla="*/ 40 h 427"/>
                <a:gd name="T62" fmla="*/ 105 w 423"/>
                <a:gd name="T63" fmla="*/ 64 h 427"/>
                <a:gd name="T64" fmla="*/ 73 w 423"/>
                <a:gd name="T65" fmla="*/ 100 h 427"/>
                <a:gd name="T66" fmla="*/ 9 w 423"/>
                <a:gd name="T67" fmla="*/ 112 h 427"/>
                <a:gd name="T68" fmla="*/ 32 w 423"/>
                <a:gd name="T69" fmla="*/ 132 h 427"/>
                <a:gd name="T70" fmla="*/ 3 w 423"/>
                <a:gd name="T71" fmla="*/ 157 h 427"/>
                <a:gd name="T72" fmla="*/ 0 w 423"/>
                <a:gd name="T73" fmla="*/ 172 h 427"/>
                <a:gd name="T74" fmla="*/ 0 w 423"/>
                <a:gd name="T75" fmla="*/ 176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3" h="427">
                  <a:moveTo>
                    <a:pt x="0" y="176"/>
                  </a:moveTo>
                  <a:lnTo>
                    <a:pt x="3" y="193"/>
                  </a:lnTo>
                  <a:lnTo>
                    <a:pt x="15" y="217"/>
                  </a:lnTo>
                  <a:lnTo>
                    <a:pt x="68" y="200"/>
                  </a:lnTo>
                  <a:lnTo>
                    <a:pt x="85" y="221"/>
                  </a:lnTo>
                  <a:lnTo>
                    <a:pt x="100" y="217"/>
                  </a:lnTo>
                  <a:lnTo>
                    <a:pt x="98" y="234"/>
                  </a:lnTo>
                  <a:lnTo>
                    <a:pt x="117" y="244"/>
                  </a:lnTo>
                  <a:lnTo>
                    <a:pt x="102" y="297"/>
                  </a:lnTo>
                  <a:lnTo>
                    <a:pt x="168" y="310"/>
                  </a:lnTo>
                  <a:lnTo>
                    <a:pt x="194" y="293"/>
                  </a:lnTo>
                  <a:lnTo>
                    <a:pt x="190" y="395"/>
                  </a:lnTo>
                  <a:lnTo>
                    <a:pt x="281" y="427"/>
                  </a:lnTo>
                  <a:lnTo>
                    <a:pt x="334" y="378"/>
                  </a:lnTo>
                  <a:lnTo>
                    <a:pt x="423" y="365"/>
                  </a:lnTo>
                  <a:lnTo>
                    <a:pt x="411" y="312"/>
                  </a:lnTo>
                  <a:lnTo>
                    <a:pt x="381" y="310"/>
                  </a:lnTo>
                  <a:lnTo>
                    <a:pt x="394" y="268"/>
                  </a:lnTo>
                  <a:lnTo>
                    <a:pt x="364" y="259"/>
                  </a:lnTo>
                  <a:lnTo>
                    <a:pt x="358" y="212"/>
                  </a:lnTo>
                  <a:lnTo>
                    <a:pt x="372" y="187"/>
                  </a:lnTo>
                  <a:lnTo>
                    <a:pt x="353" y="157"/>
                  </a:lnTo>
                  <a:lnTo>
                    <a:pt x="313" y="140"/>
                  </a:lnTo>
                  <a:lnTo>
                    <a:pt x="296" y="176"/>
                  </a:lnTo>
                  <a:lnTo>
                    <a:pt x="255" y="161"/>
                  </a:lnTo>
                  <a:lnTo>
                    <a:pt x="224" y="100"/>
                  </a:lnTo>
                  <a:lnTo>
                    <a:pt x="224" y="95"/>
                  </a:lnTo>
                  <a:lnTo>
                    <a:pt x="153" y="0"/>
                  </a:lnTo>
                  <a:lnTo>
                    <a:pt x="124" y="40"/>
                  </a:lnTo>
                  <a:lnTo>
                    <a:pt x="88" y="27"/>
                  </a:lnTo>
                  <a:lnTo>
                    <a:pt x="77" y="40"/>
                  </a:lnTo>
                  <a:lnTo>
                    <a:pt x="105" y="64"/>
                  </a:lnTo>
                  <a:lnTo>
                    <a:pt x="73" y="100"/>
                  </a:lnTo>
                  <a:lnTo>
                    <a:pt x="9" y="112"/>
                  </a:lnTo>
                  <a:lnTo>
                    <a:pt x="32" y="132"/>
                  </a:lnTo>
                  <a:lnTo>
                    <a:pt x="3" y="157"/>
                  </a:lnTo>
                  <a:lnTo>
                    <a:pt x="0" y="172"/>
                  </a:lnTo>
                  <a:lnTo>
                    <a:pt x="0" y="17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0">
              <a:extLst>
                <a:ext uri="{FF2B5EF4-FFF2-40B4-BE49-F238E27FC236}">
                  <a16:creationId xmlns:a16="http://schemas.microsoft.com/office/drawing/2014/main" id="{CBC7031F-1738-4EDC-8E74-A0227EFFA6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0910" y="3094007"/>
              <a:ext cx="626460" cy="534333"/>
            </a:xfrm>
            <a:custGeom>
              <a:avLst/>
              <a:gdLst>
                <a:gd name="T0" fmla="*/ 4 w 408"/>
                <a:gd name="T1" fmla="*/ 159 h 348"/>
                <a:gd name="T2" fmla="*/ 8 w 408"/>
                <a:gd name="T3" fmla="*/ 157 h 348"/>
                <a:gd name="T4" fmla="*/ 68 w 408"/>
                <a:gd name="T5" fmla="*/ 163 h 348"/>
                <a:gd name="T6" fmla="*/ 68 w 408"/>
                <a:gd name="T7" fmla="*/ 193 h 348"/>
                <a:gd name="T8" fmla="*/ 83 w 408"/>
                <a:gd name="T9" fmla="*/ 183 h 348"/>
                <a:gd name="T10" fmla="*/ 110 w 408"/>
                <a:gd name="T11" fmla="*/ 193 h 348"/>
                <a:gd name="T12" fmla="*/ 134 w 408"/>
                <a:gd name="T13" fmla="*/ 253 h 348"/>
                <a:gd name="T14" fmla="*/ 125 w 408"/>
                <a:gd name="T15" fmla="*/ 306 h 348"/>
                <a:gd name="T16" fmla="*/ 159 w 408"/>
                <a:gd name="T17" fmla="*/ 310 h 348"/>
                <a:gd name="T18" fmla="*/ 181 w 408"/>
                <a:gd name="T19" fmla="*/ 348 h 348"/>
                <a:gd name="T20" fmla="*/ 246 w 408"/>
                <a:gd name="T21" fmla="*/ 317 h 348"/>
                <a:gd name="T22" fmla="*/ 306 w 408"/>
                <a:gd name="T23" fmla="*/ 340 h 348"/>
                <a:gd name="T24" fmla="*/ 323 w 408"/>
                <a:gd name="T25" fmla="*/ 338 h 348"/>
                <a:gd name="T26" fmla="*/ 331 w 408"/>
                <a:gd name="T27" fmla="*/ 314 h 348"/>
                <a:gd name="T28" fmla="*/ 385 w 408"/>
                <a:gd name="T29" fmla="*/ 312 h 348"/>
                <a:gd name="T30" fmla="*/ 376 w 408"/>
                <a:gd name="T31" fmla="*/ 268 h 348"/>
                <a:gd name="T32" fmla="*/ 404 w 408"/>
                <a:gd name="T33" fmla="*/ 274 h 348"/>
                <a:gd name="T34" fmla="*/ 408 w 408"/>
                <a:gd name="T35" fmla="*/ 242 h 348"/>
                <a:gd name="T36" fmla="*/ 378 w 408"/>
                <a:gd name="T37" fmla="*/ 208 h 348"/>
                <a:gd name="T38" fmla="*/ 408 w 408"/>
                <a:gd name="T39" fmla="*/ 193 h 348"/>
                <a:gd name="T40" fmla="*/ 399 w 408"/>
                <a:gd name="T41" fmla="*/ 174 h 348"/>
                <a:gd name="T42" fmla="*/ 368 w 408"/>
                <a:gd name="T43" fmla="*/ 172 h 348"/>
                <a:gd name="T44" fmla="*/ 312 w 408"/>
                <a:gd name="T45" fmla="*/ 168 h 348"/>
                <a:gd name="T46" fmla="*/ 297 w 408"/>
                <a:gd name="T47" fmla="*/ 187 h 348"/>
                <a:gd name="T48" fmla="*/ 278 w 408"/>
                <a:gd name="T49" fmla="*/ 151 h 348"/>
                <a:gd name="T50" fmla="*/ 259 w 408"/>
                <a:gd name="T51" fmla="*/ 140 h 348"/>
                <a:gd name="T52" fmla="*/ 246 w 408"/>
                <a:gd name="T53" fmla="*/ 153 h 348"/>
                <a:gd name="T54" fmla="*/ 236 w 408"/>
                <a:gd name="T55" fmla="*/ 115 h 348"/>
                <a:gd name="T56" fmla="*/ 251 w 408"/>
                <a:gd name="T57" fmla="*/ 95 h 348"/>
                <a:gd name="T58" fmla="*/ 234 w 408"/>
                <a:gd name="T59" fmla="*/ 57 h 348"/>
                <a:gd name="T60" fmla="*/ 212 w 408"/>
                <a:gd name="T61" fmla="*/ 49 h 348"/>
                <a:gd name="T62" fmla="*/ 195 w 408"/>
                <a:gd name="T63" fmla="*/ 68 h 348"/>
                <a:gd name="T64" fmla="*/ 155 w 408"/>
                <a:gd name="T65" fmla="*/ 61 h 348"/>
                <a:gd name="T66" fmla="*/ 134 w 408"/>
                <a:gd name="T67" fmla="*/ 21 h 348"/>
                <a:gd name="T68" fmla="*/ 108 w 408"/>
                <a:gd name="T69" fmla="*/ 17 h 348"/>
                <a:gd name="T70" fmla="*/ 115 w 408"/>
                <a:gd name="T71" fmla="*/ 0 h 348"/>
                <a:gd name="T72" fmla="*/ 70 w 408"/>
                <a:gd name="T73" fmla="*/ 8 h 348"/>
                <a:gd name="T74" fmla="*/ 55 w 408"/>
                <a:gd name="T75" fmla="*/ 23 h 348"/>
                <a:gd name="T76" fmla="*/ 61 w 408"/>
                <a:gd name="T77" fmla="*/ 85 h 348"/>
                <a:gd name="T78" fmla="*/ 44 w 408"/>
                <a:gd name="T79" fmla="*/ 85 h 348"/>
                <a:gd name="T80" fmla="*/ 47 w 408"/>
                <a:gd name="T81" fmla="*/ 108 h 348"/>
                <a:gd name="T82" fmla="*/ 0 w 408"/>
                <a:gd name="T83" fmla="*/ 151 h 348"/>
                <a:gd name="T84" fmla="*/ 4 w 408"/>
                <a:gd name="T85" fmla="*/ 159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8" h="348">
                  <a:moveTo>
                    <a:pt x="4" y="159"/>
                  </a:moveTo>
                  <a:lnTo>
                    <a:pt x="8" y="157"/>
                  </a:lnTo>
                  <a:lnTo>
                    <a:pt x="68" y="163"/>
                  </a:lnTo>
                  <a:lnTo>
                    <a:pt x="68" y="193"/>
                  </a:lnTo>
                  <a:lnTo>
                    <a:pt x="83" y="183"/>
                  </a:lnTo>
                  <a:lnTo>
                    <a:pt x="110" y="193"/>
                  </a:lnTo>
                  <a:lnTo>
                    <a:pt x="134" y="253"/>
                  </a:lnTo>
                  <a:lnTo>
                    <a:pt x="125" y="306"/>
                  </a:lnTo>
                  <a:lnTo>
                    <a:pt x="159" y="310"/>
                  </a:lnTo>
                  <a:lnTo>
                    <a:pt x="181" y="348"/>
                  </a:lnTo>
                  <a:lnTo>
                    <a:pt x="246" y="317"/>
                  </a:lnTo>
                  <a:lnTo>
                    <a:pt x="306" y="340"/>
                  </a:lnTo>
                  <a:lnTo>
                    <a:pt x="323" y="338"/>
                  </a:lnTo>
                  <a:lnTo>
                    <a:pt x="331" y="314"/>
                  </a:lnTo>
                  <a:lnTo>
                    <a:pt x="385" y="312"/>
                  </a:lnTo>
                  <a:lnTo>
                    <a:pt x="376" y="268"/>
                  </a:lnTo>
                  <a:lnTo>
                    <a:pt x="404" y="274"/>
                  </a:lnTo>
                  <a:lnTo>
                    <a:pt x="408" y="242"/>
                  </a:lnTo>
                  <a:lnTo>
                    <a:pt x="378" y="208"/>
                  </a:lnTo>
                  <a:lnTo>
                    <a:pt x="408" y="193"/>
                  </a:lnTo>
                  <a:lnTo>
                    <a:pt x="399" y="174"/>
                  </a:lnTo>
                  <a:lnTo>
                    <a:pt x="368" y="172"/>
                  </a:lnTo>
                  <a:lnTo>
                    <a:pt x="312" y="168"/>
                  </a:lnTo>
                  <a:lnTo>
                    <a:pt x="297" y="187"/>
                  </a:lnTo>
                  <a:lnTo>
                    <a:pt x="278" y="151"/>
                  </a:lnTo>
                  <a:lnTo>
                    <a:pt x="259" y="140"/>
                  </a:lnTo>
                  <a:lnTo>
                    <a:pt x="246" y="153"/>
                  </a:lnTo>
                  <a:lnTo>
                    <a:pt x="236" y="115"/>
                  </a:lnTo>
                  <a:lnTo>
                    <a:pt x="251" y="95"/>
                  </a:lnTo>
                  <a:lnTo>
                    <a:pt x="234" y="57"/>
                  </a:lnTo>
                  <a:lnTo>
                    <a:pt x="212" y="49"/>
                  </a:lnTo>
                  <a:lnTo>
                    <a:pt x="195" y="68"/>
                  </a:lnTo>
                  <a:lnTo>
                    <a:pt x="155" y="61"/>
                  </a:lnTo>
                  <a:lnTo>
                    <a:pt x="134" y="21"/>
                  </a:lnTo>
                  <a:lnTo>
                    <a:pt x="108" y="17"/>
                  </a:lnTo>
                  <a:lnTo>
                    <a:pt x="115" y="0"/>
                  </a:lnTo>
                  <a:lnTo>
                    <a:pt x="70" y="8"/>
                  </a:lnTo>
                  <a:lnTo>
                    <a:pt x="55" y="23"/>
                  </a:lnTo>
                  <a:lnTo>
                    <a:pt x="61" y="85"/>
                  </a:lnTo>
                  <a:lnTo>
                    <a:pt x="44" y="85"/>
                  </a:lnTo>
                  <a:lnTo>
                    <a:pt x="47" y="108"/>
                  </a:lnTo>
                  <a:lnTo>
                    <a:pt x="0" y="151"/>
                  </a:lnTo>
                  <a:lnTo>
                    <a:pt x="4" y="15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1">
              <a:extLst>
                <a:ext uri="{FF2B5EF4-FFF2-40B4-BE49-F238E27FC236}">
                  <a16:creationId xmlns:a16="http://schemas.microsoft.com/office/drawing/2014/main" id="{C4385C04-AB26-41E1-BFB8-49D782A90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0600" y="4630984"/>
              <a:ext cx="558900" cy="382325"/>
            </a:xfrm>
            <a:custGeom>
              <a:avLst/>
              <a:gdLst>
                <a:gd name="T0" fmla="*/ 0 w 364"/>
                <a:gd name="T1" fmla="*/ 45 h 249"/>
                <a:gd name="T2" fmla="*/ 6 w 364"/>
                <a:gd name="T3" fmla="*/ 26 h 249"/>
                <a:gd name="T4" fmla="*/ 70 w 364"/>
                <a:gd name="T5" fmla="*/ 0 h 249"/>
                <a:gd name="T6" fmla="*/ 106 w 364"/>
                <a:gd name="T7" fmla="*/ 0 h 249"/>
                <a:gd name="T8" fmla="*/ 140 w 364"/>
                <a:gd name="T9" fmla="*/ 30 h 249"/>
                <a:gd name="T10" fmla="*/ 155 w 364"/>
                <a:gd name="T11" fmla="*/ 15 h 249"/>
                <a:gd name="T12" fmla="*/ 210 w 364"/>
                <a:gd name="T13" fmla="*/ 26 h 249"/>
                <a:gd name="T14" fmla="*/ 255 w 364"/>
                <a:gd name="T15" fmla="*/ 30 h 249"/>
                <a:gd name="T16" fmla="*/ 281 w 364"/>
                <a:gd name="T17" fmla="*/ 11 h 249"/>
                <a:gd name="T18" fmla="*/ 323 w 364"/>
                <a:gd name="T19" fmla="*/ 19 h 249"/>
                <a:gd name="T20" fmla="*/ 327 w 364"/>
                <a:gd name="T21" fmla="*/ 51 h 249"/>
                <a:gd name="T22" fmla="*/ 364 w 364"/>
                <a:gd name="T23" fmla="*/ 68 h 249"/>
                <a:gd name="T24" fmla="*/ 355 w 364"/>
                <a:gd name="T25" fmla="*/ 111 h 249"/>
                <a:gd name="T26" fmla="*/ 334 w 364"/>
                <a:gd name="T27" fmla="*/ 102 h 249"/>
                <a:gd name="T28" fmla="*/ 336 w 364"/>
                <a:gd name="T29" fmla="*/ 140 h 249"/>
                <a:gd name="T30" fmla="*/ 315 w 364"/>
                <a:gd name="T31" fmla="*/ 147 h 249"/>
                <a:gd name="T32" fmla="*/ 317 w 364"/>
                <a:gd name="T33" fmla="*/ 164 h 249"/>
                <a:gd name="T34" fmla="*/ 295 w 364"/>
                <a:gd name="T35" fmla="*/ 166 h 249"/>
                <a:gd name="T36" fmla="*/ 278 w 364"/>
                <a:gd name="T37" fmla="*/ 200 h 249"/>
                <a:gd name="T38" fmla="*/ 247 w 364"/>
                <a:gd name="T39" fmla="*/ 202 h 249"/>
                <a:gd name="T40" fmla="*/ 202 w 364"/>
                <a:gd name="T41" fmla="*/ 249 h 249"/>
                <a:gd name="T42" fmla="*/ 147 w 364"/>
                <a:gd name="T43" fmla="*/ 200 h 249"/>
                <a:gd name="T44" fmla="*/ 102 w 364"/>
                <a:gd name="T45" fmla="*/ 225 h 249"/>
                <a:gd name="T46" fmla="*/ 72 w 364"/>
                <a:gd name="T47" fmla="*/ 166 h 249"/>
                <a:gd name="T48" fmla="*/ 53 w 364"/>
                <a:gd name="T49" fmla="*/ 117 h 249"/>
                <a:gd name="T50" fmla="*/ 70 w 364"/>
                <a:gd name="T51" fmla="*/ 117 h 249"/>
                <a:gd name="T52" fmla="*/ 36 w 364"/>
                <a:gd name="T53" fmla="*/ 55 h 249"/>
                <a:gd name="T54" fmla="*/ 0 w 364"/>
                <a:gd name="T55" fmla="*/ 49 h 249"/>
                <a:gd name="T56" fmla="*/ 0 w 364"/>
                <a:gd name="T57" fmla="*/ 4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64" h="249">
                  <a:moveTo>
                    <a:pt x="0" y="45"/>
                  </a:moveTo>
                  <a:lnTo>
                    <a:pt x="6" y="26"/>
                  </a:lnTo>
                  <a:lnTo>
                    <a:pt x="70" y="0"/>
                  </a:lnTo>
                  <a:lnTo>
                    <a:pt x="106" y="0"/>
                  </a:lnTo>
                  <a:lnTo>
                    <a:pt x="140" y="30"/>
                  </a:lnTo>
                  <a:lnTo>
                    <a:pt x="155" y="15"/>
                  </a:lnTo>
                  <a:lnTo>
                    <a:pt x="210" y="26"/>
                  </a:lnTo>
                  <a:lnTo>
                    <a:pt x="255" y="30"/>
                  </a:lnTo>
                  <a:lnTo>
                    <a:pt x="281" y="11"/>
                  </a:lnTo>
                  <a:lnTo>
                    <a:pt x="323" y="19"/>
                  </a:lnTo>
                  <a:lnTo>
                    <a:pt x="327" y="51"/>
                  </a:lnTo>
                  <a:lnTo>
                    <a:pt x="364" y="68"/>
                  </a:lnTo>
                  <a:lnTo>
                    <a:pt x="355" y="111"/>
                  </a:lnTo>
                  <a:lnTo>
                    <a:pt x="334" y="102"/>
                  </a:lnTo>
                  <a:lnTo>
                    <a:pt x="336" y="140"/>
                  </a:lnTo>
                  <a:lnTo>
                    <a:pt x="315" y="147"/>
                  </a:lnTo>
                  <a:lnTo>
                    <a:pt x="317" y="164"/>
                  </a:lnTo>
                  <a:lnTo>
                    <a:pt x="295" y="166"/>
                  </a:lnTo>
                  <a:lnTo>
                    <a:pt x="278" y="200"/>
                  </a:lnTo>
                  <a:lnTo>
                    <a:pt x="247" y="202"/>
                  </a:lnTo>
                  <a:lnTo>
                    <a:pt x="202" y="249"/>
                  </a:lnTo>
                  <a:lnTo>
                    <a:pt x="147" y="200"/>
                  </a:lnTo>
                  <a:lnTo>
                    <a:pt x="102" y="225"/>
                  </a:lnTo>
                  <a:lnTo>
                    <a:pt x="72" y="166"/>
                  </a:lnTo>
                  <a:lnTo>
                    <a:pt x="53" y="117"/>
                  </a:lnTo>
                  <a:lnTo>
                    <a:pt x="70" y="117"/>
                  </a:lnTo>
                  <a:lnTo>
                    <a:pt x="36" y="55"/>
                  </a:lnTo>
                  <a:lnTo>
                    <a:pt x="0" y="49"/>
                  </a:lnTo>
                  <a:lnTo>
                    <a:pt x="0" y="4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32">
              <a:extLst>
                <a:ext uri="{FF2B5EF4-FFF2-40B4-BE49-F238E27FC236}">
                  <a16:creationId xmlns:a16="http://schemas.microsoft.com/office/drawing/2014/main" id="{ACCAF0F0-96C5-4525-9A2A-310FCA935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8041" y="2392312"/>
              <a:ext cx="600358" cy="502090"/>
            </a:xfrm>
            <a:custGeom>
              <a:avLst/>
              <a:gdLst>
                <a:gd name="T0" fmla="*/ 0 w 391"/>
                <a:gd name="T1" fmla="*/ 240 h 327"/>
                <a:gd name="T2" fmla="*/ 15 w 391"/>
                <a:gd name="T3" fmla="*/ 246 h 327"/>
                <a:gd name="T4" fmla="*/ 13 w 391"/>
                <a:gd name="T5" fmla="*/ 282 h 327"/>
                <a:gd name="T6" fmla="*/ 36 w 391"/>
                <a:gd name="T7" fmla="*/ 291 h 327"/>
                <a:gd name="T8" fmla="*/ 57 w 391"/>
                <a:gd name="T9" fmla="*/ 319 h 327"/>
                <a:gd name="T10" fmla="*/ 102 w 391"/>
                <a:gd name="T11" fmla="*/ 327 h 327"/>
                <a:gd name="T12" fmla="*/ 164 w 391"/>
                <a:gd name="T13" fmla="*/ 259 h 327"/>
                <a:gd name="T14" fmla="*/ 217 w 391"/>
                <a:gd name="T15" fmla="*/ 253 h 327"/>
                <a:gd name="T16" fmla="*/ 221 w 391"/>
                <a:gd name="T17" fmla="*/ 291 h 327"/>
                <a:gd name="T18" fmla="*/ 242 w 391"/>
                <a:gd name="T19" fmla="*/ 310 h 327"/>
                <a:gd name="T20" fmla="*/ 306 w 391"/>
                <a:gd name="T21" fmla="*/ 319 h 327"/>
                <a:gd name="T22" fmla="*/ 344 w 391"/>
                <a:gd name="T23" fmla="*/ 312 h 327"/>
                <a:gd name="T24" fmla="*/ 332 w 391"/>
                <a:gd name="T25" fmla="*/ 295 h 327"/>
                <a:gd name="T26" fmla="*/ 349 w 391"/>
                <a:gd name="T27" fmla="*/ 280 h 327"/>
                <a:gd name="T28" fmla="*/ 334 w 391"/>
                <a:gd name="T29" fmla="*/ 268 h 327"/>
                <a:gd name="T30" fmla="*/ 383 w 391"/>
                <a:gd name="T31" fmla="*/ 261 h 327"/>
                <a:gd name="T32" fmla="*/ 387 w 391"/>
                <a:gd name="T33" fmla="*/ 242 h 327"/>
                <a:gd name="T34" fmla="*/ 359 w 391"/>
                <a:gd name="T35" fmla="*/ 216 h 327"/>
                <a:gd name="T36" fmla="*/ 357 w 391"/>
                <a:gd name="T37" fmla="*/ 214 h 327"/>
                <a:gd name="T38" fmla="*/ 368 w 391"/>
                <a:gd name="T39" fmla="*/ 176 h 327"/>
                <a:gd name="T40" fmla="*/ 391 w 391"/>
                <a:gd name="T41" fmla="*/ 163 h 327"/>
                <a:gd name="T42" fmla="*/ 391 w 391"/>
                <a:gd name="T43" fmla="*/ 140 h 327"/>
                <a:gd name="T44" fmla="*/ 376 w 391"/>
                <a:gd name="T45" fmla="*/ 138 h 327"/>
                <a:gd name="T46" fmla="*/ 372 w 391"/>
                <a:gd name="T47" fmla="*/ 59 h 327"/>
                <a:gd name="T48" fmla="*/ 298 w 391"/>
                <a:gd name="T49" fmla="*/ 63 h 327"/>
                <a:gd name="T50" fmla="*/ 276 w 391"/>
                <a:gd name="T51" fmla="*/ 40 h 327"/>
                <a:gd name="T52" fmla="*/ 249 w 391"/>
                <a:gd name="T53" fmla="*/ 49 h 327"/>
                <a:gd name="T54" fmla="*/ 187 w 391"/>
                <a:gd name="T55" fmla="*/ 2 h 327"/>
                <a:gd name="T56" fmla="*/ 155 w 391"/>
                <a:gd name="T57" fmla="*/ 0 h 327"/>
                <a:gd name="T58" fmla="*/ 151 w 391"/>
                <a:gd name="T59" fmla="*/ 19 h 327"/>
                <a:gd name="T60" fmla="*/ 123 w 391"/>
                <a:gd name="T61" fmla="*/ 2 h 327"/>
                <a:gd name="T62" fmla="*/ 106 w 391"/>
                <a:gd name="T63" fmla="*/ 23 h 327"/>
                <a:gd name="T64" fmla="*/ 57 w 391"/>
                <a:gd name="T65" fmla="*/ 34 h 327"/>
                <a:gd name="T66" fmla="*/ 59 w 391"/>
                <a:gd name="T67" fmla="*/ 70 h 327"/>
                <a:gd name="T68" fmla="*/ 83 w 391"/>
                <a:gd name="T69" fmla="*/ 91 h 327"/>
                <a:gd name="T70" fmla="*/ 53 w 391"/>
                <a:gd name="T71" fmla="*/ 95 h 327"/>
                <a:gd name="T72" fmla="*/ 42 w 391"/>
                <a:gd name="T73" fmla="*/ 134 h 327"/>
                <a:gd name="T74" fmla="*/ 66 w 391"/>
                <a:gd name="T75" fmla="*/ 144 h 327"/>
                <a:gd name="T76" fmla="*/ 19 w 391"/>
                <a:gd name="T77" fmla="*/ 204 h 327"/>
                <a:gd name="T78" fmla="*/ 0 w 391"/>
                <a:gd name="T79" fmla="*/ 236 h 327"/>
                <a:gd name="T80" fmla="*/ 0 w 391"/>
                <a:gd name="T81" fmla="*/ 240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91" h="327">
                  <a:moveTo>
                    <a:pt x="0" y="240"/>
                  </a:moveTo>
                  <a:lnTo>
                    <a:pt x="15" y="246"/>
                  </a:lnTo>
                  <a:lnTo>
                    <a:pt x="13" y="282"/>
                  </a:lnTo>
                  <a:lnTo>
                    <a:pt x="36" y="291"/>
                  </a:lnTo>
                  <a:lnTo>
                    <a:pt x="57" y="319"/>
                  </a:lnTo>
                  <a:lnTo>
                    <a:pt x="102" y="327"/>
                  </a:lnTo>
                  <a:lnTo>
                    <a:pt x="164" y="259"/>
                  </a:lnTo>
                  <a:lnTo>
                    <a:pt x="217" y="253"/>
                  </a:lnTo>
                  <a:lnTo>
                    <a:pt x="221" y="291"/>
                  </a:lnTo>
                  <a:lnTo>
                    <a:pt x="242" y="310"/>
                  </a:lnTo>
                  <a:lnTo>
                    <a:pt x="306" y="319"/>
                  </a:lnTo>
                  <a:lnTo>
                    <a:pt x="344" y="312"/>
                  </a:lnTo>
                  <a:lnTo>
                    <a:pt x="332" y="295"/>
                  </a:lnTo>
                  <a:lnTo>
                    <a:pt x="349" y="280"/>
                  </a:lnTo>
                  <a:lnTo>
                    <a:pt x="334" y="268"/>
                  </a:lnTo>
                  <a:lnTo>
                    <a:pt x="383" y="261"/>
                  </a:lnTo>
                  <a:lnTo>
                    <a:pt x="387" y="242"/>
                  </a:lnTo>
                  <a:lnTo>
                    <a:pt x="359" y="216"/>
                  </a:lnTo>
                  <a:lnTo>
                    <a:pt x="357" y="214"/>
                  </a:lnTo>
                  <a:lnTo>
                    <a:pt x="368" y="176"/>
                  </a:lnTo>
                  <a:lnTo>
                    <a:pt x="391" y="163"/>
                  </a:lnTo>
                  <a:lnTo>
                    <a:pt x="391" y="140"/>
                  </a:lnTo>
                  <a:lnTo>
                    <a:pt x="376" y="138"/>
                  </a:lnTo>
                  <a:lnTo>
                    <a:pt x="372" y="59"/>
                  </a:lnTo>
                  <a:lnTo>
                    <a:pt x="298" y="63"/>
                  </a:lnTo>
                  <a:lnTo>
                    <a:pt x="276" y="40"/>
                  </a:lnTo>
                  <a:lnTo>
                    <a:pt x="249" y="49"/>
                  </a:lnTo>
                  <a:lnTo>
                    <a:pt x="187" y="2"/>
                  </a:lnTo>
                  <a:lnTo>
                    <a:pt x="155" y="0"/>
                  </a:lnTo>
                  <a:lnTo>
                    <a:pt x="151" y="19"/>
                  </a:lnTo>
                  <a:lnTo>
                    <a:pt x="123" y="2"/>
                  </a:lnTo>
                  <a:lnTo>
                    <a:pt x="106" y="23"/>
                  </a:lnTo>
                  <a:lnTo>
                    <a:pt x="57" y="34"/>
                  </a:lnTo>
                  <a:lnTo>
                    <a:pt x="59" y="70"/>
                  </a:lnTo>
                  <a:lnTo>
                    <a:pt x="83" y="91"/>
                  </a:lnTo>
                  <a:lnTo>
                    <a:pt x="53" y="95"/>
                  </a:lnTo>
                  <a:lnTo>
                    <a:pt x="42" y="134"/>
                  </a:lnTo>
                  <a:lnTo>
                    <a:pt x="66" y="144"/>
                  </a:lnTo>
                  <a:lnTo>
                    <a:pt x="19" y="204"/>
                  </a:lnTo>
                  <a:lnTo>
                    <a:pt x="0" y="236"/>
                  </a:lnTo>
                  <a:lnTo>
                    <a:pt x="0" y="24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33">
              <a:extLst>
                <a:ext uri="{FF2B5EF4-FFF2-40B4-BE49-F238E27FC236}">
                  <a16:creationId xmlns:a16="http://schemas.microsoft.com/office/drawing/2014/main" id="{9EA50D01-C0E3-420E-AFB7-B087BAE93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568" y="2832983"/>
              <a:ext cx="466774" cy="459097"/>
            </a:xfrm>
            <a:custGeom>
              <a:avLst/>
              <a:gdLst>
                <a:gd name="T0" fmla="*/ 0 w 304"/>
                <a:gd name="T1" fmla="*/ 263 h 299"/>
                <a:gd name="T2" fmla="*/ 143 w 304"/>
                <a:gd name="T3" fmla="*/ 299 h 299"/>
                <a:gd name="T4" fmla="*/ 181 w 304"/>
                <a:gd name="T5" fmla="*/ 282 h 299"/>
                <a:gd name="T6" fmla="*/ 209 w 304"/>
                <a:gd name="T7" fmla="*/ 291 h 299"/>
                <a:gd name="T8" fmla="*/ 198 w 304"/>
                <a:gd name="T9" fmla="*/ 270 h 299"/>
                <a:gd name="T10" fmla="*/ 196 w 304"/>
                <a:gd name="T11" fmla="*/ 265 h 299"/>
                <a:gd name="T12" fmla="*/ 215 w 304"/>
                <a:gd name="T13" fmla="*/ 251 h 299"/>
                <a:gd name="T14" fmla="*/ 207 w 304"/>
                <a:gd name="T15" fmla="*/ 236 h 299"/>
                <a:gd name="T16" fmla="*/ 236 w 304"/>
                <a:gd name="T17" fmla="*/ 223 h 299"/>
                <a:gd name="T18" fmla="*/ 226 w 304"/>
                <a:gd name="T19" fmla="*/ 189 h 299"/>
                <a:gd name="T20" fmla="*/ 251 w 304"/>
                <a:gd name="T21" fmla="*/ 185 h 299"/>
                <a:gd name="T22" fmla="*/ 249 w 304"/>
                <a:gd name="T23" fmla="*/ 148 h 299"/>
                <a:gd name="T24" fmla="*/ 275 w 304"/>
                <a:gd name="T25" fmla="*/ 134 h 299"/>
                <a:gd name="T26" fmla="*/ 275 w 304"/>
                <a:gd name="T27" fmla="*/ 87 h 299"/>
                <a:gd name="T28" fmla="*/ 302 w 304"/>
                <a:gd name="T29" fmla="*/ 72 h 299"/>
                <a:gd name="T30" fmla="*/ 304 w 304"/>
                <a:gd name="T31" fmla="*/ 44 h 299"/>
                <a:gd name="T32" fmla="*/ 283 w 304"/>
                <a:gd name="T33" fmla="*/ 42 h 299"/>
                <a:gd name="T34" fmla="*/ 281 w 304"/>
                <a:gd name="T35" fmla="*/ 15 h 299"/>
                <a:gd name="T36" fmla="*/ 260 w 304"/>
                <a:gd name="T37" fmla="*/ 0 h 299"/>
                <a:gd name="T38" fmla="*/ 230 w 304"/>
                <a:gd name="T39" fmla="*/ 27 h 299"/>
                <a:gd name="T40" fmla="*/ 207 w 304"/>
                <a:gd name="T41" fmla="*/ 17 h 299"/>
                <a:gd name="T42" fmla="*/ 158 w 304"/>
                <a:gd name="T43" fmla="*/ 40 h 299"/>
                <a:gd name="T44" fmla="*/ 153 w 304"/>
                <a:gd name="T45" fmla="*/ 25 h 299"/>
                <a:gd name="T46" fmla="*/ 132 w 304"/>
                <a:gd name="T47" fmla="*/ 40 h 299"/>
                <a:gd name="T48" fmla="*/ 109 w 304"/>
                <a:gd name="T49" fmla="*/ 19 h 299"/>
                <a:gd name="T50" fmla="*/ 56 w 304"/>
                <a:gd name="T51" fmla="*/ 12 h 299"/>
                <a:gd name="T52" fmla="*/ 58 w 304"/>
                <a:gd name="T53" fmla="*/ 78 h 299"/>
                <a:gd name="T54" fmla="*/ 45 w 304"/>
                <a:gd name="T55" fmla="*/ 100 h 299"/>
                <a:gd name="T56" fmla="*/ 60 w 304"/>
                <a:gd name="T57" fmla="*/ 191 h 299"/>
                <a:gd name="T58" fmla="*/ 26 w 304"/>
                <a:gd name="T59" fmla="*/ 206 h 299"/>
                <a:gd name="T60" fmla="*/ 0 w 304"/>
                <a:gd name="T61" fmla="*/ 261 h 299"/>
                <a:gd name="T62" fmla="*/ 0 w 304"/>
                <a:gd name="T63" fmla="*/ 26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04" h="299">
                  <a:moveTo>
                    <a:pt x="0" y="263"/>
                  </a:moveTo>
                  <a:lnTo>
                    <a:pt x="143" y="299"/>
                  </a:lnTo>
                  <a:lnTo>
                    <a:pt x="181" y="282"/>
                  </a:lnTo>
                  <a:lnTo>
                    <a:pt x="209" y="291"/>
                  </a:lnTo>
                  <a:lnTo>
                    <a:pt x="198" y="270"/>
                  </a:lnTo>
                  <a:lnTo>
                    <a:pt x="196" y="265"/>
                  </a:lnTo>
                  <a:lnTo>
                    <a:pt x="215" y="251"/>
                  </a:lnTo>
                  <a:lnTo>
                    <a:pt x="207" y="236"/>
                  </a:lnTo>
                  <a:lnTo>
                    <a:pt x="236" y="223"/>
                  </a:lnTo>
                  <a:lnTo>
                    <a:pt x="226" y="189"/>
                  </a:lnTo>
                  <a:lnTo>
                    <a:pt x="251" y="185"/>
                  </a:lnTo>
                  <a:lnTo>
                    <a:pt x="249" y="148"/>
                  </a:lnTo>
                  <a:lnTo>
                    <a:pt x="275" y="134"/>
                  </a:lnTo>
                  <a:lnTo>
                    <a:pt x="275" y="87"/>
                  </a:lnTo>
                  <a:lnTo>
                    <a:pt x="302" y="72"/>
                  </a:lnTo>
                  <a:lnTo>
                    <a:pt x="304" y="44"/>
                  </a:lnTo>
                  <a:lnTo>
                    <a:pt x="283" y="42"/>
                  </a:lnTo>
                  <a:lnTo>
                    <a:pt x="281" y="15"/>
                  </a:lnTo>
                  <a:lnTo>
                    <a:pt x="260" y="0"/>
                  </a:lnTo>
                  <a:lnTo>
                    <a:pt x="230" y="27"/>
                  </a:lnTo>
                  <a:lnTo>
                    <a:pt x="207" y="17"/>
                  </a:lnTo>
                  <a:lnTo>
                    <a:pt x="158" y="40"/>
                  </a:lnTo>
                  <a:lnTo>
                    <a:pt x="153" y="25"/>
                  </a:lnTo>
                  <a:lnTo>
                    <a:pt x="132" y="40"/>
                  </a:lnTo>
                  <a:lnTo>
                    <a:pt x="109" y="19"/>
                  </a:lnTo>
                  <a:lnTo>
                    <a:pt x="56" y="12"/>
                  </a:lnTo>
                  <a:lnTo>
                    <a:pt x="58" y="78"/>
                  </a:lnTo>
                  <a:lnTo>
                    <a:pt x="45" y="100"/>
                  </a:lnTo>
                  <a:lnTo>
                    <a:pt x="60" y="191"/>
                  </a:lnTo>
                  <a:lnTo>
                    <a:pt x="26" y="206"/>
                  </a:lnTo>
                  <a:lnTo>
                    <a:pt x="0" y="261"/>
                  </a:lnTo>
                  <a:lnTo>
                    <a:pt x="0" y="26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34">
              <a:extLst>
                <a:ext uri="{FF2B5EF4-FFF2-40B4-BE49-F238E27FC236}">
                  <a16:creationId xmlns:a16="http://schemas.microsoft.com/office/drawing/2014/main" id="{C38687D3-47A0-4BCA-BEFD-75A5D19E4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150" y="3416450"/>
              <a:ext cx="528191" cy="525121"/>
            </a:xfrm>
            <a:custGeom>
              <a:avLst/>
              <a:gdLst>
                <a:gd name="T0" fmla="*/ 4 w 344"/>
                <a:gd name="T1" fmla="*/ 13 h 342"/>
                <a:gd name="T2" fmla="*/ 32 w 344"/>
                <a:gd name="T3" fmla="*/ 4 h 342"/>
                <a:gd name="T4" fmla="*/ 66 w 344"/>
                <a:gd name="T5" fmla="*/ 0 h 342"/>
                <a:gd name="T6" fmla="*/ 81 w 344"/>
                <a:gd name="T7" fmla="*/ 24 h 342"/>
                <a:gd name="T8" fmla="*/ 81 w 344"/>
                <a:gd name="T9" fmla="*/ 24 h 342"/>
                <a:gd name="T10" fmla="*/ 125 w 344"/>
                <a:gd name="T11" fmla="*/ 43 h 342"/>
                <a:gd name="T12" fmla="*/ 136 w 344"/>
                <a:gd name="T13" fmla="*/ 28 h 342"/>
                <a:gd name="T14" fmla="*/ 159 w 344"/>
                <a:gd name="T15" fmla="*/ 34 h 342"/>
                <a:gd name="T16" fmla="*/ 161 w 344"/>
                <a:gd name="T17" fmla="*/ 9 h 342"/>
                <a:gd name="T18" fmla="*/ 221 w 344"/>
                <a:gd name="T19" fmla="*/ 68 h 342"/>
                <a:gd name="T20" fmla="*/ 242 w 344"/>
                <a:gd name="T21" fmla="*/ 75 h 342"/>
                <a:gd name="T22" fmla="*/ 255 w 344"/>
                <a:gd name="T23" fmla="*/ 58 h 342"/>
                <a:gd name="T24" fmla="*/ 255 w 344"/>
                <a:gd name="T25" fmla="*/ 79 h 342"/>
                <a:gd name="T26" fmla="*/ 276 w 344"/>
                <a:gd name="T27" fmla="*/ 72 h 342"/>
                <a:gd name="T28" fmla="*/ 289 w 344"/>
                <a:gd name="T29" fmla="*/ 100 h 342"/>
                <a:gd name="T30" fmla="*/ 312 w 344"/>
                <a:gd name="T31" fmla="*/ 89 h 342"/>
                <a:gd name="T32" fmla="*/ 321 w 344"/>
                <a:gd name="T33" fmla="*/ 126 h 342"/>
                <a:gd name="T34" fmla="*/ 344 w 344"/>
                <a:gd name="T35" fmla="*/ 138 h 342"/>
                <a:gd name="T36" fmla="*/ 340 w 344"/>
                <a:gd name="T37" fmla="*/ 158 h 342"/>
                <a:gd name="T38" fmla="*/ 331 w 344"/>
                <a:gd name="T39" fmla="*/ 160 h 342"/>
                <a:gd name="T40" fmla="*/ 316 w 344"/>
                <a:gd name="T41" fmla="*/ 160 h 342"/>
                <a:gd name="T42" fmla="*/ 316 w 344"/>
                <a:gd name="T43" fmla="*/ 168 h 342"/>
                <a:gd name="T44" fmla="*/ 299 w 344"/>
                <a:gd name="T45" fmla="*/ 172 h 342"/>
                <a:gd name="T46" fmla="*/ 306 w 344"/>
                <a:gd name="T47" fmla="*/ 194 h 342"/>
                <a:gd name="T48" fmla="*/ 287 w 344"/>
                <a:gd name="T49" fmla="*/ 221 h 342"/>
                <a:gd name="T50" fmla="*/ 312 w 344"/>
                <a:gd name="T51" fmla="*/ 264 h 342"/>
                <a:gd name="T52" fmla="*/ 304 w 344"/>
                <a:gd name="T53" fmla="*/ 289 h 342"/>
                <a:gd name="T54" fmla="*/ 242 w 344"/>
                <a:gd name="T55" fmla="*/ 323 h 342"/>
                <a:gd name="T56" fmla="*/ 195 w 344"/>
                <a:gd name="T57" fmla="*/ 306 h 342"/>
                <a:gd name="T58" fmla="*/ 151 w 344"/>
                <a:gd name="T59" fmla="*/ 342 h 342"/>
                <a:gd name="T60" fmla="*/ 134 w 344"/>
                <a:gd name="T61" fmla="*/ 317 h 342"/>
                <a:gd name="T62" fmla="*/ 87 w 344"/>
                <a:gd name="T63" fmla="*/ 332 h 342"/>
                <a:gd name="T64" fmla="*/ 42 w 344"/>
                <a:gd name="T65" fmla="*/ 287 h 342"/>
                <a:gd name="T66" fmla="*/ 57 w 344"/>
                <a:gd name="T67" fmla="*/ 202 h 342"/>
                <a:gd name="T68" fmla="*/ 34 w 344"/>
                <a:gd name="T69" fmla="*/ 119 h 342"/>
                <a:gd name="T70" fmla="*/ 6 w 344"/>
                <a:gd name="T71" fmla="*/ 92 h 342"/>
                <a:gd name="T72" fmla="*/ 21 w 344"/>
                <a:gd name="T73" fmla="*/ 55 h 342"/>
                <a:gd name="T74" fmla="*/ 6 w 344"/>
                <a:gd name="T75" fmla="*/ 24 h 342"/>
                <a:gd name="T76" fmla="*/ 0 w 344"/>
                <a:gd name="T77" fmla="*/ 13 h 342"/>
                <a:gd name="T78" fmla="*/ 4 w 344"/>
                <a:gd name="T79" fmla="*/ 1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44" h="342">
                  <a:moveTo>
                    <a:pt x="4" y="13"/>
                  </a:moveTo>
                  <a:lnTo>
                    <a:pt x="32" y="4"/>
                  </a:lnTo>
                  <a:lnTo>
                    <a:pt x="66" y="0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125" y="43"/>
                  </a:lnTo>
                  <a:lnTo>
                    <a:pt x="136" y="28"/>
                  </a:lnTo>
                  <a:lnTo>
                    <a:pt x="159" y="34"/>
                  </a:lnTo>
                  <a:lnTo>
                    <a:pt x="161" y="9"/>
                  </a:lnTo>
                  <a:lnTo>
                    <a:pt x="221" y="68"/>
                  </a:lnTo>
                  <a:lnTo>
                    <a:pt x="242" y="75"/>
                  </a:lnTo>
                  <a:lnTo>
                    <a:pt x="255" y="58"/>
                  </a:lnTo>
                  <a:lnTo>
                    <a:pt x="255" y="79"/>
                  </a:lnTo>
                  <a:lnTo>
                    <a:pt x="276" y="72"/>
                  </a:lnTo>
                  <a:lnTo>
                    <a:pt x="289" y="100"/>
                  </a:lnTo>
                  <a:lnTo>
                    <a:pt x="312" y="89"/>
                  </a:lnTo>
                  <a:lnTo>
                    <a:pt x="321" y="126"/>
                  </a:lnTo>
                  <a:lnTo>
                    <a:pt x="344" y="138"/>
                  </a:lnTo>
                  <a:lnTo>
                    <a:pt x="340" y="158"/>
                  </a:lnTo>
                  <a:lnTo>
                    <a:pt x="331" y="160"/>
                  </a:lnTo>
                  <a:lnTo>
                    <a:pt x="316" y="160"/>
                  </a:lnTo>
                  <a:lnTo>
                    <a:pt x="316" y="168"/>
                  </a:lnTo>
                  <a:lnTo>
                    <a:pt x="299" y="172"/>
                  </a:lnTo>
                  <a:lnTo>
                    <a:pt x="306" y="194"/>
                  </a:lnTo>
                  <a:lnTo>
                    <a:pt x="287" y="221"/>
                  </a:lnTo>
                  <a:lnTo>
                    <a:pt x="312" y="264"/>
                  </a:lnTo>
                  <a:lnTo>
                    <a:pt x="304" y="289"/>
                  </a:lnTo>
                  <a:lnTo>
                    <a:pt x="242" y="323"/>
                  </a:lnTo>
                  <a:lnTo>
                    <a:pt x="195" y="306"/>
                  </a:lnTo>
                  <a:lnTo>
                    <a:pt x="151" y="342"/>
                  </a:lnTo>
                  <a:lnTo>
                    <a:pt x="134" y="317"/>
                  </a:lnTo>
                  <a:lnTo>
                    <a:pt x="87" y="332"/>
                  </a:lnTo>
                  <a:lnTo>
                    <a:pt x="42" y="287"/>
                  </a:lnTo>
                  <a:lnTo>
                    <a:pt x="57" y="202"/>
                  </a:lnTo>
                  <a:lnTo>
                    <a:pt x="34" y="119"/>
                  </a:lnTo>
                  <a:lnTo>
                    <a:pt x="6" y="92"/>
                  </a:lnTo>
                  <a:lnTo>
                    <a:pt x="21" y="55"/>
                  </a:lnTo>
                  <a:lnTo>
                    <a:pt x="6" y="24"/>
                  </a:lnTo>
                  <a:lnTo>
                    <a:pt x="0" y="13"/>
                  </a:lnTo>
                  <a:lnTo>
                    <a:pt x="4" y="1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35">
              <a:extLst>
                <a:ext uri="{FF2B5EF4-FFF2-40B4-BE49-F238E27FC236}">
                  <a16:creationId xmlns:a16="http://schemas.microsoft.com/office/drawing/2014/main" id="{D18840D7-EA4C-446B-9D13-CDDB857B5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4652" y="2189633"/>
              <a:ext cx="535869" cy="391538"/>
            </a:xfrm>
            <a:custGeom>
              <a:avLst/>
              <a:gdLst>
                <a:gd name="T0" fmla="*/ 0 w 349"/>
                <a:gd name="T1" fmla="*/ 187 h 255"/>
                <a:gd name="T2" fmla="*/ 23 w 349"/>
                <a:gd name="T3" fmla="*/ 178 h 255"/>
                <a:gd name="T4" fmla="*/ 2 w 349"/>
                <a:gd name="T5" fmla="*/ 127 h 255"/>
                <a:gd name="T6" fmla="*/ 21 w 349"/>
                <a:gd name="T7" fmla="*/ 98 h 255"/>
                <a:gd name="T8" fmla="*/ 6 w 349"/>
                <a:gd name="T9" fmla="*/ 93 h 255"/>
                <a:gd name="T10" fmla="*/ 2 w 349"/>
                <a:gd name="T11" fmla="*/ 40 h 255"/>
                <a:gd name="T12" fmla="*/ 15 w 349"/>
                <a:gd name="T13" fmla="*/ 27 h 255"/>
                <a:gd name="T14" fmla="*/ 0 w 349"/>
                <a:gd name="T15" fmla="*/ 21 h 255"/>
                <a:gd name="T16" fmla="*/ 23 w 349"/>
                <a:gd name="T17" fmla="*/ 0 h 255"/>
                <a:gd name="T18" fmla="*/ 38 w 349"/>
                <a:gd name="T19" fmla="*/ 21 h 255"/>
                <a:gd name="T20" fmla="*/ 132 w 349"/>
                <a:gd name="T21" fmla="*/ 23 h 255"/>
                <a:gd name="T22" fmla="*/ 225 w 349"/>
                <a:gd name="T23" fmla="*/ 72 h 255"/>
                <a:gd name="T24" fmla="*/ 236 w 349"/>
                <a:gd name="T25" fmla="*/ 53 h 255"/>
                <a:gd name="T26" fmla="*/ 261 w 349"/>
                <a:gd name="T27" fmla="*/ 55 h 255"/>
                <a:gd name="T28" fmla="*/ 278 w 349"/>
                <a:gd name="T29" fmla="*/ 25 h 255"/>
                <a:gd name="T30" fmla="*/ 300 w 349"/>
                <a:gd name="T31" fmla="*/ 36 h 255"/>
                <a:gd name="T32" fmla="*/ 338 w 349"/>
                <a:gd name="T33" fmla="*/ 23 h 255"/>
                <a:gd name="T34" fmla="*/ 334 w 349"/>
                <a:gd name="T35" fmla="*/ 91 h 255"/>
                <a:gd name="T36" fmla="*/ 349 w 349"/>
                <a:gd name="T37" fmla="*/ 119 h 255"/>
                <a:gd name="T38" fmla="*/ 300 w 349"/>
                <a:gd name="T39" fmla="*/ 164 h 255"/>
                <a:gd name="T40" fmla="*/ 319 w 349"/>
                <a:gd name="T41" fmla="*/ 198 h 255"/>
                <a:gd name="T42" fmla="*/ 332 w 349"/>
                <a:gd name="T43" fmla="*/ 225 h 255"/>
                <a:gd name="T44" fmla="*/ 327 w 349"/>
                <a:gd name="T45" fmla="*/ 240 h 255"/>
                <a:gd name="T46" fmla="*/ 306 w 349"/>
                <a:gd name="T47" fmla="*/ 255 h 255"/>
                <a:gd name="T48" fmla="*/ 210 w 349"/>
                <a:gd name="T49" fmla="*/ 253 h 255"/>
                <a:gd name="T50" fmla="*/ 147 w 349"/>
                <a:gd name="T51" fmla="*/ 212 h 255"/>
                <a:gd name="T52" fmla="*/ 121 w 349"/>
                <a:gd name="T53" fmla="*/ 223 h 255"/>
                <a:gd name="T54" fmla="*/ 89 w 349"/>
                <a:gd name="T55" fmla="*/ 204 h 255"/>
                <a:gd name="T56" fmla="*/ 42 w 349"/>
                <a:gd name="T57" fmla="*/ 219 h 255"/>
                <a:gd name="T58" fmla="*/ 8 w 349"/>
                <a:gd name="T59" fmla="*/ 212 h 255"/>
                <a:gd name="T60" fmla="*/ 0 w 349"/>
                <a:gd name="T61" fmla="*/ 191 h 255"/>
                <a:gd name="T62" fmla="*/ 0 w 349"/>
                <a:gd name="T63" fmla="*/ 189 h 255"/>
                <a:gd name="T64" fmla="*/ 0 w 349"/>
                <a:gd name="T65" fmla="*/ 187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49" h="255">
                  <a:moveTo>
                    <a:pt x="0" y="187"/>
                  </a:moveTo>
                  <a:lnTo>
                    <a:pt x="23" y="178"/>
                  </a:lnTo>
                  <a:lnTo>
                    <a:pt x="2" y="127"/>
                  </a:lnTo>
                  <a:lnTo>
                    <a:pt x="21" y="98"/>
                  </a:lnTo>
                  <a:lnTo>
                    <a:pt x="6" y="93"/>
                  </a:lnTo>
                  <a:lnTo>
                    <a:pt x="2" y="40"/>
                  </a:lnTo>
                  <a:lnTo>
                    <a:pt x="15" y="27"/>
                  </a:lnTo>
                  <a:lnTo>
                    <a:pt x="0" y="21"/>
                  </a:lnTo>
                  <a:lnTo>
                    <a:pt x="23" y="0"/>
                  </a:lnTo>
                  <a:lnTo>
                    <a:pt x="38" y="21"/>
                  </a:lnTo>
                  <a:lnTo>
                    <a:pt x="132" y="23"/>
                  </a:lnTo>
                  <a:lnTo>
                    <a:pt x="225" y="72"/>
                  </a:lnTo>
                  <a:lnTo>
                    <a:pt x="236" y="53"/>
                  </a:lnTo>
                  <a:lnTo>
                    <a:pt x="261" y="55"/>
                  </a:lnTo>
                  <a:lnTo>
                    <a:pt x="278" y="25"/>
                  </a:lnTo>
                  <a:lnTo>
                    <a:pt x="300" y="36"/>
                  </a:lnTo>
                  <a:lnTo>
                    <a:pt x="338" y="23"/>
                  </a:lnTo>
                  <a:lnTo>
                    <a:pt x="334" y="91"/>
                  </a:lnTo>
                  <a:lnTo>
                    <a:pt x="349" y="119"/>
                  </a:lnTo>
                  <a:lnTo>
                    <a:pt x="300" y="164"/>
                  </a:lnTo>
                  <a:lnTo>
                    <a:pt x="319" y="198"/>
                  </a:lnTo>
                  <a:lnTo>
                    <a:pt x="332" y="225"/>
                  </a:lnTo>
                  <a:lnTo>
                    <a:pt x="327" y="240"/>
                  </a:lnTo>
                  <a:lnTo>
                    <a:pt x="306" y="255"/>
                  </a:lnTo>
                  <a:lnTo>
                    <a:pt x="210" y="253"/>
                  </a:lnTo>
                  <a:lnTo>
                    <a:pt x="147" y="212"/>
                  </a:lnTo>
                  <a:lnTo>
                    <a:pt x="121" y="223"/>
                  </a:lnTo>
                  <a:lnTo>
                    <a:pt x="89" y="204"/>
                  </a:lnTo>
                  <a:lnTo>
                    <a:pt x="42" y="219"/>
                  </a:lnTo>
                  <a:lnTo>
                    <a:pt x="8" y="212"/>
                  </a:lnTo>
                  <a:lnTo>
                    <a:pt x="0" y="191"/>
                  </a:lnTo>
                  <a:lnTo>
                    <a:pt x="0" y="189"/>
                  </a:lnTo>
                  <a:lnTo>
                    <a:pt x="0" y="18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36">
              <a:extLst>
                <a:ext uri="{FF2B5EF4-FFF2-40B4-BE49-F238E27FC236}">
                  <a16:creationId xmlns:a16="http://schemas.microsoft.com/office/drawing/2014/main" id="{80EC1604-72E4-4E6F-A146-38585EC937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6063" y="5619808"/>
              <a:ext cx="741618" cy="448349"/>
            </a:xfrm>
            <a:custGeom>
              <a:avLst/>
              <a:gdLst>
                <a:gd name="T0" fmla="*/ 15 w 483"/>
                <a:gd name="T1" fmla="*/ 87 h 292"/>
                <a:gd name="T2" fmla="*/ 41 w 483"/>
                <a:gd name="T3" fmla="*/ 87 h 292"/>
                <a:gd name="T4" fmla="*/ 45 w 483"/>
                <a:gd name="T5" fmla="*/ 104 h 292"/>
                <a:gd name="T6" fmla="*/ 66 w 483"/>
                <a:gd name="T7" fmla="*/ 92 h 292"/>
                <a:gd name="T8" fmla="*/ 100 w 483"/>
                <a:gd name="T9" fmla="*/ 104 h 292"/>
                <a:gd name="T10" fmla="*/ 96 w 483"/>
                <a:gd name="T11" fmla="*/ 147 h 292"/>
                <a:gd name="T12" fmla="*/ 77 w 483"/>
                <a:gd name="T13" fmla="*/ 166 h 292"/>
                <a:gd name="T14" fmla="*/ 85 w 483"/>
                <a:gd name="T15" fmla="*/ 183 h 292"/>
                <a:gd name="T16" fmla="*/ 109 w 483"/>
                <a:gd name="T17" fmla="*/ 192 h 292"/>
                <a:gd name="T18" fmla="*/ 115 w 483"/>
                <a:gd name="T19" fmla="*/ 164 h 292"/>
                <a:gd name="T20" fmla="*/ 130 w 483"/>
                <a:gd name="T21" fmla="*/ 164 h 292"/>
                <a:gd name="T22" fmla="*/ 132 w 483"/>
                <a:gd name="T23" fmla="*/ 189 h 292"/>
                <a:gd name="T24" fmla="*/ 211 w 483"/>
                <a:gd name="T25" fmla="*/ 223 h 292"/>
                <a:gd name="T26" fmla="*/ 268 w 483"/>
                <a:gd name="T27" fmla="*/ 226 h 292"/>
                <a:gd name="T28" fmla="*/ 311 w 483"/>
                <a:gd name="T29" fmla="*/ 292 h 292"/>
                <a:gd name="T30" fmla="*/ 332 w 483"/>
                <a:gd name="T31" fmla="*/ 279 h 292"/>
                <a:gd name="T32" fmla="*/ 383 w 483"/>
                <a:gd name="T33" fmla="*/ 274 h 292"/>
                <a:gd name="T34" fmla="*/ 381 w 483"/>
                <a:gd name="T35" fmla="*/ 249 h 292"/>
                <a:gd name="T36" fmla="*/ 483 w 483"/>
                <a:gd name="T37" fmla="*/ 98 h 292"/>
                <a:gd name="T38" fmla="*/ 476 w 483"/>
                <a:gd name="T39" fmla="*/ 60 h 292"/>
                <a:gd name="T40" fmla="*/ 459 w 483"/>
                <a:gd name="T41" fmla="*/ 70 h 292"/>
                <a:gd name="T42" fmla="*/ 472 w 483"/>
                <a:gd name="T43" fmla="*/ 49 h 292"/>
                <a:gd name="T44" fmla="*/ 453 w 483"/>
                <a:gd name="T45" fmla="*/ 9 h 292"/>
                <a:gd name="T46" fmla="*/ 417 w 483"/>
                <a:gd name="T47" fmla="*/ 4 h 292"/>
                <a:gd name="T48" fmla="*/ 362 w 483"/>
                <a:gd name="T49" fmla="*/ 15 h 292"/>
                <a:gd name="T50" fmla="*/ 355 w 483"/>
                <a:gd name="T51" fmla="*/ 0 h 292"/>
                <a:gd name="T52" fmla="*/ 315 w 483"/>
                <a:gd name="T53" fmla="*/ 17 h 292"/>
                <a:gd name="T54" fmla="*/ 274 w 483"/>
                <a:gd name="T55" fmla="*/ 0 h 292"/>
                <a:gd name="T56" fmla="*/ 175 w 483"/>
                <a:gd name="T57" fmla="*/ 28 h 292"/>
                <a:gd name="T58" fmla="*/ 168 w 483"/>
                <a:gd name="T59" fmla="*/ 7 h 292"/>
                <a:gd name="T60" fmla="*/ 113 w 483"/>
                <a:gd name="T61" fmla="*/ 22 h 292"/>
                <a:gd name="T62" fmla="*/ 79 w 483"/>
                <a:gd name="T63" fmla="*/ 9 h 292"/>
                <a:gd name="T64" fmla="*/ 75 w 483"/>
                <a:gd name="T65" fmla="*/ 7 h 292"/>
                <a:gd name="T66" fmla="*/ 32 w 483"/>
                <a:gd name="T67" fmla="*/ 56 h 292"/>
                <a:gd name="T68" fmla="*/ 0 w 483"/>
                <a:gd name="T69" fmla="*/ 58 h 292"/>
                <a:gd name="T70" fmla="*/ 15 w 483"/>
                <a:gd name="T71" fmla="*/ 87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83" h="292">
                  <a:moveTo>
                    <a:pt x="15" y="87"/>
                  </a:moveTo>
                  <a:lnTo>
                    <a:pt x="41" y="87"/>
                  </a:lnTo>
                  <a:lnTo>
                    <a:pt x="45" y="104"/>
                  </a:lnTo>
                  <a:lnTo>
                    <a:pt x="66" y="92"/>
                  </a:lnTo>
                  <a:lnTo>
                    <a:pt x="100" y="104"/>
                  </a:lnTo>
                  <a:lnTo>
                    <a:pt x="96" y="147"/>
                  </a:lnTo>
                  <a:lnTo>
                    <a:pt x="77" y="166"/>
                  </a:lnTo>
                  <a:lnTo>
                    <a:pt x="85" y="183"/>
                  </a:lnTo>
                  <a:lnTo>
                    <a:pt x="109" y="192"/>
                  </a:lnTo>
                  <a:lnTo>
                    <a:pt x="115" y="164"/>
                  </a:lnTo>
                  <a:lnTo>
                    <a:pt x="130" y="164"/>
                  </a:lnTo>
                  <a:lnTo>
                    <a:pt x="132" y="189"/>
                  </a:lnTo>
                  <a:lnTo>
                    <a:pt x="211" y="223"/>
                  </a:lnTo>
                  <a:lnTo>
                    <a:pt x="268" y="226"/>
                  </a:lnTo>
                  <a:lnTo>
                    <a:pt x="311" y="292"/>
                  </a:lnTo>
                  <a:lnTo>
                    <a:pt x="332" y="279"/>
                  </a:lnTo>
                  <a:lnTo>
                    <a:pt x="383" y="274"/>
                  </a:lnTo>
                  <a:lnTo>
                    <a:pt x="381" y="249"/>
                  </a:lnTo>
                  <a:lnTo>
                    <a:pt x="483" y="98"/>
                  </a:lnTo>
                  <a:lnTo>
                    <a:pt x="476" y="60"/>
                  </a:lnTo>
                  <a:lnTo>
                    <a:pt x="459" y="70"/>
                  </a:lnTo>
                  <a:lnTo>
                    <a:pt x="472" y="49"/>
                  </a:lnTo>
                  <a:lnTo>
                    <a:pt x="453" y="9"/>
                  </a:lnTo>
                  <a:lnTo>
                    <a:pt x="417" y="4"/>
                  </a:lnTo>
                  <a:lnTo>
                    <a:pt x="362" y="15"/>
                  </a:lnTo>
                  <a:lnTo>
                    <a:pt x="355" y="0"/>
                  </a:lnTo>
                  <a:lnTo>
                    <a:pt x="315" y="17"/>
                  </a:lnTo>
                  <a:lnTo>
                    <a:pt x="274" y="0"/>
                  </a:lnTo>
                  <a:lnTo>
                    <a:pt x="175" y="28"/>
                  </a:lnTo>
                  <a:lnTo>
                    <a:pt x="168" y="7"/>
                  </a:lnTo>
                  <a:lnTo>
                    <a:pt x="113" y="22"/>
                  </a:lnTo>
                  <a:lnTo>
                    <a:pt x="79" y="9"/>
                  </a:lnTo>
                  <a:lnTo>
                    <a:pt x="75" y="7"/>
                  </a:lnTo>
                  <a:lnTo>
                    <a:pt x="32" y="56"/>
                  </a:lnTo>
                  <a:lnTo>
                    <a:pt x="0" y="58"/>
                  </a:lnTo>
                  <a:lnTo>
                    <a:pt x="15" y="87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37">
              <a:extLst>
                <a:ext uri="{FF2B5EF4-FFF2-40B4-BE49-F238E27FC236}">
                  <a16:creationId xmlns:a16="http://schemas.microsoft.com/office/drawing/2014/main" id="{15228686-6FD2-4FA7-A663-CCB45181A1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2491" y="3659050"/>
              <a:ext cx="707838" cy="557365"/>
            </a:xfrm>
            <a:custGeom>
              <a:avLst/>
              <a:gdLst>
                <a:gd name="T0" fmla="*/ 2 w 461"/>
                <a:gd name="T1" fmla="*/ 148 h 363"/>
                <a:gd name="T2" fmla="*/ 49 w 461"/>
                <a:gd name="T3" fmla="*/ 165 h 363"/>
                <a:gd name="T4" fmla="*/ 111 w 461"/>
                <a:gd name="T5" fmla="*/ 131 h 363"/>
                <a:gd name="T6" fmla="*/ 119 w 461"/>
                <a:gd name="T7" fmla="*/ 106 h 363"/>
                <a:gd name="T8" fmla="*/ 94 w 461"/>
                <a:gd name="T9" fmla="*/ 63 h 363"/>
                <a:gd name="T10" fmla="*/ 113 w 461"/>
                <a:gd name="T11" fmla="*/ 36 h 363"/>
                <a:gd name="T12" fmla="*/ 106 w 461"/>
                <a:gd name="T13" fmla="*/ 14 h 363"/>
                <a:gd name="T14" fmla="*/ 123 w 461"/>
                <a:gd name="T15" fmla="*/ 10 h 363"/>
                <a:gd name="T16" fmla="*/ 138 w 461"/>
                <a:gd name="T17" fmla="*/ 2 h 363"/>
                <a:gd name="T18" fmla="*/ 147 w 461"/>
                <a:gd name="T19" fmla="*/ 0 h 363"/>
                <a:gd name="T20" fmla="*/ 232 w 461"/>
                <a:gd name="T21" fmla="*/ 48 h 363"/>
                <a:gd name="T22" fmla="*/ 268 w 461"/>
                <a:gd name="T23" fmla="*/ 91 h 363"/>
                <a:gd name="T24" fmla="*/ 323 w 461"/>
                <a:gd name="T25" fmla="*/ 65 h 363"/>
                <a:gd name="T26" fmla="*/ 408 w 461"/>
                <a:gd name="T27" fmla="*/ 59 h 363"/>
                <a:gd name="T28" fmla="*/ 410 w 461"/>
                <a:gd name="T29" fmla="*/ 70 h 363"/>
                <a:gd name="T30" fmla="*/ 408 w 461"/>
                <a:gd name="T31" fmla="*/ 72 h 363"/>
                <a:gd name="T32" fmla="*/ 461 w 461"/>
                <a:gd name="T33" fmla="*/ 104 h 363"/>
                <a:gd name="T34" fmla="*/ 427 w 461"/>
                <a:gd name="T35" fmla="*/ 121 h 363"/>
                <a:gd name="T36" fmla="*/ 457 w 461"/>
                <a:gd name="T37" fmla="*/ 182 h 363"/>
                <a:gd name="T38" fmla="*/ 438 w 461"/>
                <a:gd name="T39" fmla="*/ 212 h 363"/>
                <a:gd name="T40" fmla="*/ 453 w 461"/>
                <a:gd name="T41" fmla="*/ 240 h 363"/>
                <a:gd name="T42" fmla="*/ 427 w 461"/>
                <a:gd name="T43" fmla="*/ 253 h 363"/>
                <a:gd name="T44" fmla="*/ 391 w 461"/>
                <a:gd name="T45" fmla="*/ 227 h 363"/>
                <a:gd name="T46" fmla="*/ 362 w 461"/>
                <a:gd name="T47" fmla="*/ 242 h 363"/>
                <a:gd name="T48" fmla="*/ 332 w 461"/>
                <a:gd name="T49" fmla="*/ 231 h 363"/>
                <a:gd name="T50" fmla="*/ 294 w 461"/>
                <a:gd name="T51" fmla="*/ 355 h 363"/>
                <a:gd name="T52" fmla="*/ 281 w 461"/>
                <a:gd name="T53" fmla="*/ 352 h 363"/>
                <a:gd name="T54" fmla="*/ 270 w 461"/>
                <a:gd name="T55" fmla="*/ 308 h 363"/>
                <a:gd name="T56" fmla="*/ 253 w 461"/>
                <a:gd name="T57" fmla="*/ 323 h 363"/>
                <a:gd name="T58" fmla="*/ 204 w 461"/>
                <a:gd name="T59" fmla="*/ 310 h 363"/>
                <a:gd name="T60" fmla="*/ 194 w 461"/>
                <a:gd name="T61" fmla="*/ 340 h 363"/>
                <a:gd name="T62" fmla="*/ 168 w 461"/>
                <a:gd name="T63" fmla="*/ 363 h 363"/>
                <a:gd name="T64" fmla="*/ 123 w 461"/>
                <a:gd name="T65" fmla="*/ 348 h 363"/>
                <a:gd name="T66" fmla="*/ 92 w 461"/>
                <a:gd name="T67" fmla="*/ 359 h 363"/>
                <a:gd name="T68" fmla="*/ 70 w 461"/>
                <a:gd name="T69" fmla="*/ 344 h 363"/>
                <a:gd name="T70" fmla="*/ 70 w 461"/>
                <a:gd name="T71" fmla="*/ 321 h 363"/>
                <a:gd name="T72" fmla="*/ 96 w 461"/>
                <a:gd name="T73" fmla="*/ 304 h 363"/>
                <a:gd name="T74" fmla="*/ 96 w 461"/>
                <a:gd name="T75" fmla="*/ 259 h 363"/>
                <a:gd name="T76" fmla="*/ 30 w 461"/>
                <a:gd name="T77" fmla="*/ 225 h 363"/>
                <a:gd name="T78" fmla="*/ 0 w 461"/>
                <a:gd name="T79" fmla="*/ 150 h 363"/>
                <a:gd name="T80" fmla="*/ 2 w 461"/>
                <a:gd name="T81" fmla="*/ 148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61" h="363">
                  <a:moveTo>
                    <a:pt x="2" y="148"/>
                  </a:moveTo>
                  <a:lnTo>
                    <a:pt x="49" y="165"/>
                  </a:lnTo>
                  <a:lnTo>
                    <a:pt x="111" y="131"/>
                  </a:lnTo>
                  <a:lnTo>
                    <a:pt x="119" y="106"/>
                  </a:lnTo>
                  <a:lnTo>
                    <a:pt x="94" y="63"/>
                  </a:lnTo>
                  <a:lnTo>
                    <a:pt x="113" y="36"/>
                  </a:lnTo>
                  <a:lnTo>
                    <a:pt x="106" y="14"/>
                  </a:lnTo>
                  <a:lnTo>
                    <a:pt x="123" y="10"/>
                  </a:lnTo>
                  <a:lnTo>
                    <a:pt x="138" y="2"/>
                  </a:lnTo>
                  <a:lnTo>
                    <a:pt x="147" y="0"/>
                  </a:lnTo>
                  <a:lnTo>
                    <a:pt x="232" y="48"/>
                  </a:lnTo>
                  <a:lnTo>
                    <a:pt x="268" y="91"/>
                  </a:lnTo>
                  <a:lnTo>
                    <a:pt x="323" y="65"/>
                  </a:lnTo>
                  <a:lnTo>
                    <a:pt x="408" y="59"/>
                  </a:lnTo>
                  <a:lnTo>
                    <a:pt x="410" y="70"/>
                  </a:lnTo>
                  <a:lnTo>
                    <a:pt x="408" y="72"/>
                  </a:lnTo>
                  <a:lnTo>
                    <a:pt x="461" y="104"/>
                  </a:lnTo>
                  <a:lnTo>
                    <a:pt x="427" y="121"/>
                  </a:lnTo>
                  <a:lnTo>
                    <a:pt x="457" y="182"/>
                  </a:lnTo>
                  <a:lnTo>
                    <a:pt x="438" y="212"/>
                  </a:lnTo>
                  <a:lnTo>
                    <a:pt x="453" y="240"/>
                  </a:lnTo>
                  <a:lnTo>
                    <a:pt x="427" y="253"/>
                  </a:lnTo>
                  <a:lnTo>
                    <a:pt x="391" y="227"/>
                  </a:lnTo>
                  <a:lnTo>
                    <a:pt x="362" y="242"/>
                  </a:lnTo>
                  <a:lnTo>
                    <a:pt x="332" y="231"/>
                  </a:lnTo>
                  <a:lnTo>
                    <a:pt x="294" y="355"/>
                  </a:lnTo>
                  <a:lnTo>
                    <a:pt x="281" y="352"/>
                  </a:lnTo>
                  <a:lnTo>
                    <a:pt x="270" y="308"/>
                  </a:lnTo>
                  <a:lnTo>
                    <a:pt x="253" y="323"/>
                  </a:lnTo>
                  <a:lnTo>
                    <a:pt x="204" y="310"/>
                  </a:lnTo>
                  <a:lnTo>
                    <a:pt x="194" y="340"/>
                  </a:lnTo>
                  <a:lnTo>
                    <a:pt x="168" y="363"/>
                  </a:lnTo>
                  <a:lnTo>
                    <a:pt x="123" y="348"/>
                  </a:lnTo>
                  <a:lnTo>
                    <a:pt x="92" y="359"/>
                  </a:lnTo>
                  <a:lnTo>
                    <a:pt x="70" y="344"/>
                  </a:lnTo>
                  <a:lnTo>
                    <a:pt x="70" y="321"/>
                  </a:lnTo>
                  <a:lnTo>
                    <a:pt x="96" y="304"/>
                  </a:lnTo>
                  <a:lnTo>
                    <a:pt x="96" y="259"/>
                  </a:lnTo>
                  <a:lnTo>
                    <a:pt x="30" y="225"/>
                  </a:lnTo>
                  <a:lnTo>
                    <a:pt x="0" y="150"/>
                  </a:lnTo>
                  <a:lnTo>
                    <a:pt x="2" y="148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38">
              <a:extLst>
                <a:ext uri="{FF2B5EF4-FFF2-40B4-BE49-F238E27FC236}">
                  <a16:creationId xmlns:a16="http://schemas.microsoft.com/office/drawing/2014/main" id="{38196697-D5C6-4CDD-9EE2-3A0B355491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8978" y="3651373"/>
              <a:ext cx="408427" cy="640279"/>
            </a:xfrm>
            <a:custGeom>
              <a:avLst/>
              <a:gdLst>
                <a:gd name="T0" fmla="*/ 3 w 266"/>
                <a:gd name="T1" fmla="*/ 39 h 417"/>
                <a:gd name="T2" fmla="*/ 71 w 266"/>
                <a:gd name="T3" fmla="*/ 36 h 417"/>
                <a:gd name="T4" fmla="*/ 100 w 266"/>
                <a:gd name="T5" fmla="*/ 7 h 417"/>
                <a:gd name="T6" fmla="*/ 107 w 266"/>
                <a:gd name="T7" fmla="*/ 17 h 417"/>
                <a:gd name="T8" fmla="*/ 181 w 266"/>
                <a:gd name="T9" fmla="*/ 0 h 417"/>
                <a:gd name="T10" fmla="*/ 200 w 266"/>
                <a:gd name="T11" fmla="*/ 17 h 417"/>
                <a:gd name="T12" fmla="*/ 200 w 266"/>
                <a:gd name="T13" fmla="*/ 22 h 417"/>
                <a:gd name="T14" fmla="*/ 215 w 266"/>
                <a:gd name="T15" fmla="*/ 87 h 417"/>
                <a:gd name="T16" fmla="*/ 230 w 266"/>
                <a:gd name="T17" fmla="*/ 96 h 417"/>
                <a:gd name="T18" fmla="*/ 211 w 266"/>
                <a:gd name="T19" fmla="*/ 104 h 417"/>
                <a:gd name="T20" fmla="*/ 230 w 266"/>
                <a:gd name="T21" fmla="*/ 141 h 417"/>
                <a:gd name="T22" fmla="*/ 202 w 266"/>
                <a:gd name="T23" fmla="*/ 175 h 417"/>
                <a:gd name="T24" fmla="*/ 228 w 266"/>
                <a:gd name="T25" fmla="*/ 192 h 417"/>
                <a:gd name="T26" fmla="*/ 207 w 266"/>
                <a:gd name="T27" fmla="*/ 234 h 417"/>
                <a:gd name="T28" fmla="*/ 219 w 266"/>
                <a:gd name="T29" fmla="*/ 287 h 417"/>
                <a:gd name="T30" fmla="*/ 260 w 266"/>
                <a:gd name="T31" fmla="*/ 287 h 417"/>
                <a:gd name="T32" fmla="*/ 241 w 266"/>
                <a:gd name="T33" fmla="*/ 340 h 417"/>
                <a:gd name="T34" fmla="*/ 266 w 266"/>
                <a:gd name="T35" fmla="*/ 351 h 417"/>
                <a:gd name="T36" fmla="*/ 260 w 266"/>
                <a:gd name="T37" fmla="*/ 374 h 417"/>
                <a:gd name="T38" fmla="*/ 200 w 266"/>
                <a:gd name="T39" fmla="*/ 387 h 417"/>
                <a:gd name="T40" fmla="*/ 181 w 266"/>
                <a:gd name="T41" fmla="*/ 417 h 417"/>
                <a:gd name="T42" fmla="*/ 137 w 266"/>
                <a:gd name="T43" fmla="*/ 372 h 417"/>
                <a:gd name="T44" fmla="*/ 51 w 266"/>
                <a:gd name="T45" fmla="*/ 349 h 417"/>
                <a:gd name="T46" fmla="*/ 24 w 266"/>
                <a:gd name="T47" fmla="*/ 287 h 417"/>
                <a:gd name="T48" fmla="*/ 79 w 266"/>
                <a:gd name="T49" fmla="*/ 260 h 417"/>
                <a:gd name="T50" fmla="*/ 56 w 266"/>
                <a:gd name="T51" fmla="*/ 253 h 417"/>
                <a:gd name="T52" fmla="*/ 66 w 266"/>
                <a:gd name="T53" fmla="*/ 202 h 417"/>
                <a:gd name="T54" fmla="*/ 47 w 266"/>
                <a:gd name="T55" fmla="*/ 102 h 417"/>
                <a:gd name="T56" fmla="*/ 0 w 266"/>
                <a:gd name="T57" fmla="*/ 41 h 417"/>
                <a:gd name="T58" fmla="*/ 3 w 266"/>
                <a:gd name="T59" fmla="*/ 39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66" h="417">
                  <a:moveTo>
                    <a:pt x="3" y="39"/>
                  </a:moveTo>
                  <a:lnTo>
                    <a:pt x="71" y="36"/>
                  </a:lnTo>
                  <a:lnTo>
                    <a:pt x="100" y="7"/>
                  </a:lnTo>
                  <a:lnTo>
                    <a:pt x="107" y="17"/>
                  </a:lnTo>
                  <a:lnTo>
                    <a:pt x="181" y="0"/>
                  </a:lnTo>
                  <a:lnTo>
                    <a:pt x="200" y="17"/>
                  </a:lnTo>
                  <a:lnTo>
                    <a:pt x="200" y="22"/>
                  </a:lnTo>
                  <a:lnTo>
                    <a:pt x="215" y="87"/>
                  </a:lnTo>
                  <a:lnTo>
                    <a:pt x="230" y="96"/>
                  </a:lnTo>
                  <a:lnTo>
                    <a:pt x="211" y="104"/>
                  </a:lnTo>
                  <a:lnTo>
                    <a:pt x="230" y="141"/>
                  </a:lnTo>
                  <a:lnTo>
                    <a:pt x="202" y="175"/>
                  </a:lnTo>
                  <a:lnTo>
                    <a:pt x="228" y="192"/>
                  </a:lnTo>
                  <a:lnTo>
                    <a:pt x="207" y="234"/>
                  </a:lnTo>
                  <a:lnTo>
                    <a:pt x="219" y="287"/>
                  </a:lnTo>
                  <a:lnTo>
                    <a:pt x="260" y="287"/>
                  </a:lnTo>
                  <a:lnTo>
                    <a:pt x="241" y="340"/>
                  </a:lnTo>
                  <a:lnTo>
                    <a:pt x="266" y="351"/>
                  </a:lnTo>
                  <a:lnTo>
                    <a:pt x="260" y="374"/>
                  </a:lnTo>
                  <a:lnTo>
                    <a:pt x="200" y="387"/>
                  </a:lnTo>
                  <a:lnTo>
                    <a:pt x="181" y="417"/>
                  </a:lnTo>
                  <a:lnTo>
                    <a:pt x="137" y="372"/>
                  </a:lnTo>
                  <a:lnTo>
                    <a:pt x="51" y="349"/>
                  </a:lnTo>
                  <a:lnTo>
                    <a:pt x="24" y="287"/>
                  </a:lnTo>
                  <a:lnTo>
                    <a:pt x="79" y="260"/>
                  </a:lnTo>
                  <a:lnTo>
                    <a:pt x="56" y="253"/>
                  </a:lnTo>
                  <a:lnTo>
                    <a:pt x="66" y="202"/>
                  </a:lnTo>
                  <a:lnTo>
                    <a:pt x="47" y="102"/>
                  </a:lnTo>
                  <a:lnTo>
                    <a:pt x="0" y="41"/>
                  </a:lnTo>
                  <a:lnTo>
                    <a:pt x="3" y="3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39">
              <a:extLst>
                <a:ext uri="{FF2B5EF4-FFF2-40B4-BE49-F238E27FC236}">
                  <a16:creationId xmlns:a16="http://schemas.microsoft.com/office/drawing/2014/main" id="{F1FE9E75-9B60-479F-A7E7-BE3FC4874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4338" y="2645659"/>
              <a:ext cx="66024" cy="115159"/>
            </a:xfrm>
            <a:custGeom>
              <a:avLst/>
              <a:gdLst>
                <a:gd name="T0" fmla="*/ 0 w 43"/>
                <a:gd name="T1" fmla="*/ 43 h 75"/>
                <a:gd name="T2" fmla="*/ 17 w 43"/>
                <a:gd name="T3" fmla="*/ 64 h 75"/>
                <a:gd name="T4" fmla="*/ 40 w 43"/>
                <a:gd name="T5" fmla="*/ 75 h 75"/>
                <a:gd name="T6" fmla="*/ 38 w 43"/>
                <a:gd name="T7" fmla="*/ 73 h 75"/>
                <a:gd name="T8" fmla="*/ 40 w 43"/>
                <a:gd name="T9" fmla="*/ 69 h 75"/>
                <a:gd name="T10" fmla="*/ 43 w 43"/>
                <a:gd name="T11" fmla="*/ 49 h 75"/>
                <a:gd name="T12" fmla="*/ 19 w 43"/>
                <a:gd name="T13" fmla="*/ 37 h 75"/>
                <a:gd name="T14" fmla="*/ 17 w 43"/>
                <a:gd name="T15" fmla="*/ 34 h 75"/>
                <a:gd name="T16" fmla="*/ 40 w 43"/>
                <a:gd name="T17" fmla="*/ 20 h 75"/>
                <a:gd name="T18" fmla="*/ 34 w 43"/>
                <a:gd name="T19" fmla="*/ 0 h 75"/>
                <a:gd name="T20" fmla="*/ 13 w 43"/>
                <a:gd name="T21" fmla="*/ 15 h 75"/>
                <a:gd name="T22" fmla="*/ 0 w 43"/>
                <a:gd name="T23" fmla="*/ 41 h 75"/>
                <a:gd name="T24" fmla="*/ 0 w 43"/>
                <a:gd name="T25" fmla="*/ 4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5">
                  <a:moveTo>
                    <a:pt x="0" y="43"/>
                  </a:moveTo>
                  <a:lnTo>
                    <a:pt x="17" y="64"/>
                  </a:lnTo>
                  <a:lnTo>
                    <a:pt x="40" y="75"/>
                  </a:lnTo>
                  <a:lnTo>
                    <a:pt x="38" y="73"/>
                  </a:lnTo>
                  <a:lnTo>
                    <a:pt x="40" y="69"/>
                  </a:lnTo>
                  <a:lnTo>
                    <a:pt x="43" y="49"/>
                  </a:lnTo>
                  <a:lnTo>
                    <a:pt x="19" y="37"/>
                  </a:lnTo>
                  <a:lnTo>
                    <a:pt x="17" y="34"/>
                  </a:lnTo>
                  <a:lnTo>
                    <a:pt x="40" y="20"/>
                  </a:lnTo>
                  <a:lnTo>
                    <a:pt x="34" y="0"/>
                  </a:lnTo>
                  <a:lnTo>
                    <a:pt x="13" y="15"/>
                  </a:lnTo>
                  <a:lnTo>
                    <a:pt x="0" y="41"/>
                  </a:lnTo>
                  <a:lnTo>
                    <a:pt x="0" y="43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0">
              <a:extLst>
                <a:ext uri="{FF2B5EF4-FFF2-40B4-BE49-F238E27FC236}">
                  <a16:creationId xmlns:a16="http://schemas.microsoft.com/office/drawing/2014/main" id="{6689A605-A536-40E0-95D1-9C00693F5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7140" y="5028663"/>
              <a:ext cx="589609" cy="568113"/>
            </a:xfrm>
            <a:custGeom>
              <a:avLst/>
              <a:gdLst>
                <a:gd name="T0" fmla="*/ 2 w 384"/>
                <a:gd name="T1" fmla="*/ 230 h 370"/>
                <a:gd name="T2" fmla="*/ 4 w 384"/>
                <a:gd name="T3" fmla="*/ 273 h 370"/>
                <a:gd name="T4" fmla="*/ 29 w 384"/>
                <a:gd name="T5" fmla="*/ 285 h 370"/>
                <a:gd name="T6" fmla="*/ 17 w 384"/>
                <a:gd name="T7" fmla="*/ 319 h 370"/>
                <a:gd name="T8" fmla="*/ 42 w 384"/>
                <a:gd name="T9" fmla="*/ 317 h 370"/>
                <a:gd name="T10" fmla="*/ 72 w 384"/>
                <a:gd name="T11" fmla="*/ 349 h 370"/>
                <a:gd name="T12" fmla="*/ 116 w 384"/>
                <a:gd name="T13" fmla="*/ 341 h 370"/>
                <a:gd name="T14" fmla="*/ 144 w 384"/>
                <a:gd name="T15" fmla="*/ 370 h 370"/>
                <a:gd name="T16" fmla="*/ 193 w 384"/>
                <a:gd name="T17" fmla="*/ 321 h 370"/>
                <a:gd name="T18" fmla="*/ 229 w 384"/>
                <a:gd name="T19" fmla="*/ 343 h 370"/>
                <a:gd name="T20" fmla="*/ 253 w 384"/>
                <a:gd name="T21" fmla="*/ 319 h 370"/>
                <a:gd name="T22" fmla="*/ 304 w 384"/>
                <a:gd name="T23" fmla="*/ 321 h 370"/>
                <a:gd name="T24" fmla="*/ 323 w 384"/>
                <a:gd name="T25" fmla="*/ 313 h 370"/>
                <a:gd name="T26" fmla="*/ 312 w 384"/>
                <a:gd name="T27" fmla="*/ 285 h 370"/>
                <a:gd name="T28" fmla="*/ 384 w 384"/>
                <a:gd name="T29" fmla="*/ 277 h 370"/>
                <a:gd name="T30" fmla="*/ 329 w 384"/>
                <a:gd name="T31" fmla="*/ 228 h 370"/>
                <a:gd name="T32" fmla="*/ 312 w 384"/>
                <a:gd name="T33" fmla="*/ 181 h 370"/>
                <a:gd name="T34" fmla="*/ 363 w 384"/>
                <a:gd name="T35" fmla="*/ 109 h 370"/>
                <a:gd name="T36" fmla="*/ 376 w 384"/>
                <a:gd name="T37" fmla="*/ 83 h 370"/>
                <a:gd name="T38" fmla="*/ 350 w 384"/>
                <a:gd name="T39" fmla="*/ 47 h 370"/>
                <a:gd name="T40" fmla="*/ 369 w 384"/>
                <a:gd name="T41" fmla="*/ 30 h 370"/>
                <a:gd name="T42" fmla="*/ 372 w 384"/>
                <a:gd name="T43" fmla="*/ 0 h 370"/>
                <a:gd name="T44" fmla="*/ 306 w 384"/>
                <a:gd name="T45" fmla="*/ 45 h 370"/>
                <a:gd name="T46" fmla="*/ 293 w 384"/>
                <a:gd name="T47" fmla="*/ 81 h 370"/>
                <a:gd name="T48" fmla="*/ 255 w 384"/>
                <a:gd name="T49" fmla="*/ 81 h 370"/>
                <a:gd name="T50" fmla="*/ 223 w 384"/>
                <a:gd name="T51" fmla="*/ 56 h 370"/>
                <a:gd name="T52" fmla="*/ 212 w 384"/>
                <a:gd name="T53" fmla="*/ 77 h 370"/>
                <a:gd name="T54" fmla="*/ 189 w 384"/>
                <a:gd name="T55" fmla="*/ 79 h 370"/>
                <a:gd name="T56" fmla="*/ 189 w 384"/>
                <a:gd name="T57" fmla="*/ 109 h 370"/>
                <a:gd name="T58" fmla="*/ 148 w 384"/>
                <a:gd name="T59" fmla="*/ 75 h 370"/>
                <a:gd name="T60" fmla="*/ 102 w 384"/>
                <a:gd name="T61" fmla="*/ 134 h 370"/>
                <a:gd name="T62" fmla="*/ 108 w 384"/>
                <a:gd name="T63" fmla="*/ 160 h 370"/>
                <a:gd name="T64" fmla="*/ 87 w 384"/>
                <a:gd name="T65" fmla="*/ 143 h 370"/>
                <a:gd name="T66" fmla="*/ 104 w 384"/>
                <a:gd name="T67" fmla="*/ 181 h 370"/>
                <a:gd name="T68" fmla="*/ 46 w 384"/>
                <a:gd name="T69" fmla="*/ 183 h 370"/>
                <a:gd name="T70" fmla="*/ 48 w 384"/>
                <a:gd name="T71" fmla="*/ 198 h 370"/>
                <a:gd name="T72" fmla="*/ 21 w 384"/>
                <a:gd name="T73" fmla="*/ 183 h 370"/>
                <a:gd name="T74" fmla="*/ 0 w 384"/>
                <a:gd name="T75" fmla="*/ 213 h 370"/>
                <a:gd name="T76" fmla="*/ 2 w 384"/>
                <a:gd name="T77" fmla="*/ 23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84" h="370">
                  <a:moveTo>
                    <a:pt x="2" y="230"/>
                  </a:moveTo>
                  <a:lnTo>
                    <a:pt x="4" y="273"/>
                  </a:lnTo>
                  <a:lnTo>
                    <a:pt x="29" y="285"/>
                  </a:lnTo>
                  <a:lnTo>
                    <a:pt x="17" y="319"/>
                  </a:lnTo>
                  <a:lnTo>
                    <a:pt x="42" y="317"/>
                  </a:lnTo>
                  <a:lnTo>
                    <a:pt x="72" y="349"/>
                  </a:lnTo>
                  <a:lnTo>
                    <a:pt x="116" y="341"/>
                  </a:lnTo>
                  <a:lnTo>
                    <a:pt x="144" y="370"/>
                  </a:lnTo>
                  <a:lnTo>
                    <a:pt x="193" y="321"/>
                  </a:lnTo>
                  <a:lnTo>
                    <a:pt x="229" y="343"/>
                  </a:lnTo>
                  <a:lnTo>
                    <a:pt x="253" y="319"/>
                  </a:lnTo>
                  <a:lnTo>
                    <a:pt x="304" y="321"/>
                  </a:lnTo>
                  <a:lnTo>
                    <a:pt x="323" y="313"/>
                  </a:lnTo>
                  <a:lnTo>
                    <a:pt x="312" y="285"/>
                  </a:lnTo>
                  <a:lnTo>
                    <a:pt x="384" y="277"/>
                  </a:lnTo>
                  <a:lnTo>
                    <a:pt x="329" y="228"/>
                  </a:lnTo>
                  <a:lnTo>
                    <a:pt x="312" y="181"/>
                  </a:lnTo>
                  <a:lnTo>
                    <a:pt x="363" y="109"/>
                  </a:lnTo>
                  <a:lnTo>
                    <a:pt x="376" y="83"/>
                  </a:lnTo>
                  <a:lnTo>
                    <a:pt x="350" y="47"/>
                  </a:lnTo>
                  <a:lnTo>
                    <a:pt x="369" y="30"/>
                  </a:lnTo>
                  <a:lnTo>
                    <a:pt x="372" y="0"/>
                  </a:lnTo>
                  <a:lnTo>
                    <a:pt x="306" y="45"/>
                  </a:lnTo>
                  <a:lnTo>
                    <a:pt x="293" y="81"/>
                  </a:lnTo>
                  <a:lnTo>
                    <a:pt x="255" y="81"/>
                  </a:lnTo>
                  <a:lnTo>
                    <a:pt x="223" y="56"/>
                  </a:lnTo>
                  <a:lnTo>
                    <a:pt x="212" y="77"/>
                  </a:lnTo>
                  <a:lnTo>
                    <a:pt x="189" y="79"/>
                  </a:lnTo>
                  <a:lnTo>
                    <a:pt x="189" y="109"/>
                  </a:lnTo>
                  <a:lnTo>
                    <a:pt x="148" y="75"/>
                  </a:lnTo>
                  <a:lnTo>
                    <a:pt x="102" y="134"/>
                  </a:lnTo>
                  <a:lnTo>
                    <a:pt x="108" y="160"/>
                  </a:lnTo>
                  <a:lnTo>
                    <a:pt x="87" y="143"/>
                  </a:lnTo>
                  <a:lnTo>
                    <a:pt x="104" y="181"/>
                  </a:lnTo>
                  <a:lnTo>
                    <a:pt x="46" y="183"/>
                  </a:lnTo>
                  <a:lnTo>
                    <a:pt x="48" y="198"/>
                  </a:lnTo>
                  <a:lnTo>
                    <a:pt x="21" y="183"/>
                  </a:lnTo>
                  <a:lnTo>
                    <a:pt x="0" y="213"/>
                  </a:lnTo>
                  <a:lnTo>
                    <a:pt x="2" y="23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9587FE3E-5A8E-4BB4-920A-59C597B3B9D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9217" y="2645659"/>
              <a:ext cx="460632" cy="552759"/>
            </a:xfrm>
            <a:custGeom>
              <a:avLst/>
              <a:gdLst>
                <a:gd name="T0" fmla="*/ 2 w 300"/>
                <a:gd name="T1" fmla="*/ 230 h 360"/>
                <a:gd name="T2" fmla="*/ 6 w 300"/>
                <a:gd name="T3" fmla="*/ 268 h 360"/>
                <a:gd name="T4" fmla="*/ 36 w 300"/>
                <a:gd name="T5" fmla="*/ 285 h 360"/>
                <a:gd name="T6" fmla="*/ 19 w 300"/>
                <a:gd name="T7" fmla="*/ 300 h 360"/>
                <a:gd name="T8" fmla="*/ 64 w 300"/>
                <a:gd name="T9" fmla="*/ 292 h 360"/>
                <a:gd name="T10" fmla="*/ 57 w 300"/>
                <a:gd name="T11" fmla="*/ 309 h 360"/>
                <a:gd name="T12" fmla="*/ 83 w 300"/>
                <a:gd name="T13" fmla="*/ 313 h 360"/>
                <a:gd name="T14" fmla="*/ 104 w 300"/>
                <a:gd name="T15" fmla="*/ 353 h 360"/>
                <a:gd name="T16" fmla="*/ 144 w 300"/>
                <a:gd name="T17" fmla="*/ 360 h 360"/>
                <a:gd name="T18" fmla="*/ 161 w 300"/>
                <a:gd name="T19" fmla="*/ 341 h 360"/>
                <a:gd name="T20" fmla="*/ 183 w 300"/>
                <a:gd name="T21" fmla="*/ 349 h 360"/>
                <a:gd name="T22" fmla="*/ 185 w 300"/>
                <a:gd name="T23" fmla="*/ 341 h 360"/>
                <a:gd name="T24" fmla="*/ 215 w 300"/>
                <a:gd name="T25" fmla="*/ 317 h 360"/>
                <a:gd name="T26" fmla="*/ 268 w 300"/>
                <a:gd name="T27" fmla="*/ 315 h 360"/>
                <a:gd name="T28" fmla="*/ 293 w 300"/>
                <a:gd name="T29" fmla="*/ 283 h 360"/>
                <a:gd name="T30" fmla="*/ 300 w 300"/>
                <a:gd name="T31" fmla="*/ 243 h 360"/>
                <a:gd name="T32" fmla="*/ 285 w 300"/>
                <a:gd name="T33" fmla="*/ 179 h 360"/>
                <a:gd name="T34" fmla="*/ 257 w 300"/>
                <a:gd name="T35" fmla="*/ 175 h 360"/>
                <a:gd name="T36" fmla="*/ 251 w 300"/>
                <a:gd name="T37" fmla="*/ 143 h 360"/>
                <a:gd name="T38" fmla="*/ 208 w 300"/>
                <a:gd name="T39" fmla="*/ 103 h 360"/>
                <a:gd name="T40" fmla="*/ 208 w 300"/>
                <a:gd name="T41" fmla="*/ 39 h 360"/>
                <a:gd name="T42" fmla="*/ 187 w 300"/>
                <a:gd name="T43" fmla="*/ 0 h 360"/>
                <a:gd name="T44" fmla="*/ 144 w 300"/>
                <a:gd name="T45" fmla="*/ 64 h 360"/>
                <a:gd name="T46" fmla="*/ 93 w 300"/>
                <a:gd name="T47" fmla="*/ 54 h 360"/>
                <a:gd name="T48" fmla="*/ 17 w 300"/>
                <a:gd name="T49" fmla="*/ 94 h 360"/>
                <a:gd name="T50" fmla="*/ 53 w 300"/>
                <a:gd name="T51" fmla="*/ 179 h 360"/>
                <a:gd name="T52" fmla="*/ 0 w 300"/>
                <a:gd name="T53" fmla="*/ 230 h 360"/>
                <a:gd name="T54" fmla="*/ 2 w 300"/>
                <a:gd name="T55" fmla="*/ 23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00" h="360">
                  <a:moveTo>
                    <a:pt x="2" y="230"/>
                  </a:moveTo>
                  <a:lnTo>
                    <a:pt x="6" y="268"/>
                  </a:lnTo>
                  <a:lnTo>
                    <a:pt x="36" y="285"/>
                  </a:lnTo>
                  <a:lnTo>
                    <a:pt x="19" y="300"/>
                  </a:lnTo>
                  <a:lnTo>
                    <a:pt x="64" y="292"/>
                  </a:lnTo>
                  <a:lnTo>
                    <a:pt x="57" y="309"/>
                  </a:lnTo>
                  <a:lnTo>
                    <a:pt x="83" y="313"/>
                  </a:lnTo>
                  <a:lnTo>
                    <a:pt x="104" y="353"/>
                  </a:lnTo>
                  <a:lnTo>
                    <a:pt x="144" y="360"/>
                  </a:lnTo>
                  <a:lnTo>
                    <a:pt x="161" y="341"/>
                  </a:lnTo>
                  <a:lnTo>
                    <a:pt x="183" y="349"/>
                  </a:lnTo>
                  <a:lnTo>
                    <a:pt x="185" y="341"/>
                  </a:lnTo>
                  <a:lnTo>
                    <a:pt x="215" y="317"/>
                  </a:lnTo>
                  <a:lnTo>
                    <a:pt x="268" y="315"/>
                  </a:lnTo>
                  <a:lnTo>
                    <a:pt x="293" y="283"/>
                  </a:lnTo>
                  <a:lnTo>
                    <a:pt x="300" y="243"/>
                  </a:lnTo>
                  <a:lnTo>
                    <a:pt x="285" y="179"/>
                  </a:lnTo>
                  <a:lnTo>
                    <a:pt x="257" y="175"/>
                  </a:lnTo>
                  <a:lnTo>
                    <a:pt x="251" y="143"/>
                  </a:lnTo>
                  <a:lnTo>
                    <a:pt x="208" y="103"/>
                  </a:lnTo>
                  <a:lnTo>
                    <a:pt x="208" y="39"/>
                  </a:lnTo>
                  <a:lnTo>
                    <a:pt x="187" y="0"/>
                  </a:lnTo>
                  <a:lnTo>
                    <a:pt x="144" y="64"/>
                  </a:lnTo>
                  <a:lnTo>
                    <a:pt x="93" y="54"/>
                  </a:lnTo>
                  <a:lnTo>
                    <a:pt x="17" y="94"/>
                  </a:lnTo>
                  <a:lnTo>
                    <a:pt x="53" y="179"/>
                  </a:lnTo>
                  <a:lnTo>
                    <a:pt x="0" y="230"/>
                  </a:lnTo>
                  <a:lnTo>
                    <a:pt x="2" y="230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0CB0AFE5-B823-4CD4-A294-270D4F73C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7370" y="3857122"/>
              <a:ext cx="672523" cy="486735"/>
            </a:xfrm>
            <a:custGeom>
              <a:avLst/>
              <a:gdLst>
                <a:gd name="T0" fmla="*/ 4 w 438"/>
                <a:gd name="T1" fmla="*/ 138 h 317"/>
                <a:gd name="T2" fmla="*/ 8 w 438"/>
                <a:gd name="T3" fmla="*/ 164 h 317"/>
                <a:gd name="T4" fmla="*/ 53 w 438"/>
                <a:gd name="T5" fmla="*/ 189 h 317"/>
                <a:gd name="T6" fmla="*/ 74 w 438"/>
                <a:gd name="T7" fmla="*/ 240 h 317"/>
                <a:gd name="T8" fmla="*/ 89 w 438"/>
                <a:gd name="T9" fmla="*/ 247 h 317"/>
                <a:gd name="T10" fmla="*/ 117 w 438"/>
                <a:gd name="T11" fmla="*/ 211 h 317"/>
                <a:gd name="T12" fmla="*/ 134 w 438"/>
                <a:gd name="T13" fmla="*/ 219 h 317"/>
                <a:gd name="T14" fmla="*/ 138 w 438"/>
                <a:gd name="T15" fmla="*/ 204 h 317"/>
                <a:gd name="T16" fmla="*/ 166 w 438"/>
                <a:gd name="T17" fmla="*/ 202 h 317"/>
                <a:gd name="T18" fmla="*/ 176 w 438"/>
                <a:gd name="T19" fmla="*/ 247 h 317"/>
                <a:gd name="T20" fmla="*/ 230 w 438"/>
                <a:gd name="T21" fmla="*/ 268 h 317"/>
                <a:gd name="T22" fmla="*/ 298 w 438"/>
                <a:gd name="T23" fmla="*/ 268 h 317"/>
                <a:gd name="T24" fmla="*/ 302 w 438"/>
                <a:gd name="T25" fmla="*/ 289 h 317"/>
                <a:gd name="T26" fmla="*/ 334 w 438"/>
                <a:gd name="T27" fmla="*/ 283 h 317"/>
                <a:gd name="T28" fmla="*/ 359 w 438"/>
                <a:gd name="T29" fmla="*/ 317 h 317"/>
                <a:gd name="T30" fmla="*/ 361 w 438"/>
                <a:gd name="T31" fmla="*/ 315 h 317"/>
                <a:gd name="T32" fmla="*/ 393 w 438"/>
                <a:gd name="T33" fmla="*/ 296 h 317"/>
                <a:gd name="T34" fmla="*/ 380 w 438"/>
                <a:gd name="T35" fmla="*/ 211 h 317"/>
                <a:gd name="T36" fmla="*/ 412 w 438"/>
                <a:gd name="T37" fmla="*/ 192 h 317"/>
                <a:gd name="T38" fmla="*/ 438 w 438"/>
                <a:gd name="T39" fmla="*/ 175 h 317"/>
                <a:gd name="T40" fmla="*/ 438 w 438"/>
                <a:gd name="T41" fmla="*/ 130 h 317"/>
                <a:gd name="T42" fmla="*/ 372 w 438"/>
                <a:gd name="T43" fmla="*/ 96 h 317"/>
                <a:gd name="T44" fmla="*/ 342 w 438"/>
                <a:gd name="T45" fmla="*/ 21 h 317"/>
                <a:gd name="T46" fmla="*/ 344 w 438"/>
                <a:gd name="T47" fmla="*/ 19 h 317"/>
                <a:gd name="T48" fmla="*/ 300 w 438"/>
                <a:gd name="T49" fmla="*/ 55 h 317"/>
                <a:gd name="T50" fmla="*/ 283 w 438"/>
                <a:gd name="T51" fmla="*/ 30 h 317"/>
                <a:gd name="T52" fmla="*/ 236 w 438"/>
                <a:gd name="T53" fmla="*/ 45 h 317"/>
                <a:gd name="T54" fmla="*/ 191 w 438"/>
                <a:gd name="T55" fmla="*/ 0 h 317"/>
                <a:gd name="T56" fmla="*/ 164 w 438"/>
                <a:gd name="T57" fmla="*/ 2 h 317"/>
                <a:gd name="T58" fmla="*/ 147 w 438"/>
                <a:gd name="T59" fmla="*/ 26 h 317"/>
                <a:gd name="T60" fmla="*/ 110 w 438"/>
                <a:gd name="T61" fmla="*/ 21 h 317"/>
                <a:gd name="T62" fmla="*/ 79 w 438"/>
                <a:gd name="T63" fmla="*/ 49 h 317"/>
                <a:gd name="T64" fmla="*/ 89 w 438"/>
                <a:gd name="T65" fmla="*/ 90 h 317"/>
                <a:gd name="T66" fmla="*/ 25 w 438"/>
                <a:gd name="T67" fmla="*/ 102 h 317"/>
                <a:gd name="T68" fmla="*/ 0 w 438"/>
                <a:gd name="T69" fmla="*/ 136 h 317"/>
                <a:gd name="T70" fmla="*/ 4 w 438"/>
                <a:gd name="T71" fmla="*/ 138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38" h="317">
                  <a:moveTo>
                    <a:pt x="4" y="138"/>
                  </a:moveTo>
                  <a:lnTo>
                    <a:pt x="8" y="164"/>
                  </a:lnTo>
                  <a:lnTo>
                    <a:pt x="53" y="189"/>
                  </a:lnTo>
                  <a:lnTo>
                    <a:pt x="74" y="240"/>
                  </a:lnTo>
                  <a:lnTo>
                    <a:pt x="89" y="247"/>
                  </a:lnTo>
                  <a:lnTo>
                    <a:pt x="117" y="211"/>
                  </a:lnTo>
                  <a:lnTo>
                    <a:pt x="134" y="219"/>
                  </a:lnTo>
                  <a:lnTo>
                    <a:pt x="138" y="204"/>
                  </a:lnTo>
                  <a:lnTo>
                    <a:pt x="166" y="202"/>
                  </a:lnTo>
                  <a:lnTo>
                    <a:pt x="176" y="247"/>
                  </a:lnTo>
                  <a:lnTo>
                    <a:pt x="230" y="268"/>
                  </a:lnTo>
                  <a:lnTo>
                    <a:pt x="298" y="268"/>
                  </a:lnTo>
                  <a:lnTo>
                    <a:pt x="302" y="289"/>
                  </a:lnTo>
                  <a:lnTo>
                    <a:pt x="334" y="283"/>
                  </a:lnTo>
                  <a:lnTo>
                    <a:pt x="359" y="317"/>
                  </a:lnTo>
                  <a:lnTo>
                    <a:pt x="361" y="315"/>
                  </a:lnTo>
                  <a:lnTo>
                    <a:pt x="393" y="296"/>
                  </a:lnTo>
                  <a:lnTo>
                    <a:pt x="380" y="211"/>
                  </a:lnTo>
                  <a:lnTo>
                    <a:pt x="412" y="192"/>
                  </a:lnTo>
                  <a:lnTo>
                    <a:pt x="438" y="175"/>
                  </a:lnTo>
                  <a:lnTo>
                    <a:pt x="438" y="130"/>
                  </a:lnTo>
                  <a:lnTo>
                    <a:pt x="372" y="96"/>
                  </a:lnTo>
                  <a:lnTo>
                    <a:pt x="342" y="21"/>
                  </a:lnTo>
                  <a:lnTo>
                    <a:pt x="344" y="19"/>
                  </a:lnTo>
                  <a:lnTo>
                    <a:pt x="300" y="55"/>
                  </a:lnTo>
                  <a:lnTo>
                    <a:pt x="283" y="30"/>
                  </a:lnTo>
                  <a:lnTo>
                    <a:pt x="236" y="45"/>
                  </a:lnTo>
                  <a:lnTo>
                    <a:pt x="191" y="0"/>
                  </a:lnTo>
                  <a:lnTo>
                    <a:pt x="164" y="2"/>
                  </a:lnTo>
                  <a:lnTo>
                    <a:pt x="147" y="26"/>
                  </a:lnTo>
                  <a:lnTo>
                    <a:pt x="110" y="21"/>
                  </a:lnTo>
                  <a:lnTo>
                    <a:pt x="79" y="49"/>
                  </a:lnTo>
                  <a:lnTo>
                    <a:pt x="89" y="90"/>
                  </a:lnTo>
                  <a:lnTo>
                    <a:pt x="25" y="102"/>
                  </a:lnTo>
                  <a:lnTo>
                    <a:pt x="0" y="136"/>
                  </a:lnTo>
                  <a:lnTo>
                    <a:pt x="4" y="138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BFE4F9FA-DAF4-449D-99AF-F2400C22B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0289" y="4775315"/>
              <a:ext cx="663310" cy="534333"/>
            </a:xfrm>
            <a:custGeom>
              <a:avLst/>
              <a:gdLst>
                <a:gd name="T0" fmla="*/ 4 w 432"/>
                <a:gd name="T1" fmla="*/ 270 h 348"/>
                <a:gd name="T2" fmla="*/ 21 w 432"/>
                <a:gd name="T3" fmla="*/ 295 h 348"/>
                <a:gd name="T4" fmla="*/ 55 w 432"/>
                <a:gd name="T5" fmla="*/ 295 h 348"/>
                <a:gd name="T6" fmla="*/ 70 w 432"/>
                <a:gd name="T7" fmla="*/ 348 h 348"/>
                <a:gd name="T8" fmla="*/ 128 w 432"/>
                <a:gd name="T9" fmla="*/ 346 h 348"/>
                <a:gd name="T10" fmla="*/ 111 w 432"/>
                <a:gd name="T11" fmla="*/ 308 h 348"/>
                <a:gd name="T12" fmla="*/ 132 w 432"/>
                <a:gd name="T13" fmla="*/ 325 h 348"/>
                <a:gd name="T14" fmla="*/ 126 w 432"/>
                <a:gd name="T15" fmla="*/ 299 h 348"/>
                <a:gd name="T16" fmla="*/ 172 w 432"/>
                <a:gd name="T17" fmla="*/ 240 h 348"/>
                <a:gd name="T18" fmla="*/ 213 w 432"/>
                <a:gd name="T19" fmla="*/ 274 h 348"/>
                <a:gd name="T20" fmla="*/ 213 w 432"/>
                <a:gd name="T21" fmla="*/ 244 h 348"/>
                <a:gd name="T22" fmla="*/ 236 w 432"/>
                <a:gd name="T23" fmla="*/ 242 h 348"/>
                <a:gd name="T24" fmla="*/ 247 w 432"/>
                <a:gd name="T25" fmla="*/ 221 h 348"/>
                <a:gd name="T26" fmla="*/ 279 w 432"/>
                <a:gd name="T27" fmla="*/ 246 h 348"/>
                <a:gd name="T28" fmla="*/ 317 w 432"/>
                <a:gd name="T29" fmla="*/ 246 h 348"/>
                <a:gd name="T30" fmla="*/ 330 w 432"/>
                <a:gd name="T31" fmla="*/ 210 h 348"/>
                <a:gd name="T32" fmla="*/ 396 w 432"/>
                <a:gd name="T33" fmla="*/ 165 h 348"/>
                <a:gd name="T34" fmla="*/ 432 w 432"/>
                <a:gd name="T35" fmla="*/ 155 h 348"/>
                <a:gd name="T36" fmla="*/ 413 w 432"/>
                <a:gd name="T37" fmla="*/ 104 h 348"/>
                <a:gd name="T38" fmla="*/ 342 w 432"/>
                <a:gd name="T39" fmla="*/ 76 h 348"/>
                <a:gd name="T40" fmla="*/ 336 w 432"/>
                <a:gd name="T41" fmla="*/ 36 h 348"/>
                <a:gd name="T42" fmla="*/ 319 w 432"/>
                <a:gd name="T43" fmla="*/ 34 h 348"/>
                <a:gd name="T44" fmla="*/ 306 w 432"/>
                <a:gd name="T45" fmla="*/ 2 h 348"/>
                <a:gd name="T46" fmla="*/ 274 w 432"/>
                <a:gd name="T47" fmla="*/ 6 h 348"/>
                <a:gd name="T48" fmla="*/ 262 w 432"/>
                <a:gd name="T49" fmla="*/ 25 h 348"/>
                <a:gd name="T50" fmla="*/ 211 w 432"/>
                <a:gd name="T51" fmla="*/ 0 h 348"/>
                <a:gd name="T52" fmla="*/ 198 w 432"/>
                <a:gd name="T53" fmla="*/ 42 h 348"/>
                <a:gd name="T54" fmla="*/ 228 w 432"/>
                <a:gd name="T55" fmla="*/ 44 h 348"/>
                <a:gd name="T56" fmla="*/ 240 w 432"/>
                <a:gd name="T57" fmla="*/ 97 h 348"/>
                <a:gd name="T58" fmla="*/ 151 w 432"/>
                <a:gd name="T59" fmla="*/ 110 h 348"/>
                <a:gd name="T60" fmla="*/ 98 w 432"/>
                <a:gd name="T61" fmla="*/ 159 h 348"/>
                <a:gd name="T62" fmla="*/ 94 w 432"/>
                <a:gd name="T63" fmla="*/ 178 h 348"/>
                <a:gd name="T64" fmla="*/ 55 w 432"/>
                <a:gd name="T65" fmla="*/ 180 h 348"/>
                <a:gd name="T66" fmla="*/ 45 w 432"/>
                <a:gd name="T67" fmla="*/ 219 h 348"/>
                <a:gd name="T68" fmla="*/ 62 w 432"/>
                <a:gd name="T69" fmla="*/ 233 h 348"/>
                <a:gd name="T70" fmla="*/ 49 w 432"/>
                <a:gd name="T71" fmla="*/ 246 h 348"/>
                <a:gd name="T72" fmla="*/ 9 w 432"/>
                <a:gd name="T73" fmla="*/ 238 h 348"/>
                <a:gd name="T74" fmla="*/ 19 w 432"/>
                <a:gd name="T75" fmla="*/ 263 h 348"/>
                <a:gd name="T76" fmla="*/ 0 w 432"/>
                <a:gd name="T77" fmla="*/ 265 h 348"/>
                <a:gd name="T78" fmla="*/ 4 w 432"/>
                <a:gd name="T79" fmla="*/ 27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32" h="348">
                  <a:moveTo>
                    <a:pt x="4" y="270"/>
                  </a:moveTo>
                  <a:lnTo>
                    <a:pt x="21" y="295"/>
                  </a:lnTo>
                  <a:lnTo>
                    <a:pt x="55" y="295"/>
                  </a:lnTo>
                  <a:lnTo>
                    <a:pt x="70" y="348"/>
                  </a:lnTo>
                  <a:lnTo>
                    <a:pt x="128" y="346"/>
                  </a:lnTo>
                  <a:lnTo>
                    <a:pt x="111" y="308"/>
                  </a:lnTo>
                  <a:lnTo>
                    <a:pt x="132" y="325"/>
                  </a:lnTo>
                  <a:lnTo>
                    <a:pt x="126" y="299"/>
                  </a:lnTo>
                  <a:lnTo>
                    <a:pt x="172" y="240"/>
                  </a:lnTo>
                  <a:lnTo>
                    <a:pt x="213" y="274"/>
                  </a:lnTo>
                  <a:lnTo>
                    <a:pt x="213" y="244"/>
                  </a:lnTo>
                  <a:lnTo>
                    <a:pt x="236" y="242"/>
                  </a:lnTo>
                  <a:lnTo>
                    <a:pt x="247" y="221"/>
                  </a:lnTo>
                  <a:lnTo>
                    <a:pt x="279" y="246"/>
                  </a:lnTo>
                  <a:lnTo>
                    <a:pt x="317" y="246"/>
                  </a:lnTo>
                  <a:lnTo>
                    <a:pt x="330" y="210"/>
                  </a:lnTo>
                  <a:lnTo>
                    <a:pt x="396" y="165"/>
                  </a:lnTo>
                  <a:lnTo>
                    <a:pt x="432" y="155"/>
                  </a:lnTo>
                  <a:lnTo>
                    <a:pt x="413" y="104"/>
                  </a:lnTo>
                  <a:lnTo>
                    <a:pt x="342" y="76"/>
                  </a:lnTo>
                  <a:lnTo>
                    <a:pt x="336" y="36"/>
                  </a:lnTo>
                  <a:lnTo>
                    <a:pt x="319" y="34"/>
                  </a:lnTo>
                  <a:lnTo>
                    <a:pt x="306" y="2"/>
                  </a:lnTo>
                  <a:lnTo>
                    <a:pt x="274" y="6"/>
                  </a:lnTo>
                  <a:lnTo>
                    <a:pt x="262" y="25"/>
                  </a:lnTo>
                  <a:lnTo>
                    <a:pt x="211" y="0"/>
                  </a:lnTo>
                  <a:lnTo>
                    <a:pt x="198" y="42"/>
                  </a:lnTo>
                  <a:lnTo>
                    <a:pt x="228" y="44"/>
                  </a:lnTo>
                  <a:lnTo>
                    <a:pt x="240" y="97"/>
                  </a:lnTo>
                  <a:lnTo>
                    <a:pt x="151" y="110"/>
                  </a:lnTo>
                  <a:lnTo>
                    <a:pt x="98" y="159"/>
                  </a:lnTo>
                  <a:lnTo>
                    <a:pt x="94" y="178"/>
                  </a:lnTo>
                  <a:lnTo>
                    <a:pt x="55" y="180"/>
                  </a:lnTo>
                  <a:lnTo>
                    <a:pt x="45" y="219"/>
                  </a:lnTo>
                  <a:lnTo>
                    <a:pt x="62" y="233"/>
                  </a:lnTo>
                  <a:lnTo>
                    <a:pt x="49" y="246"/>
                  </a:lnTo>
                  <a:lnTo>
                    <a:pt x="9" y="238"/>
                  </a:lnTo>
                  <a:lnTo>
                    <a:pt x="19" y="263"/>
                  </a:lnTo>
                  <a:lnTo>
                    <a:pt x="0" y="265"/>
                  </a:lnTo>
                  <a:lnTo>
                    <a:pt x="4" y="27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44">
              <a:extLst>
                <a:ext uri="{FF2B5EF4-FFF2-40B4-BE49-F238E27FC236}">
                  <a16:creationId xmlns:a16="http://schemas.microsoft.com/office/drawing/2014/main" id="{23D61737-D23C-4CE6-9DB7-5381ABA516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6822" y="1970065"/>
              <a:ext cx="495948" cy="518979"/>
            </a:xfrm>
            <a:custGeom>
              <a:avLst/>
              <a:gdLst>
                <a:gd name="T0" fmla="*/ 0 w 323"/>
                <a:gd name="T1" fmla="*/ 200 h 338"/>
                <a:gd name="T2" fmla="*/ 6 w 323"/>
                <a:gd name="T3" fmla="*/ 275 h 338"/>
                <a:gd name="T4" fmla="*/ 38 w 323"/>
                <a:gd name="T5" fmla="*/ 277 h 338"/>
                <a:gd name="T6" fmla="*/ 100 w 323"/>
                <a:gd name="T7" fmla="*/ 324 h 338"/>
                <a:gd name="T8" fmla="*/ 127 w 323"/>
                <a:gd name="T9" fmla="*/ 315 h 338"/>
                <a:gd name="T10" fmla="*/ 149 w 323"/>
                <a:gd name="T11" fmla="*/ 338 h 338"/>
                <a:gd name="T12" fmla="*/ 223 w 323"/>
                <a:gd name="T13" fmla="*/ 334 h 338"/>
                <a:gd name="T14" fmla="*/ 244 w 323"/>
                <a:gd name="T15" fmla="*/ 321 h 338"/>
                <a:gd name="T16" fmla="*/ 257 w 323"/>
                <a:gd name="T17" fmla="*/ 279 h 338"/>
                <a:gd name="T18" fmla="*/ 244 w 323"/>
                <a:gd name="T19" fmla="*/ 236 h 338"/>
                <a:gd name="T20" fmla="*/ 255 w 323"/>
                <a:gd name="T21" fmla="*/ 209 h 338"/>
                <a:gd name="T22" fmla="*/ 295 w 323"/>
                <a:gd name="T23" fmla="*/ 221 h 338"/>
                <a:gd name="T24" fmla="*/ 323 w 323"/>
                <a:gd name="T25" fmla="*/ 194 h 338"/>
                <a:gd name="T26" fmla="*/ 306 w 323"/>
                <a:gd name="T27" fmla="*/ 196 h 338"/>
                <a:gd name="T28" fmla="*/ 293 w 323"/>
                <a:gd name="T29" fmla="*/ 166 h 338"/>
                <a:gd name="T30" fmla="*/ 270 w 323"/>
                <a:gd name="T31" fmla="*/ 166 h 338"/>
                <a:gd name="T32" fmla="*/ 227 w 323"/>
                <a:gd name="T33" fmla="*/ 130 h 338"/>
                <a:gd name="T34" fmla="*/ 195 w 323"/>
                <a:gd name="T35" fmla="*/ 134 h 338"/>
                <a:gd name="T36" fmla="*/ 202 w 323"/>
                <a:gd name="T37" fmla="*/ 90 h 338"/>
                <a:gd name="T38" fmla="*/ 178 w 323"/>
                <a:gd name="T39" fmla="*/ 64 h 338"/>
                <a:gd name="T40" fmla="*/ 197 w 323"/>
                <a:gd name="T41" fmla="*/ 0 h 338"/>
                <a:gd name="T42" fmla="*/ 155 w 323"/>
                <a:gd name="T43" fmla="*/ 22 h 338"/>
                <a:gd name="T44" fmla="*/ 155 w 323"/>
                <a:gd name="T45" fmla="*/ 58 h 338"/>
                <a:gd name="T46" fmla="*/ 97 w 323"/>
                <a:gd name="T47" fmla="*/ 81 h 338"/>
                <a:gd name="T48" fmla="*/ 46 w 323"/>
                <a:gd name="T49" fmla="*/ 75 h 338"/>
                <a:gd name="T50" fmla="*/ 46 w 323"/>
                <a:gd name="T51" fmla="*/ 158 h 338"/>
                <a:gd name="T52" fmla="*/ 0 w 323"/>
                <a:gd name="T53" fmla="*/ 196 h 338"/>
                <a:gd name="T54" fmla="*/ 0 w 323"/>
                <a:gd name="T55" fmla="*/ 20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23" h="338">
                  <a:moveTo>
                    <a:pt x="0" y="200"/>
                  </a:moveTo>
                  <a:lnTo>
                    <a:pt x="6" y="275"/>
                  </a:lnTo>
                  <a:lnTo>
                    <a:pt x="38" y="277"/>
                  </a:lnTo>
                  <a:lnTo>
                    <a:pt x="100" y="324"/>
                  </a:lnTo>
                  <a:lnTo>
                    <a:pt x="127" y="315"/>
                  </a:lnTo>
                  <a:lnTo>
                    <a:pt x="149" y="338"/>
                  </a:lnTo>
                  <a:lnTo>
                    <a:pt x="223" y="334"/>
                  </a:lnTo>
                  <a:lnTo>
                    <a:pt x="244" y="321"/>
                  </a:lnTo>
                  <a:lnTo>
                    <a:pt x="257" y="279"/>
                  </a:lnTo>
                  <a:lnTo>
                    <a:pt x="244" y="236"/>
                  </a:lnTo>
                  <a:lnTo>
                    <a:pt x="255" y="209"/>
                  </a:lnTo>
                  <a:lnTo>
                    <a:pt x="295" y="221"/>
                  </a:lnTo>
                  <a:lnTo>
                    <a:pt x="323" y="194"/>
                  </a:lnTo>
                  <a:lnTo>
                    <a:pt x="306" y="196"/>
                  </a:lnTo>
                  <a:lnTo>
                    <a:pt x="293" y="166"/>
                  </a:lnTo>
                  <a:lnTo>
                    <a:pt x="270" y="166"/>
                  </a:lnTo>
                  <a:lnTo>
                    <a:pt x="227" y="130"/>
                  </a:lnTo>
                  <a:lnTo>
                    <a:pt x="195" y="134"/>
                  </a:lnTo>
                  <a:lnTo>
                    <a:pt x="202" y="90"/>
                  </a:lnTo>
                  <a:lnTo>
                    <a:pt x="178" y="64"/>
                  </a:lnTo>
                  <a:lnTo>
                    <a:pt x="197" y="0"/>
                  </a:lnTo>
                  <a:lnTo>
                    <a:pt x="155" y="22"/>
                  </a:lnTo>
                  <a:lnTo>
                    <a:pt x="155" y="58"/>
                  </a:lnTo>
                  <a:lnTo>
                    <a:pt x="97" y="81"/>
                  </a:lnTo>
                  <a:lnTo>
                    <a:pt x="46" y="75"/>
                  </a:lnTo>
                  <a:lnTo>
                    <a:pt x="46" y="158"/>
                  </a:lnTo>
                  <a:lnTo>
                    <a:pt x="0" y="196"/>
                  </a:lnTo>
                  <a:lnTo>
                    <a:pt x="0" y="200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45">
              <a:extLst>
                <a:ext uri="{FF2B5EF4-FFF2-40B4-BE49-F238E27FC236}">
                  <a16:creationId xmlns:a16="http://schemas.microsoft.com/office/drawing/2014/main" id="{79963E6D-7DDC-4650-99A2-BA1C83EBA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7052" y="5810203"/>
              <a:ext cx="551224" cy="417640"/>
            </a:xfrm>
            <a:custGeom>
              <a:avLst/>
              <a:gdLst>
                <a:gd name="T0" fmla="*/ 0 w 359"/>
                <a:gd name="T1" fmla="*/ 140 h 272"/>
                <a:gd name="T2" fmla="*/ 40 w 359"/>
                <a:gd name="T3" fmla="*/ 119 h 272"/>
                <a:gd name="T4" fmla="*/ 45 w 359"/>
                <a:gd name="T5" fmla="*/ 72 h 272"/>
                <a:gd name="T6" fmla="*/ 64 w 359"/>
                <a:gd name="T7" fmla="*/ 57 h 272"/>
                <a:gd name="T8" fmla="*/ 119 w 359"/>
                <a:gd name="T9" fmla="*/ 76 h 272"/>
                <a:gd name="T10" fmla="*/ 130 w 359"/>
                <a:gd name="T11" fmla="*/ 65 h 272"/>
                <a:gd name="T12" fmla="*/ 111 w 359"/>
                <a:gd name="T13" fmla="*/ 42 h 272"/>
                <a:gd name="T14" fmla="*/ 151 w 359"/>
                <a:gd name="T15" fmla="*/ 29 h 272"/>
                <a:gd name="T16" fmla="*/ 128 w 359"/>
                <a:gd name="T17" fmla="*/ 12 h 272"/>
                <a:gd name="T18" fmla="*/ 136 w 359"/>
                <a:gd name="T19" fmla="*/ 0 h 272"/>
                <a:gd name="T20" fmla="*/ 174 w 359"/>
                <a:gd name="T21" fmla="*/ 36 h 272"/>
                <a:gd name="T22" fmla="*/ 183 w 359"/>
                <a:gd name="T23" fmla="*/ 6 h 272"/>
                <a:gd name="T24" fmla="*/ 221 w 359"/>
                <a:gd name="T25" fmla="*/ 27 h 272"/>
                <a:gd name="T26" fmla="*/ 234 w 359"/>
                <a:gd name="T27" fmla="*/ 14 h 272"/>
                <a:gd name="T28" fmla="*/ 240 w 359"/>
                <a:gd name="T29" fmla="*/ 44 h 272"/>
                <a:gd name="T30" fmla="*/ 302 w 359"/>
                <a:gd name="T31" fmla="*/ 70 h 272"/>
                <a:gd name="T32" fmla="*/ 313 w 359"/>
                <a:gd name="T33" fmla="*/ 104 h 272"/>
                <a:gd name="T34" fmla="*/ 317 w 359"/>
                <a:gd name="T35" fmla="*/ 131 h 272"/>
                <a:gd name="T36" fmla="*/ 298 w 359"/>
                <a:gd name="T37" fmla="*/ 138 h 272"/>
                <a:gd name="T38" fmla="*/ 313 w 359"/>
                <a:gd name="T39" fmla="*/ 161 h 272"/>
                <a:gd name="T40" fmla="*/ 276 w 359"/>
                <a:gd name="T41" fmla="*/ 180 h 272"/>
                <a:gd name="T42" fmla="*/ 302 w 359"/>
                <a:gd name="T43" fmla="*/ 212 h 272"/>
                <a:gd name="T44" fmla="*/ 336 w 359"/>
                <a:gd name="T45" fmla="*/ 206 h 272"/>
                <a:gd name="T46" fmla="*/ 359 w 359"/>
                <a:gd name="T47" fmla="*/ 240 h 272"/>
                <a:gd name="T48" fmla="*/ 315 w 359"/>
                <a:gd name="T49" fmla="*/ 240 h 272"/>
                <a:gd name="T50" fmla="*/ 255 w 359"/>
                <a:gd name="T51" fmla="*/ 272 h 272"/>
                <a:gd name="T52" fmla="*/ 196 w 359"/>
                <a:gd name="T53" fmla="*/ 240 h 272"/>
                <a:gd name="T54" fmla="*/ 162 w 359"/>
                <a:gd name="T55" fmla="*/ 257 h 272"/>
                <a:gd name="T56" fmla="*/ 140 w 359"/>
                <a:gd name="T57" fmla="*/ 214 h 272"/>
                <a:gd name="T58" fmla="*/ 91 w 359"/>
                <a:gd name="T59" fmla="*/ 216 h 272"/>
                <a:gd name="T60" fmla="*/ 66 w 359"/>
                <a:gd name="T61" fmla="*/ 187 h 272"/>
                <a:gd name="T62" fmla="*/ 6 w 359"/>
                <a:gd name="T63" fmla="*/ 170 h 272"/>
                <a:gd name="T64" fmla="*/ 0 w 359"/>
                <a:gd name="T65" fmla="*/ 142 h 272"/>
                <a:gd name="T66" fmla="*/ 0 w 359"/>
                <a:gd name="T67" fmla="*/ 14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9" h="272">
                  <a:moveTo>
                    <a:pt x="0" y="140"/>
                  </a:moveTo>
                  <a:lnTo>
                    <a:pt x="40" y="119"/>
                  </a:lnTo>
                  <a:lnTo>
                    <a:pt x="45" y="72"/>
                  </a:lnTo>
                  <a:lnTo>
                    <a:pt x="64" y="57"/>
                  </a:lnTo>
                  <a:lnTo>
                    <a:pt x="119" y="76"/>
                  </a:lnTo>
                  <a:lnTo>
                    <a:pt x="130" y="65"/>
                  </a:lnTo>
                  <a:lnTo>
                    <a:pt x="111" y="42"/>
                  </a:lnTo>
                  <a:lnTo>
                    <a:pt x="151" y="29"/>
                  </a:lnTo>
                  <a:lnTo>
                    <a:pt x="128" y="12"/>
                  </a:lnTo>
                  <a:lnTo>
                    <a:pt x="136" y="0"/>
                  </a:lnTo>
                  <a:lnTo>
                    <a:pt x="174" y="36"/>
                  </a:lnTo>
                  <a:lnTo>
                    <a:pt x="183" y="6"/>
                  </a:lnTo>
                  <a:lnTo>
                    <a:pt x="221" y="27"/>
                  </a:lnTo>
                  <a:lnTo>
                    <a:pt x="234" y="14"/>
                  </a:lnTo>
                  <a:lnTo>
                    <a:pt x="240" y="44"/>
                  </a:lnTo>
                  <a:lnTo>
                    <a:pt x="302" y="70"/>
                  </a:lnTo>
                  <a:lnTo>
                    <a:pt x="313" y="104"/>
                  </a:lnTo>
                  <a:lnTo>
                    <a:pt x="317" y="131"/>
                  </a:lnTo>
                  <a:lnTo>
                    <a:pt x="298" y="138"/>
                  </a:lnTo>
                  <a:lnTo>
                    <a:pt x="313" y="161"/>
                  </a:lnTo>
                  <a:lnTo>
                    <a:pt x="276" y="180"/>
                  </a:lnTo>
                  <a:lnTo>
                    <a:pt x="302" y="212"/>
                  </a:lnTo>
                  <a:lnTo>
                    <a:pt x="336" y="206"/>
                  </a:lnTo>
                  <a:lnTo>
                    <a:pt x="359" y="240"/>
                  </a:lnTo>
                  <a:lnTo>
                    <a:pt x="315" y="240"/>
                  </a:lnTo>
                  <a:lnTo>
                    <a:pt x="255" y="272"/>
                  </a:lnTo>
                  <a:lnTo>
                    <a:pt x="196" y="240"/>
                  </a:lnTo>
                  <a:lnTo>
                    <a:pt x="162" y="257"/>
                  </a:lnTo>
                  <a:lnTo>
                    <a:pt x="140" y="214"/>
                  </a:lnTo>
                  <a:lnTo>
                    <a:pt x="91" y="216"/>
                  </a:lnTo>
                  <a:lnTo>
                    <a:pt x="66" y="187"/>
                  </a:lnTo>
                  <a:lnTo>
                    <a:pt x="6" y="170"/>
                  </a:lnTo>
                  <a:lnTo>
                    <a:pt x="0" y="142"/>
                  </a:lnTo>
                  <a:lnTo>
                    <a:pt x="0" y="14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46">
              <a:extLst>
                <a:ext uri="{FF2B5EF4-FFF2-40B4-BE49-F238E27FC236}">
                  <a16:creationId xmlns:a16="http://schemas.microsoft.com/office/drawing/2014/main" id="{99F73A5E-16D4-410B-B753-B7BABB367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1899" y="2780778"/>
              <a:ext cx="551224" cy="443743"/>
            </a:xfrm>
            <a:custGeom>
              <a:avLst/>
              <a:gdLst>
                <a:gd name="T0" fmla="*/ 4 w 359"/>
                <a:gd name="T1" fmla="*/ 97 h 289"/>
                <a:gd name="T2" fmla="*/ 6 w 359"/>
                <a:gd name="T3" fmla="*/ 119 h 289"/>
                <a:gd name="T4" fmla="*/ 59 w 359"/>
                <a:gd name="T5" fmla="*/ 168 h 289"/>
                <a:gd name="T6" fmla="*/ 46 w 359"/>
                <a:gd name="T7" fmla="*/ 193 h 289"/>
                <a:gd name="T8" fmla="*/ 70 w 359"/>
                <a:gd name="T9" fmla="*/ 210 h 289"/>
                <a:gd name="T10" fmla="*/ 87 w 359"/>
                <a:gd name="T11" fmla="*/ 199 h 289"/>
                <a:gd name="T12" fmla="*/ 112 w 359"/>
                <a:gd name="T13" fmla="*/ 268 h 289"/>
                <a:gd name="T14" fmla="*/ 127 w 359"/>
                <a:gd name="T15" fmla="*/ 265 h 289"/>
                <a:gd name="T16" fmla="*/ 125 w 359"/>
                <a:gd name="T17" fmla="*/ 289 h 289"/>
                <a:gd name="T18" fmla="*/ 180 w 359"/>
                <a:gd name="T19" fmla="*/ 287 h 289"/>
                <a:gd name="T20" fmla="*/ 199 w 359"/>
                <a:gd name="T21" fmla="*/ 272 h 289"/>
                <a:gd name="T22" fmla="*/ 223 w 359"/>
                <a:gd name="T23" fmla="*/ 289 h 289"/>
                <a:gd name="T24" fmla="*/ 229 w 359"/>
                <a:gd name="T25" fmla="*/ 276 h 289"/>
                <a:gd name="T26" fmla="*/ 287 w 359"/>
                <a:gd name="T27" fmla="*/ 272 h 289"/>
                <a:gd name="T28" fmla="*/ 293 w 359"/>
                <a:gd name="T29" fmla="*/ 251 h 289"/>
                <a:gd name="T30" fmla="*/ 323 w 359"/>
                <a:gd name="T31" fmla="*/ 253 h 289"/>
                <a:gd name="T32" fmla="*/ 312 w 359"/>
                <a:gd name="T33" fmla="*/ 231 h 289"/>
                <a:gd name="T34" fmla="*/ 355 w 359"/>
                <a:gd name="T35" fmla="*/ 221 h 289"/>
                <a:gd name="T36" fmla="*/ 359 w 359"/>
                <a:gd name="T37" fmla="*/ 163 h 289"/>
                <a:gd name="T38" fmla="*/ 353 w 359"/>
                <a:gd name="T39" fmla="*/ 136 h 289"/>
                <a:gd name="T40" fmla="*/ 304 w 359"/>
                <a:gd name="T41" fmla="*/ 93 h 289"/>
                <a:gd name="T42" fmla="*/ 302 w 359"/>
                <a:gd name="T43" fmla="*/ 91 h 289"/>
                <a:gd name="T44" fmla="*/ 310 w 359"/>
                <a:gd name="T45" fmla="*/ 66 h 289"/>
                <a:gd name="T46" fmla="*/ 246 w 359"/>
                <a:gd name="T47" fmla="*/ 57 h 289"/>
                <a:gd name="T48" fmla="*/ 225 w 359"/>
                <a:gd name="T49" fmla="*/ 38 h 289"/>
                <a:gd name="T50" fmla="*/ 221 w 359"/>
                <a:gd name="T51" fmla="*/ 0 h 289"/>
                <a:gd name="T52" fmla="*/ 168 w 359"/>
                <a:gd name="T53" fmla="*/ 6 h 289"/>
                <a:gd name="T54" fmla="*/ 106 w 359"/>
                <a:gd name="T55" fmla="*/ 74 h 289"/>
                <a:gd name="T56" fmla="*/ 61 w 359"/>
                <a:gd name="T57" fmla="*/ 66 h 289"/>
                <a:gd name="T58" fmla="*/ 40 w 359"/>
                <a:gd name="T59" fmla="*/ 38 h 289"/>
                <a:gd name="T60" fmla="*/ 0 w 359"/>
                <a:gd name="T61" fmla="*/ 87 h 289"/>
                <a:gd name="T62" fmla="*/ 4 w 359"/>
                <a:gd name="T63" fmla="*/ 97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59" h="289">
                  <a:moveTo>
                    <a:pt x="4" y="97"/>
                  </a:moveTo>
                  <a:lnTo>
                    <a:pt x="6" y="119"/>
                  </a:lnTo>
                  <a:lnTo>
                    <a:pt x="59" y="168"/>
                  </a:lnTo>
                  <a:lnTo>
                    <a:pt x="46" y="193"/>
                  </a:lnTo>
                  <a:lnTo>
                    <a:pt x="70" y="210"/>
                  </a:lnTo>
                  <a:lnTo>
                    <a:pt x="87" y="199"/>
                  </a:lnTo>
                  <a:lnTo>
                    <a:pt x="112" y="268"/>
                  </a:lnTo>
                  <a:lnTo>
                    <a:pt x="127" y="265"/>
                  </a:lnTo>
                  <a:lnTo>
                    <a:pt x="125" y="289"/>
                  </a:lnTo>
                  <a:lnTo>
                    <a:pt x="180" y="287"/>
                  </a:lnTo>
                  <a:lnTo>
                    <a:pt x="199" y="272"/>
                  </a:lnTo>
                  <a:lnTo>
                    <a:pt x="223" y="289"/>
                  </a:lnTo>
                  <a:lnTo>
                    <a:pt x="229" y="276"/>
                  </a:lnTo>
                  <a:lnTo>
                    <a:pt x="287" y="272"/>
                  </a:lnTo>
                  <a:lnTo>
                    <a:pt x="293" y="251"/>
                  </a:lnTo>
                  <a:lnTo>
                    <a:pt x="323" y="253"/>
                  </a:lnTo>
                  <a:lnTo>
                    <a:pt x="312" y="231"/>
                  </a:lnTo>
                  <a:lnTo>
                    <a:pt x="355" y="221"/>
                  </a:lnTo>
                  <a:lnTo>
                    <a:pt x="359" y="163"/>
                  </a:lnTo>
                  <a:lnTo>
                    <a:pt x="353" y="136"/>
                  </a:lnTo>
                  <a:lnTo>
                    <a:pt x="304" y="93"/>
                  </a:lnTo>
                  <a:lnTo>
                    <a:pt x="302" y="91"/>
                  </a:lnTo>
                  <a:lnTo>
                    <a:pt x="310" y="66"/>
                  </a:lnTo>
                  <a:lnTo>
                    <a:pt x="246" y="57"/>
                  </a:lnTo>
                  <a:lnTo>
                    <a:pt x="225" y="38"/>
                  </a:lnTo>
                  <a:lnTo>
                    <a:pt x="221" y="0"/>
                  </a:lnTo>
                  <a:lnTo>
                    <a:pt x="168" y="6"/>
                  </a:lnTo>
                  <a:lnTo>
                    <a:pt x="106" y="74"/>
                  </a:lnTo>
                  <a:lnTo>
                    <a:pt x="61" y="66"/>
                  </a:lnTo>
                  <a:lnTo>
                    <a:pt x="40" y="38"/>
                  </a:lnTo>
                  <a:lnTo>
                    <a:pt x="0" y="87"/>
                  </a:lnTo>
                  <a:lnTo>
                    <a:pt x="4" y="9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47">
              <a:extLst>
                <a:ext uri="{FF2B5EF4-FFF2-40B4-BE49-F238E27FC236}">
                  <a16:creationId xmlns:a16="http://schemas.microsoft.com/office/drawing/2014/main" id="{08AB37FF-E720-4720-A6B9-3E86D3A7D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4652" y="4902757"/>
              <a:ext cx="643350" cy="697090"/>
            </a:xfrm>
            <a:custGeom>
              <a:avLst/>
              <a:gdLst>
                <a:gd name="T0" fmla="*/ 0 w 419"/>
                <a:gd name="T1" fmla="*/ 170 h 454"/>
                <a:gd name="T2" fmla="*/ 6 w 419"/>
                <a:gd name="T3" fmla="*/ 216 h 454"/>
                <a:gd name="T4" fmla="*/ 4 w 419"/>
                <a:gd name="T5" fmla="*/ 233 h 454"/>
                <a:gd name="T6" fmla="*/ 30 w 419"/>
                <a:gd name="T7" fmla="*/ 238 h 454"/>
                <a:gd name="T8" fmla="*/ 8 w 419"/>
                <a:gd name="T9" fmla="*/ 263 h 454"/>
                <a:gd name="T10" fmla="*/ 36 w 419"/>
                <a:gd name="T11" fmla="*/ 284 h 454"/>
                <a:gd name="T12" fmla="*/ 76 w 419"/>
                <a:gd name="T13" fmla="*/ 267 h 454"/>
                <a:gd name="T14" fmla="*/ 98 w 419"/>
                <a:gd name="T15" fmla="*/ 282 h 454"/>
                <a:gd name="T16" fmla="*/ 87 w 419"/>
                <a:gd name="T17" fmla="*/ 291 h 454"/>
                <a:gd name="T18" fmla="*/ 125 w 419"/>
                <a:gd name="T19" fmla="*/ 295 h 454"/>
                <a:gd name="T20" fmla="*/ 168 w 419"/>
                <a:gd name="T21" fmla="*/ 338 h 454"/>
                <a:gd name="T22" fmla="*/ 202 w 419"/>
                <a:gd name="T23" fmla="*/ 423 h 454"/>
                <a:gd name="T24" fmla="*/ 232 w 419"/>
                <a:gd name="T25" fmla="*/ 442 h 454"/>
                <a:gd name="T26" fmla="*/ 274 w 419"/>
                <a:gd name="T27" fmla="*/ 437 h 454"/>
                <a:gd name="T28" fmla="*/ 283 w 419"/>
                <a:gd name="T29" fmla="*/ 454 h 454"/>
                <a:gd name="T30" fmla="*/ 315 w 419"/>
                <a:gd name="T31" fmla="*/ 454 h 454"/>
                <a:gd name="T32" fmla="*/ 317 w 419"/>
                <a:gd name="T33" fmla="*/ 403 h 454"/>
                <a:gd name="T34" fmla="*/ 359 w 419"/>
                <a:gd name="T35" fmla="*/ 410 h 454"/>
                <a:gd name="T36" fmla="*/ 370 w 419"/>
                <a:gd name="T37" fmla="*/ 382 h 454"/>
                <a:gd name="T38" fmla="*/ 395 w 419"/>
                <a:gd name="T39" fmla="*/ 376 h 454"/>
                <a:gd name="T40" fmla="*/ 419 w 419"/>
                <a:gd name="T41" fmla="*/ 338 h 454"/>
                <a:gd name="T42" fmla="*/ 370 w 419"/>
                <a:gd name="T43" fmla="*/ 310 h 454"/>
                <a:gd name="T44" fmla="*/ 372 w 419"/>
                <a:gd name="T45" fmla="*/ 308 h 454"/>
                <a:gd name="T46" fmla="*/ 397 w 419"/>
                <a:gd name="T47" fmla="*/ 282 h 454"/>
                <a:gd name="T48" fmla="*/ 353 w 419"/>
                <a:gd name="T49" fmla="*/ 274 h 454"/>
                <a:gd name="T50" fmla="*/ 359 w 419"/>
                <a:gd name="T51" fmla="*/ 259 h 454"/>
                <a:gd name="T52" fmla="*/ 332 w 419"/>
                <a:gd name="T53" fmla="*/ 248 h 454"/>
                <a:gd name="T54" fmla="*/ 338 w 419"/>
                <a:gd name="T55" fmla="*/ 182 h 454"/>
                <a:gd name="T56" fmla="*/ 295 w 419"/>
                <a:gd name="T57" fmla="*/ 108 h 454"/>
                <a:gd name="T58" fmla="*/ 285 w 419"/>
                <a:gd name="T59" fmla="*/ 57 h 454"/>
                <a:gd name="T60" fmla="*/ 266 w 419"/>
                <a:gd name="T61" fmla="*/ 23 h 454"/>
                <a:gd name="T62" fmla="*/ 242 w 419"/>
                <a:gd name="T63" fmla="*/ 27 h 454"/>
                <a:gd name="T64" fmla="*/ 234 w 419"/>
                <a:gd name="T65" fmla="*/ 0 h 454"/>
                <a:gd name="T66" fmla="*/ 200 w 419"/>
                <a:gd name="T67" fmla="*/ 31 h 454"/>
                <a:gd name="T68" fmla="*/ 166 w 419"/>
                <a:gd name="T69" fmla="*/ 104 h 454"/>
                <a:gd name="T70" fmla="*/ 125 w 419"/>
                <a:gd name="T71" fmla="*/ 97 h 454"/>
                <a:gd name="T72" fmla="*/ 96 w 419"/>
                <a:gd name="T73" fmla="*/ 114 h 454"/>
                <a:gd name="T74" fmla="*/ 0 w 419"/>
                <a:gd name="T75" fmla="*/ 163 h 454"/>
                <a:gd name="T76" fmla="*/ 0 w 419"/>
                <a:gd name="T77" fmla="*/ 170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9" h="454">
                  <a:moveTo>
                    <a:pt x="0" y="170"/>
                  </a:moveTo>
                  <a:lnTo>
                    <a:pt x="6" y="216"/>
                  </a:lnTo>
                  <a:lnTo>
                    <a:pt x="4" y="233"/>
                  </a:lnTo>
                  <a:lnTo>
                    <a:pt x="30" y="238"/>
                  </a:lnTo>
                  <a:lnTo>
                    <a:pt x="8" y="263"/>
                  </a:lnTo>
                  <a:lnTo>
                    <a:pt x="36" y="284"/>
                  </a:lnTo>
                  <a:lnTo>
                    <a:pt x="76" y="267"/>
                  </a:lnTo>
                  <a:lnTo>
                    <a:pt x="98" y="282"/>
                  </a:lnTo>
                  <a:lnTo>
                    <a:pt x="87" y="291"/>
                  </a:lnTo>
                  <a:lnTo>
                    <a:pt x="125" y="295"/>
                  </a:lnTo>
                  <a:lnTo>
                    <a:pt x="168" y="338"/>
                  </a:lnTo>
                  <a:lnTo>
                    <a:pt x="202" y="423"/>
                  </a:lnTo>
                  <a:lnTo>
                    <a:pt x="232" y="442"/>
                  </a:lnTo>
                  <a:lnTo>
                    <a:pt x="274" y="437"/>
                  </a:lnTo>
                  <a:lnTo>
                    <a:pt x="283" y="454"/>
                  </a:lnTo>
                  <a:lnTo>
                    <a:pt x="315" y="454"/>
                  </a:lnTo>
                  <a:lnTo>
                    <a:pt x="317" y="403"/>
                  </a:lnTo>
                  <a:lnTo>
                    <a:pt x="359" y="410"/>
                  </a:lnTo>
                  <a:lnTo>
                    <a:pt x="370" y="382"/>
                  </a:lnTo>
                  <a:lnTo>
                    <a:pt x="395" y="376"/>
                  </a:lnTo>
                  <a:lnTo>
                    <a:pt x="419" y="338"/>
                  </a:lnTo>
                  <a:lnTo>
                    <a:pt x="370" y="310"/>
                  </a:lnTo>
                  <a:lnTo>
                    <a:pt x="372" y="308"/>
                  </a:lnTo>
                  <a:lnTo>
                    <a:pt x="397" y="282"/>
                  </a:lnTo>
                  <a:lnTo>
                    <a:pt x="353" y="274"/>
                  </a:lnTo>
                  <a:lnTo>
                    <a:pt x="359" y="259"/>
                  </a:lnTo>
                  <a:lnTo>
                    <a:pt x="332" y="248"/>
                  </a:lnTo>
                  <a:lnTo>
                    <a:pt x="338" y="182"/>
                  </a:lnTo>
                  <a:lnTo>
                    <a:pt x="295" y="108"/>
                  </a:lnTo>
                  <a:lnTo>
                    <a:pt x="285" y="57"/>
                  </a:lnTo>
                  <a:lnTo>
                    <a:pt x="266" y="23"/>
                  </a:lnTo>
                  <a:lnTo>
                    <a:pt x="242" y="27"/>
                  </a:lnTo>
                  <a:lnTo>
                    <a:pt x="234" y="0"/>
                  </a:lnTo>
                  <a:lnTo>
                    <a:pt x="200" y="31"/>
                  </a:lnTo>
                  <a:lnTo>
                    <a:pt x="166" y="104"/>
                  </a:lnTo>
                  <a:lnTo>
                    <a:pt x="125" y="97"/>
                  </a:lnTo>
                  <a:lnTo>
                    <a:pt x="96" y="114"/>
                  </a:lnTo>
                  <a:lnTo>
                    <a:pt x="0" y="163"/>
                  </a:lnTo>
                  <a:lnTo>
                    <a:pt x="0" y="17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48">
              <a:extLst>
                <a:ext uri="{FF2B5EF4-FFF2-40B4-BE49-F238E27FC236}">
                  <a16:creationId xmlns:a16="http://schemas.microsoft.com/office/drawing/2014/main" id="{392DD5EE-CBE4-4FA8-BCD0-75F7B80F89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7374" y="5469335"/>
              <a:ext cx="635672" cy="408427"/>
            </a:xfrm>
            <a:custGeom>
              <a:avLst/>
              <a:gdLst>
                <a:gd name="T0" fmla="*/ 2 w 414"/>
                <a:gd name="T1" fmla="*/ 160 h 266"/>
                <a:gd name="T2" fmla="*/ 64 w 414"/>
                <a:gd name="T3" fmla="*/ 122 h 266"/>
                <a:gd name="T4" fmla="*/ 53 w 414"/>
                <a:gd name="T5" fmla="*/ 111 h 266"/>
                <a:gd name="T6" fmla="*/ 68 w 414"/>
                <a:gd name="T7" fmla="*/ 83 h 266"/>
                <a:gd name="T8" fmla="*/ 104 w 414"/>
                <a:gd name="T9" fmla="*/ 85 h 266"/>
                <a:gd name="T10" fmla="*/ 108 w 414"/>
                <a:gd name="T11" fmla="*/ 20 h 266"/>
                <a:gd name="T12" fmla="*/ 134 w 414"/>
                <a:gd name="T13" fmla="*/ 0 h 266"/>
                <a:gd name="T14" fmla="*/ 198 w 414"/>
                <a:gd name="T15" fmla="*/ 20 h 266"/>
                <a:gd name="T16" fmla="*/ 253 w 414"/>
                <a:gd name="T17" fmla="*/ 66 h 266"/>
                <a:gd name="T18" fmla="*/ 285 w 414"/>
                <a:gd name="T19" fmla="*/ 64 h 266"/>
                <a:gd name="T20" fmla="*/ 334 w 414"/>
                <a:gd name="T21" fmla="*/ 88 h 266"/>
                <a:gd name="T22" fmla="*/ 363 w 414"/>
                <a:gd name="T23" fmla="*/ 90 h 266"/>
                <a:gd name="T24" fmla="*/ 404 w 414"/>
                <a:gd name="T25" fmla="*/ 66 h 266"/>
                <a:gd name="T26" fmla="*/ 414 w 414"/>
                <a:gd name="T27" fmla="*/ 90 h 266"/>
                <a:gd name="T28" fmla="*/ 395 w 414"/>
                <a:gd name="T29" fmla="*/ 92 h 266"/>
                <a:gd name="T30" fmla="*/ 380 w 414"/>
                <a:gd name="T31" fmla="*/ 120 h 266"/>
                <a:gd name="T32" fmla="*/ 380 w 414"/>
                <a:gd name="T33" fmla="*/ 124 h 266"/>
                <a:gd name="T34" fmla="*/ 397 w 414"/>
                <a:gd name="T35" fmla="*/ 130 h 266"/>
                <a:gd name="T36" fmla="*/ 391 w 414"/>
                <a:gd name="T37" fmla="*/ 156 h 266"/>
                <a:gd name="T38" fmla="*/ 414 w 414"/>
                <a:gd name="T39" fmla="*/ 177 h 266"/>
                <a:gd name="T40" fmla="*/ 387 w 414"/>
                <a:gd name="T41" fmla="*/ 185 h 266"/>
                <a:gd name="T42" fmla="*/ 387 w 414"/>
                <a:gd name="T43" fmla="*/ 215 h 266"/>
                <a:gd name="T44" fmla="*/ 410 w 414"/>
                <a:gd name="T45" fmla="*/ 234 h 266"/>
                <a:gd name="T46" fmla="*/ 387 w 414"/>
                <a:gd name="T47" fmla="*/ 266 h 266"/>
                <a:gd name="T48" fmla="*/ 298 w 414"/>
                <a:gd name="T49" fmla="*/ 258 h 266"/>
                <a:gd name="T50" fmla="*/ 304 w 414"/>
                <a:gd name="T51" fmla="*/ 219 h 266"/>
                <a:gd name="T52" fmla="*/ 287 w 414"/>
                <a:gd name="T53" fmla="*/ 202 h 266"/>
                <a:gd name="T54" fmla="*/ 217 w 414"/>
                <a:gd name="T55" fmla="*/ 215 h 266"/>
                <a:gd name="T56" fmla="*/ 204 w 414"/>
                <a:gd name="T57" fmla="*/ 196 h 266"/>
                <a:gd name="T58" fmla="*/ 240 w 414"/>
                <a:gd name="T59" fmla="*/ 190 h 266"/>
                <a:gd name="T60" fmla="*/ 266 w 414"/>
                <a:gd name="T61" fmla="*/ 160 h 266"/>
                <a:gd name="T62" fmla="*/ 249 w 414"/>
                <a:gd name="T63" fmla="*/ 171 h 266"/>
                <a:gd name="T64" fmla="*/ 210 w 414"/>
                <a:gd name="T65" fmla="*/ 132 h 266"/>
                <a:gd name="T66" fmla="*/ 221 w 414"/>
                <a:gd name="T67" fmla="*/ 188 h 266"/>
                <a:gd name="T68" fmla="*/ 185 w 414"/>
                <a:gd name="T69" fmla="*/ 179 h 266"/>
                <a:gd name="T70" fmla="*/ 164 w 414"/>
                <a:gd name="T71" fmla="*/ 217 h 266"/>
                <a:gd name="T72" fmla="*/ 91 w 414"/>
                <a:gd name="T73" fmla="*/ 205 h 266"/>
                <a:gd name="T74" fmla="*/ 100 w 414"/>
                <a:gd name="T75" fmla="*/ 190 h 266"/>
                <a:gd name="T76" fmla="*/ 85 w 414"/>
                <a:gd name="T77" fmla="*/ 175 h 266"/>
                <a:gd name="T78" fmla="*/ 0 w 414"/>
                <a:gd name="T79" fmla="*/ 173 h 266"/>
                <a:gd name="T80" fmla="*/ 2 w 414"/>
                <a:gd name="T81" fmla="*/ 16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14" h="266">
                  <a:moveTo>
                    <a:pt x="2" y="160"/>
                  </a:moveTo>
                  <a:lnTo>
                    <a:pt x="64" y="122"/>
                  </a:lnTo>
                  <a:lnTo>
                    <a:pt x="53" y="111"/>
                  </a:lnTo>
                  <a:lnTo>
                    <a:pt x="68" y="83"/>
                  </a:lnTo>
                  <a:lnTo>
                    <a:pt x="104" y="85"/>
                  </a:lnTo>
                  <a:lnTo>
                    <a:pt x="108" y="20"/>
                  </a:lnTo>
                  <a:lnTo>
                    <a:pt x="134" y="0"/>
                  </a:lnTo>
                  <a:lnTo>
                    <a:pt x="198" y="20"/>
                  </a:lnTo>
                  <a:lnTo>
                    <a:pt x="253" y="66"/>
                  </a:lnTo>
                  <a:lnTo>
                    <a:pt x="285" y="64"/>
                  </a:lnTo>
                  <a:lnTo>
                    <a:pt x="334" y="88"/>
                  </a:lnTo>
                  <a:lnTo>
                    <a:pt x="363" y="90"/>
                  </a:lnTo>
                  <a:lnTo>
                    <a:pt x="404" y="66"/>
                  </a:lnTo>
                  <a:lnTo>
                    <a:pt x="414" y="90"/>
                  </a:lnTo>
                  <a:lnTo>
                    <a:pt x="395" y="92"/>
                  </a:lnTo>
                  <a:lnTo>
                    <a:pt x="380" y="120"/>
                  </a:lnTo>
                  <a:lnTo>
                    <a:pt x="380" y="124"/>
                  </a:lnTo>
                  <a:lnTo>
                    <a:pt x="397" y="130"/>
                  </a:lnTo>
                  <a:lnTo>
                    <a:pt x="391" y="156"/>
                  </a:lnTo>
                  <a:lnTo>
                    <a:pt x="414" y="177"/>
                  </a:lnTo>
                  <a:lnTo>
                    <a:pt x="387" y="185"/>
                  </a:lnTo>
                  <a:lnTo>
                    <a:pt x="387" y="215"/>
                  </a:lnTo>
                  <a:lnTo>
                    <a:pt x="410" y="234"/>
                  </a:lnTo>
                  <a:lnTo>
                    <a:pt x="387" y="266"/>
                  </a:lnTo>
                  <a:lnTo>
                    <a:pt x="298" y="258"/>
                  </a:lnTo>
                  <a:lnTo>
                    <a:pt x="304" y="219"/>
                  </a:lnTo>
                  <a:lnTo>
                    <a:pt x="287" y="202"/>
                  </a:lnTo>
                  <a:lnTo>
                    <a:pt x="217" y="215"/>
                  </a:lnTo>
                  <a:lnTo>
                    <a:pt x="204" y="196"/>
                  </a:lnTo>
                  <a:lnTo>
                    <a:pt x="240" y="190"/>
                  </a:lnTo>
                  <a:lnTo>
                    <a:pt x="266" y="160"/>
                  </a:lnTo>
                  <a:lnTo>
                    <a:pt x="249" y="171"/>
                  </a:lnTo>
                  <a:lnTo>
                    <a:pt x="210" y="132"/>
                  </a:lnTo>
                  <a:lnTo>
                    <a:pt x="221" y="188"/>
                  </a:lnTo>
                  <a:lnTo>
                    <a:pt x="185" y="179"/>
                  </a:lnTo>
                  <a:lnTo>
                    <a:pt x="164" y="217"/>
                  </a:lnTo>
                  <a:lnTo>
                    <a:pt x="91" y="205"/>
                  </a:lnTo>
                  <a:lnTo>
                    <a:pt x="100" y="190"/>
                  </a:lnTo>
                  <a:lnTo>
                    <a:pt x="85" y="175"/>
                  </a:lnTo>
                  <a:lnTo>
                    <a:pt x="0" y="173"/>
                  </a:lnTo>
                  <a:lnTo>
                    <a:pt x="2" y="160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" name="Freeform 49">
              <a:extLst>
                <a:ext uri="{FF2B5EF4-FFF2-40B4-BE49-F238E27FC236}">
                  <a16:creationId xmlns:a16="http://schemas.microsoft.com/office/drawing/2014/main" id="{C83160D2-E05A-45C0-9DBE-3039DB473E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4097" y="4207202"/>
              <a:ext cx="554294" cy="518979"/>
            </a:xfrm>
            <a:custGeom>
              <a:avLst/>
              <a:gdLst>
                <a:gd name="T0" fmla="*/ 0 w 361"/>
                <a:gd name="T1" fmla="*/ 136 h 338"/>
                <a:gd name="T2" fmla="*/ 19 w 361"/>
                <a:gd name="T3" fmla="*/ 168 h 338"/>
                <a:gd name="T4" fmla="*/ 6 w 361"/>
                <a:gd name="T5" fmla="*/ 178 h 338"/>
                <a:gd name="T6" fmla="*/ 51 w 361"/>
                <a:gd name="T7" fmla="*/ 227 h 338"/>
                <a:gd name="T8" fmla="*/ 38 w 361"/>
                <a:gd name="T9" fmla="*/ 295 h 338"/>
                <a:gd name="T10" fmla="*/ 78 w 361"/>
                <a:gd name="T11" fmla="*/ 302 h 338"/>
                <a:gd name="T12" fmla="*/ 78 w 361"/>
                <a:gd name="T13" fmla="*/ 321 h 338"/>
                <a:gd name="T14" fmla="*/ 110 w 361"/>
                <a:gd name="T15" fmla="*/ 338 h 338"/>
                <a:gd name="T16" fmla="*/ 144 w 361"/>
                <a:gd name="T17" fmla="*/ 336 h 338"/>
                <a:gd name="T18" fmla="*/ 180 w 361"/>
                <a:gd name="T19" fmla="*/ 304 h 338"/>
                <a:gd name="T20" fmla="*/ 180 w 361"/>
                <a:gd name="T21" fmla="*/ 259 h 338"/>
                <a:gd name="T22" fmla="*/ 225 w 361"/>
                <a:gd name="T23" fmla="*/ 238 h 338"/>
                <a:gd name="T24" fmla="*/ 248 w 361"/>
                <a:gd name="T25" fmla="*/ 183 h 338"/>
                <a:gd name="T26" fmla="*/ 278 w 361"/>
                <a:gd name="T27" fmla="*/ 157 h 338"/>
                <a:gd name="T28" fmla="*/ 284 w 361"/>
                <a:gd name="T29" fmla="*/ 153 h 338"/>
                <a:gd name="T30" fmla="*/ 301 w 361"/>
                <a:gd name="T31" fmla="*/ 123 h 338"/>
                <a:gd name="T32" fmla="*/ 318 w 361"/>
                <a:gd name="T33" fmla="*/ 127 h 338"/>
                <a:gd name="T34" fmla="*/ 327 w 361"/>
                <a:gd name="T35" fmla="*/ 78 h 338"/>
                <a:gd name="T36" fmla="*/ 361 w 361"/>
                <a:gd name="T37" fmla="*/ 63 h 338"/>
                <a:gd name="T38" fmla="*/ 329 w 361"/>
                <a:gd name="T39" fmla="*/ 34 h 338"/>
                <a:gd name="T40" fmla="*/ 333 w 361"/>
                <a:gd name="T41" fmla="*/ 6 h 338"/>
                <a:gd name="T42" fmla="*/ 306 w 361"/>
                <a:gd name="T43" fmla="*/ 2 h 338"/>
                <a:gd name="T44" fmla="*/ 274 w 361"/>
                <a:gd name="T45" fmla="*/ 23 h 338"/>
                <a:gd name="T46" fmla="*/ 248 w 361"/>
                <a:gd name="T47" fmla="*/ 0 h 338"/>
                <a:gd name="T48" fmla="*/ 229 w 361"/>
                <a:gd name="T49" fmla="*/ 32 h 338"/>
                <a:gd name="T50" fmla="*/ 172 w 361"/>
                <a:gd name="T51" fmla="*/ 12 h 338"/>
                <a:gd name="T52" fmla="*/ 112 w 361"/>
                <a:gd name="T53" fmla="*/ 25 h 338"/>
                <a:gd name="T54" fmla="*/ 93 w 361"/>
                <a:gd name="T55" fmla="*/ 55 h 338"/>
                <a:gd name="T56" fmla="*/ 78 w 361"/>
                <a:gd name="T57" fmla="*/ 125 h 338"/>
                <a:gd name="T58" fmla="*/ 49 w 361"/>
                <a:gd name="T59" fmla="*/ 112 h 338"/>
                <a:gd name="T60" fmla="*/ 0 w 361"/>
                <a:gd name="T61" fmla="*/ 129 h 338"/>
                <a:gd name="T62" fmla="*/ 0 w 361"/>
                <a:gd name="T63" fmla="*/ 136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61" h="338">
                  <a:moveTo>
                    <a:pt x="0" y="136"/>
                  </a:moveTo>
                  <a:lnTo>
                    <a:pt x="19" y="168"/>
                  </a:lnTo>
                  <a:lnTo>
                    <a:pt x="6" y="178"/>
                  </a:lnTo>
                  <a:lnTo>
                    <a:pt x="51" y="227"/>
                  </a:lnTo>
                  <a:lnTo>
                    <a:pt x="38" y="295"/>
                  </a:lnTo>
                  <a:lnTo>
                    <a:pt x="78" y="302"/>
                  </a:lnTo>
                  <a:lnTo>
                    <a:pt x="78" y="321"/>
                  </a:lnTo>
                  <a:lnTo>
                    <a:pt x="110" y="338"/>
                  </a:lnTo>
                  <a:lnTo>
                    <a:pt x="144" y="336"/>
                  </a:lnTo>
                  <a:lnTo>
                    <a:pt x="180" y="304"/>
                  </a:lnTo>
                  <a:lnTo>
                    <a:pt x="180" y="259"/>
                  </a:lnTo>
                  <a:lnTo>
                    <a:pt x="225" y="238"/>
                  </a:lnTo>
                  <a:lnTo>
                    <a:pt x="248" y="183"/>
                  </a:lnTo>
                  <a:lnTo>
                    <a:pt x="278" y="157"/>
                  </a:lnTo>
                  <a:lnTo>
                    <a:pt x="284" y="153"/>
                  </a:lnTo>
                  <a:lnTo>
                    <a:pt x="301" y="123"/>
                  </a:lnTo>
                  <a:lnTo>
                    <a:pt x="318" y="127"/>
                  </a:lnTo>
                  <a:lnTo>
                    <a:pt x="327" y="78"/>
                  </a:lnTo>
                  <a:lnTo>
                    <a:pt x="361" y="63"/>
                  </a:lnTo>
                  <a:lnTo>
                    <a:pt x="329" y="34"/>
                  </a:lnTo>
                  <a:lnTo>
                    <a:pt x="333" y="6"/>
                  </a:lnTo>
                  <a:lnTo>
                    <a:pt x="306" y="2"/>
                  </a:lnTo>
                  <a:lnTo>
                    <a:pt x="274" y="23"/>
                  </a:lnTo>
                  <a:lnTo>
                    <a:pt x="248" y="0"/>
                  </a:lnTo>
                  <a:lnTo>
                    <a:pt x="229" y="32"/>
                  </a:lnTo>
                  <a:lnTo>
                    <a:pt x="172" y="12"/>
                  </a:lnTo>
                  <a:lnTo>
                    <a:pt x="112" y="25"/>
                  </a:lnTo>
                  <a:lnTo>
                    <a:pt x="93" y="55"/>
                  </a:lnTo>
                  <a:lnTo>
                    <a:pt x="78" y="125"/>
                  </a:lnTo>
                  <a:lnTo>
                    <a:pt x="49" y="112"/>
                  </a:lnTo>
                  <a:lnTo>
                    <a:pt x="0" y="129"/>
                  </a:lnTo>
                  <a:lnTo>
                    <a:pt x="0" y="13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7" name="Freeform 50">
              <a:extLst>
                <a:ext uri="{FF2B5EF4-FFF2-40B4-BE49-F238E27FC236}">
                  <a16:creationId xmlns:a16="http://schemas.microsoft.com/office/drawing/2014/main" id="{B104F209-020D-42AF-BCF8-A5ADF29A2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3938" y="4053658"/>
              <a:ext cx="479057" cy="724728"/>
            </a:xfrm>
            <a:custGeom>
              <a:avLst/>
              <a:gdLst>
                <a:gd name="T0" fmla="*/ 2 w 312"/>
                <a:gd name="T1" fmla="*/ 204 h 472"/>
                <a:gd name="T2" fmla="*/ 32 w 312"/>
                <a:gd name="T3" fmla="*/ 208 h 472"/>
                <a:gd name="T4" fmla="*/ 23 w 312"/>
                <a:gd name="T5" fmla="*/ 187 h 472"/>
                <a:gd name="T6" fmla="*/ 44 w 312"/>
                <a:gd name="T7" fmla="*/ 174 h 472"/>
                <a:gd name="T8" fmla="*/ 42 w 312"/>
                <a:gd name="T9" fmla="*/ 134 h 472"/>
                <a:gd name="T10" fmla="*/ 57 w 312"/>
                <a:gd name="T11" fmla="*/ 132 h 472"/>
                <a:gd name="T12" fmla="*/ 15 w 312"/>
                <a:gd name="T13" fmla="*/ 70 h 472"/>
                <a:gd name="T14" fmla="*/ 42 w 312"/>
                <a:gd name="T15" fmla="*/ 17 h 472"/>
                <a:gd name="T16" fmla="*/ 93 w 312"/>
                <a:gd name="T17" fmla="*/ 0 h 472"/>
                <a:gd name="T18" fmla="*/ 91 w 312"/>
                <a:gd name="T19" fmla="*/ 19 h 472"/>
                <a:gd name="T20" fmla="*/ 117 w 312"/>
                <a:gd name="T21" fmla="*/ 10 h 472"/>
                <a:gd name="T22" fmla="*/ 138 w 312"/>
                <a:gd name="T23" fmla="*/ 25 h 472"/>
                <a:gd name="T24" fmla="*/ 165 w 312"/>
                <a:gd name="T25" fmla="*/ 87 h 472"/>
                <a:gd name="T26" fmla="*/ 251 w 312"/>
                <a:gd name="T27" fmla="*/ 110 h 472"/>
                <a:gd name="T28" fmla="*/ 295 w 312"/>
                <a:gd name="T29" fmla="*/ 155 h 472"/>
                <a:gd name="T30" fmla="*/ 280 w 312"/>
                <a:gd name="T31" fmla="*/ 225 h 472"/>
                <a:gd name="T32" fmla="*/ 251 w 312"/>
                <a:gd name="T33" fmla="*/ 212 h 472"/>
                <a:gd name="T34" fmla="*/ 202 w 312"/>
                <a:gd name="T35" fmla="*/ 229 h 472"/>
                <a:gd name="T36" fmla="*/ 202 w 312"/>
                <a:gd name="T37" fmla="*/ 236 h 472"/>
                <a:gd name="T38" fmla="*/ 221 w 312"/>
                <a:gd name="T39" fmla="*/ 268 h 472"/>
                <a:gd name="T40" fmla="*/ 208 w 312"/>
                <a:gd name="T41" fmla="*/ 278 h 472"/>
                <a:gd name="T42" fmla="*/ 253 w 312"/>
                <a:gd name="T43" fmla="*/ 327 h 472"/>
                <a:gd name="T44" fmla="*/ 240 w 312"/>
                <a:gd name="T45" fmla="*/ 395 h 472"/>
                <a:gd name="T46" fmla="*/ 280 w 312"/>
                <a:gd name="T47" fmla="*/ 402 h 472"/>
                <a:gd name="T48" fmla="*/ 280 w 312"/>
                <a:gd name="T49" fmla="*/ 421 h 472"/>
                <a:gd name="T50" fmla="*/ 312 w 312"/>
                <a:gd name="T51" fmla="*/ 438 h 472"/>
                <a:gd name="T52" fmla="*/ 299 w 312"/>
                <a:gd name="T53" fmla="*/ 472 h 472"/>
                <a:gd name="T54" fmla="*/ 210 w 312"/>
                <a:gd name="T55" fmla="*/ 450 h 472"/>
                <a:gd name="T56" fmla="*/ 204 w 312"/>
                <a:gd name="T57" fmla="*/ 406 h 472"/>
                <a:gd name="T58" fmla="*/ 165 w 312"/>
                <a:gd name="T59" fmla="*/ 395 h 472"/>
                <a:gd name="T60" fmla="*/ 163 w 312"/>
                <a:gd name="T61" fmla="*/ 378 h 472"/>
                <a:gd name="T62" fmla="*/ 129 w 312"/>
                <a:gd name="T63" fmla="*/ 382 h 472"/>
                <a:gd name="T64" fmla="*/ 108 w 312"/>
                <a:gd name="T65" fmla="*/ 325 h 472"/>
                <a:gd name="T66" fmla="*/ 0 w 312"/>
                <a:gd name="T67" fmla="*/ 236 h 472"/>
                <a:gd name="T68" fmla="*/ 2 w 312"/>
                <a:gd name="T69" fmla="*/ 204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12" h="472">
                  <a:moveTo>
                    <a:pt x="2" y="204"/>
                  </a:moveTo>
                  <a:lnTo>
                    <a:pt x="32" y="208"/>
                  </a:lnTo>
                  <a:lnTo>
                    <a:pt x="23" y="187"/>
                  </a:lnTo>
                  <a:lnTo>
                    <a:pt x="44" y="174"/>
                  </a:lnTo>
                  <a:lnTo>
                    <a:pt x="42" y="134"/>
                  </a:lnTo>
                  <a:lnTo>
                    <a:pt x="57" y="132"/>
                  </a:lnTo>
                  <a:lnTo>
                    <a:pt x="15" y="70"/>
                  </a:lnTo>
                  <a:lnTo>
                    <a:pt x="42" y="17"/>
                  </a:lnTo>
                  <a:lnTo>
                    <a:pt x="93" y="0"/>
                  </a:lnTo>
                  <a:lnTo>
                    <a:pt x="91" y="19"/>
                  </a:lnTo>
                  <a:lnTo>
                    <a:pt x="117" y="10"/>
                  </a:lnTo>
                  <a:lnTo>
                    <a:pt x="138" y="25"/>
                  </a:lnTo>
                  <a:lnTo>
                    <a:pt x="165" y="87"/>
                  </a:lnTo>
                  <a:lnTo>
                    <a:pt x="251" y="110"/>
                  </a:lnTo>
                  <a:lnTo>
                    <a:pt x="295" y="155"/>
                  </a:lnTo>
                  <a:lnTo>
                    <a:pt x="280" y="225"/>
                  </a:lnTo>
                  <a:lnTo>
                    <a:pt x="251" y="212"/>
                  </a:lnTo>
                  <a:lnTo>
                    <a:pt x="202" y="229"/>
                  </a:lnTo>
                  <a:lnTo>
                    <a:pt x="202" y="236"/>
                  </a:lnTo>
                  <a:lnTo>
                    <a:pt x="221" y="268"/>
                  </a:lnTo>
                  <a:lnTo>
                    <a:pt x="208" y="278"/>
                  </a:lnTo>
                  <a:lnTo>
                    <a:pt x="253" y="327"/>
                  </a:lnTo>
                  <a:lnTo>
                    <a:pt x="240" y="395"/>
                  </a:lnTo>
                  <a:lnTo>
                    <a:pt x="280" y="402"/>
                  </a:lnTo>
                  <a:lnTo>
                    <a:pt x="280" y="421"/>
                  </a:lnTo>
                  <a:lnTo>
                    <a:pt x="312" y="438"/>
                  </a:lnTo>
                  <a:lnTo>
                    <a:pt x="299" y="472"/>
                  </a:lnTo>
                  <a:lnTo>
                    <a:pt x="210" y="450"/>
                  </a:lnTo>
                  <a:lnTo>
                    <a:pt x="204" y="406"/>
                  </a:lnTo>
                  <a:lnTo>
                    <a:pt x="165" y="395"/>
                  </a:lnTo>
                  <a:lnTo>
                    <a:pt x="163" y="378"/>
                  </a:lnTo>
                  <a:lnTo>
                    <a:pt x="129" y="382"/>
                  </a:lnTo>
                  <a:lnTo>
                    <a:pt x="108" y="325"/>
                  </a:lnTo>
                  <a:lnTo>
                    <a:pt x="0" y="236"/>
                  </a:lnTo>
                  <a:lnTo>
                    <a:pt x="2" y="20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8" name="Freeform 51">
              <a:extLst>
                <a:ext uri="{FF2B5EF4-FFF2-40B4-BE49-F238E27FC236}">
                  <a16:creationId xmlns:a16="http://schemas.microsoft.com/office/drawing/2014/main" id="{5C7A51CA-831E-49D3-9D49-4E24B23847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4652" y="3390348"/>
              <a:ext cx="499019" cy="675594"/>
            </a:xfrm>
            <a:custGeom>
              <a:avLst/>
              <a:gdLst>
                <a:gd name="T0" fmla="*/ 2 w 325"/>
                <a:gd name="T1" fmla="*/ 177 h 440"/>
                <a:gd name="T2" fmla="*/ 17 w 325"/>
                <a:gd name="T3" fmla="*/ 147 h 440"/>
                <a:gd name="T4" fmla="*/ 34 w 325"/>
                <a:gd name="T5" fmla="*/ 145 h 440"/>
                <a:gd name="T6" fmla="*/ 42 w 325"/>
                <a:gd name="T7" fmla="*/ 121 h 440"/>
                <a:gd name="T8" fmla="*/ 96 w 325"/>
                <a:gd name="T9" fmla="*/ 119 h 440"/>
                <a:gd name="T10" fmla="*/ 87 w 325"/>
                <a:gd name="T11" fmla="*/ 75 h 440"/>
                <a:gd name="T12" fmla="*/ 115 w 325"/>
                <a:gd name="T13" fmla="*/ 81 h 440"/>
                <a:gd name="T14" fmla="*/ 119 w 325"/>
                <a:gd name="T15" fmla="*/ 49 h 440"/>
                <a:gd name="T16" fmla="*/ 89 w 325"/>
                <a:gd name="T17" fmla="*/ 15 h 440"/>
                <a:gd name="T18" fmla="*/ 119 w 325"/>
                <a:gd name="T19" fmla="*/ 0 h 440"/>
                <a:gd name="T20" fmla="*/ 193 w 325"/>
                <a:gd name="T21" fmla="*/ 19 h 440"/>
                <a:gd name="T22" fmla="*/ 223 w 325"/>
                <a:gd name="T23" fmla="*/ 53 h 440"/>
                <a:gd name="T24" fmla="*/ 240 w 325"/>
                <a:gd name="T25" fmla="*/ 34 h 440"/>
                <a:gd name="T26" fmla="*/ 259 w 325"/>
                <a:gd name="T27" fmla="*/ 49 h 440"/>
                <a:gd name="T28" fmla="*/ 274 w 325"/>
                <a:gd name="T29" fmla="*/ 41 h 440"/>
                <a:gd name="T30" fmla="*/ 289 w 325"/>
                <a:gd name="T31" fmla="*/ 72 h 440"/>
                <a:gd name="T32" fmla="*/ 274 w 325"/>
                <a:gd name="T33" fmla="*/ 109 h 440"/>
                <a:gd name="T34" fmla="*/ 302 w 325"/>
                <a:gd name="T35" fmla="*/ 136 h 440"/>
                <a:gd name="T36" fmla="*/ 325 w 325"/>
                <a:gd name="T37" fmla="*/ 219 h 440"/>
                <a:gd name="T38" fmla="*/ 310 w 325"/>
                <a:gd name="T39" fmla="*/ 304 h 440"/>
                <a:gd name="T40" fmla="*/ 283 w 325"/>
                <a:gd name="T41" fmla="*/ 306 h 440"/>
                <a:gd name="T42" fmla="*/ 266 w 325"/>
                <a:gd name="T43" fmla="*/ 330 h 440"/>
                <a:gd name="T44" fmla="*/ 229 w 325"/>
                <a:gd name="T45" fmla="*/ 325 h 440"/>
                <a:gd name="T46" fmla="*/ 198 w 325"/>
                <a:gd name="T47" fmla="*/ 353 h 440"/>
                <a:gd name="T48" fmla="*/ 208 w 325"/>
                <a:gd name="T49" fmla="*/ 394 h 440"/>
                <a:gd name="T50" fmla="*/ 144 w 325"/>
                <a:gd name="T51" fmla="*/ 406 h 440"/>
                <a:gd name="T52" fmla="*/ 119 w 325"/>
                <a:gd name="T53" fmla="*/ 440 h 440"/>
                <a:gd name="T54" fmla="*/ 93 w 325"/>
                <a:gd name="T55" fmla="*/ 438 h 440"/>
                <a:gd name="T56" fmla="*/ 100 w 325"/>
                <a:gd name="T57" fmla="*/ 357 h 440"/>
                <a:gd name="T58" fmla="*/ 70 w 325"/>
                <a:gd name="T59" fmla="*/ 323 h 440"/>
                <a:gd name="T60" fmla="*/ 83 w 325"/>
                <a:gd name="T61" fmla="*/ 311 h 440"/>
                <a:gd name="T62" fmla="*/ 66 w 325"/>
                <a:gd name="T63" fmla="*/ 289 h 440"/>
                <a:gd name="T64" fmla="*/ 93 w 325"/>
                <a:gd name="T65" fmla="*/ 262 h 440"/>
                <a:gd name="T66" fmla="*/ 72 w 325"/>
                <a:gd name="T67" fmla="*/ 251 h 440"/>
                <a:gd name="T68" fmla="*/ 83 w 325"/>
                <a:gd name="T69" fmla="*/ 228 h 440"/>
                <a:gd name="T70" fmla="*/ 55 w 325"/>
                <a:gd name="T71" fmla="*/ 181 h 440"/>
                <a:gd name="T72" fmla="*/ 0 w 325"/>
                <a:gd name="T73" fmla="*/ 179 h 440"/>
                <a:gd name="T74" fmla="*/ 2 w 325"/>
                <a:gd name="T75" fmla="*/ 177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5" h="440">
                  <a:moveTo>
                    <a:pt x="2" y="177"/>
                  </a:moveTo>
                  <a:lnTo>
                    <a:pt x="17" y="147"/>
                  </a:lnTo>
                  <a:lnTo>
                    <a:pt x="34" y="145"/>
                  </a:lnTo>
                  <a:lnTo>
                    <a:pt x="42" y="121"/>
                  </a:lnTo>
                  <a:lnTo>
                    <a:pt x="96" y="119"/>
                  </a:lnTo>
                  <a:lnTo>
                    <a:pt x="87" y="75"/>
                  </a:lnTo>
                  <a:lnTo>
                    <a:pt x="115" y="81"/>
                  </a:lnTo>
                  <a:lnTo>
                    <a:pt x="119" y="49"/>
                  </a:lnTo>
                  <a:lnTo>
                    <a:pt x="89" y="15"/>
                  </a:lnTo>
                  <a:lnTo>
                    <a:pt x="119" y="0"/>
                  </a:lnTo>
                  <a:lnTo>
                    <a:pt x="193" y="19"/>
                  </a:lnTo>
                  <a:lnTo>
                    <a:pt x="223" y="53"/>
                  </a:lnTo>
                  <a:lnTo>
                    <a:pt x="240" y="34"/>
                  </a:lnTo>
                  <a:lnTo>
                    <a:pt x="259" y="49"/>
                  </a:lnTo>
                  <a:lnTo>
                    <a:pt x="274" y="41"/>
                  </a:lnTo>
                  <a:lnTo>
                    <a:pt x="289" y="72"/>
                  </a:lnTo>
                  <a:lnTo>
                    <a:pt x="274" y="109"/>
                  </a:lnTo>
                  <a:lnTo>
                    <a:pt x="302" y="136"/>
                  </a:lnTo>
                  <a:lnTo>
                    <a:pt x="325" y="219"/>
                  </a:lnTo>
                  <a:lnTo>
                    <a:pt x="310" y="304"/>
                  </a:lnTo>
                  <a:lnTo>
                    <a:pt x="283" y="306"/>
                  </a:lnTo>
                  <a:lnTo>
                    <a:pt x="266" y="330"/>
                  </a:lnTo>
                  <a:lnTo>
                    <a:pt x="229" y="325"/>
                  </a:lnTo>
                  <a:lnTo>
                    <a:pt x="198" y="353"/>
                  </a:lnTo>
                  <a:lnTo>
                    <a:pt x="208" y="394"/>
                  </a:lnTo>
                  <a:lnTo>
                    <a:pt x="144" y="406"/>
                  </a:lnTo>
                  <a:lnTo>
                    <a:pt x="119" y="440"/>
                  </a:lnTo>
                  <a:lnTo>
                    <a:pt x="93" y="438"/>
                  </a:lnTo>
                  <a:lnTo>
                    <a:pt x="100" y="357"/>
                  </a:lnTo>
                  <a:lnTo>
                    <a:pt x="70" y="323"/>
                  </a:lnTo>
                  <a:lnTo>
                    <a:pt x="83" y="311"/>
                  </a:lnTo>
                  <a:lnTo>
                    <a:pt x="66" y="289"/>
                  </a:lnTo>
                  <a:lnTo>
                    <a:pt x="93" y="262"/>
                  </a:lnTo>
                  <a:lnTo>
                    <a:pt x="72" y="251"/>
                  </a:lnTo>
                  <a:lnTo>
                    <a:pt x="83" y="228"/>
                  </a:lnTo>
                  <a:lnTo>
                    <a:pt x="55" y="181"/>
                  </a:lnTo>
                  <a:lnTo>
                    <a:pt x="0" y="179"/>
                  </a:lnTo>
                  <a:lnTo>
                    <a:pt x="2" y="17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9" name="Freeform 52">
              <a:extLst>
                <a:ext uri="{FF2B5EF4-FFF2-40B4-BE49-F238E27FC236}">
                  <a16:creationId xmlns:a16="http://schemas.microsoft.com/office/drawing/2014/main" id="{0AA61C62-4266-4638-8011-CF49F95B4D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2924" y="3166174"/>
              <a:ext cx="554294" cy="632602"/>
            </a:xfrm>
            <a:custGeom>
              <a:avLst/>
              <a:gdLst>
                <a:gd name="T0" fmla="*/ 0 w 361"/>
                <a:gd name="T1" fmla="*/ 231 h 412"/>
                <a:gd name="T2" fmla="*/ 8 w 361"/>
                <a:gd name="T3" fmla="*/ 252 h 412"/>
                <a:gd name="T4" fmla="*/ 17 w 361"/>
                <a:gd name="T5" fmla="*/ 289 h 412"/>
                <a:gd name="T6" fmla="*/ 40 w 361"/>
                <a:gd name="T7" fmla="*/ 301 h 412"/>
                <a:gd name="T8" fmla="*/ 36 w 361"/>
                <a:gd name="T9" fmla="*/ 321 h 412"/>
                <a:gd name="T10" fmla="*/ 121 w 361"/>
                <a:gd name="T11" fmla="*/ 369 h 412"/>
                <a:gd name="T12" fmla="*/ 157 w 361"/>
                <a:gd name="T13" fmla="*/ 412 h 412"/>
                <a:gd name="T14" fmla="*/ 212 w 361"/>
                <a:gd name="T15" fmla="*/ 386 h 412"/>
                <a:gd name="T16" fmla="*/ 297 w 361"/>
                <a:gd name="T17" fmla="*/ 380 h 412"/>
                <a:gd name="T18" fmla="*/ 342 w 361"/>
                <a:gd name="T19" fmla="*/ 318 h 412"/>
                <a:gd name="T20" fmla="*/ 361 w 361"/>
                <a:gd name="T21" fmla="*/ 259 h 412"/>
                <a:gd name="T22" fmla="*/ 353 w 361"/>
                <a:gd name="T23" fmla="*/ 227 h 412"/>
                <a:gd name="T24" fmla="*/ 323 w 361"/>
                <a:gd name="T25" fmla="*/ 201 h 412"/>
                <a:gd name="T26" fmla="*/ 348 w 361"/>
                <a:gd name="T27" fmla="*/ 178 h 412"/>
                <a:gd name="T28" fmla="*/ 348 w 361"/>
                <a:gd name="T29" fmla="*/ 150 h 412"/>
                <a:gd name="T30" fmla="*/ 321 w 361"/>
                <a:gd name="T31" fmla="*/ 150 h 412"/>
                <a:gd name="T32" fmla="*/ 293 w 361"/>
                <a:gd name="T33" fmla="*/ 161 h 412"/>
                <a:gd name="T34" fmla="*/ 272 w 361"/>
                <a:gd name="T35" fmla="*/ 125 h 412"/>
                <a:gd name="T36" fmla="*/ 257 w 361"/>
                <a:gd name="T37" fmla="*/ 136 h 412"/>
                <a:gd name="T38" fmla="*/ 234 w 361"/>
                <a:gd name="T39" fmla="*/ 114 h 412"/>
                <a:gd name="T40" fmla="*/ 217 w 361"/>
                <a:gd name="T41" fmla="*/ 119 h 412"/>
                <a:gd name="T42" fmla="*/ 208 w 361"/>
                <a:gd name="T43" fmla="*/ 89 h 412"/>
                <a:gd name="T44" fmla="*/ 225 w 361"/>
                <a:gd name="T45" fmla="*/ 74 h 412"/>
                <a:gd name="T46" fmla="*/ 202 w 361"/>
                <a:gd name="T47" fmla="*/ 38 h 412"/>
                <a:gd name="T48" fmla="*/ 185 w 361"/>
                <a:gd name="T49" fmla="*/ 40 h 412"/>
                <a:gd name="T50" fmla="*/ 180 w 361"/>
                <a:gd name="T51" fmla="*/ 12 h 412"/>
                <a:gd name="T52" fmla="*/ 153 w 361"/>
                <a:gd name="T53" fmla="*/ 2 h 412"/>
                <a:gd name="T54" fmla="*/ 123 w 361"/>
                <a:gd name="T55" fmla="*/ 0 h 412"/>
                <a:gd name="T56" fmla="*/ 117 w 361"/>
                <a:gd name="T57" fmla="*/ 21 h 412"/>
                <a:gd name="T58" fmla="*/ 59 w 361"/>
                <a:gd name="T59" fmla="*/ 25 h 412"/>
                <a:gd name="T60" fmla="*/ 53 w 361"/>
                <a:gd name="T61" fmla="*/ 38 h 412"/>
                <a:gd name="T62" fmla="*/ 42 w 361"/>
                <a:gd name="T63" fmla="*/ 55 h 412"/>
                <a:gd name="T64" fmla="*/ 61 w 361"/>
                <a:gd name="T65" fmla="*/ 65 h 412"/>
                <a:gd name="T66" fmla="*/ 63 w 361"/>
                <a:gd name="T67" fmla="*/ 99 h 412"/>
                <a:gd name="T68" fmla="*/ 40 w 361"/>
                <a:gd name="T69" fmla="*/ 110 h 412"/>
                <a:gd name="T70" fmla="*/ 51 w 361"/>
                <a:gd name="T71" fmla="*/ 125 h 412"/>
                <a:gd name="T72" fmla="*/ 36 w 361"/>
                <a:gd name="T73" fmla="*/ 129 h 412"/>
                <a:gd name="T74" fmla="*/ 0 w 361"/>
                <a:gd name="T75" fmla="*/ 229 h 412"/>
                <a:gd name="T76" fmla="*/ 0 w 361"/>
                <a:gd name="T77" fmla="*/ 231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61" h="412">
                  <a:moveTo>
                    <a:pt x="0" y="231"/>
                  </a:moveTo>
                  <a:lnTo>
                    <a:pt x="8" y="252"/>
                  </a:lnTo>
                  <a:lnTo>
                    <a:pt x="17" y="289"/>
                  </a:lnTo>
                  <a:lnTo>
                    <a:pt x="40" y="301"/>
                  </a:lnTo>
                  <a:lnTo>
                    <a:pt x="36" y="321"/>
                  </a:lnTo>
                  <a:lnTo>
                    <a:pt x="121" y="369"/>
                  </a:lnTo>
                  <a:lnTo>
                    <a:pt x="157" y="412"/>
                  </a:lnTo>
                  <a:lnTo>
                    <a:pt x="212" y="386"/>
                  </a:lnTo>
                  <a:lnTo>
                    <a:pt x="297" y="380"/>
                  </a:lnTo>
                  <a:lnTo>
                    <a:pt x="342" y="318"/>
                  </a:lnTo>
                  <a:lnTo>
                    <a:pt x="361" y="259"/>
                  </a:lnTo>
                  <a:lnTo>
                    <a:pt x="353" y="227"/>
                  </a:lnTo>
                  <a:lnTo>
                    <a:pt x="323" y="201"/>
                  </a:lnTo>
                  <a:lnTo>
                    <a:pt x="348" y="178"/>
                  </a:lnTo>
                  <a:lnTo>
                    <a:pt x="348" y="150"/>
                  </a:lnTo>
                  <a:lnTo>
                    <a:pt x="321" y="150"/>
                  </a:lnTo>
                  <a:lnTo>
                    <a:pt x="293" y="161"/>
                  </a:lnTo>
                  <a:lnTo>
                    <a:pt x="272" y="125"/>
                  </a:lnTo>
                  <a:lnTo>
                    <a:pt x="257" y="136"/>
                  </a:lnTo>
                  <a:lnTo>
                    <a:pt x="234" y="114"/>
                  </a:lnTo>
                  <a:lnTo>
                    <a:pt x="217" y="119"/>
                  </a:lnTo>
                  <a:lnTo>
                    <a:pt x="208" y="89"/>
                  </a:lnTo>
                  <a:lnTo>
                    <a:pt x="225" y="74"/>
                  </a:lnTo>
                  <a:lnTo>
                    <a:pt x="202" y="38"/>
                  </a:lnTo>
                  <a:lnTo>
                    <a:pt x="185" y="40"/>
                  </a:lnTo>
                  <a:lnTo>
                    <a:pt x="180" y="12"/>
                  </a:lnTo>
                  <a:lnTo>
                    <a:pt x="153" y="2"/>
                  </a:lnTo>
                  <a:lnTo>
                    <a:pt x="123" y="0"/>
                  </a:lnTo>
                  <a:lnTo>
                    <a:pt x="117" y="21"/>
                  </a:lnTo>
                  <a:lnTo>
                    <a:pt x="59" y="25"/>
                  </a:lnTo>
                  <a:lnTo>
                    <a:pt x="53" y="38"/>
                  </a:lnTo>
                  <a:lnTo>
                    <a:pt x="42" y="55"/>
                  </a:lnTo>
                  <a:lnTo>
                    <a:pt x="61" y="65"/>
                  </a:lnTo>
                  <a:lnTo>
                    <a:pt x="63" y="99"/>
                  </a:lnTo>
                  <a:lnTo>
                    <a:pt x="40" y="110"/>
                  </a:lnTo>
                  <a:lnTo>
                    <a:pt x="51" y="125"/>
                  </a:lnTo>
                  <a:lnTo>
                    <a:pt x="36" y="129"/>
                  </a:lnTo>
                  <a:lnTo>
                    <a:pt x="0" y="229"/>
                  </a:lnTo>
                  <a:lnTo>
                    <a:pt x="0" y="23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0" name="Freeform 53">
              <a:extLst>
                <a:ext uri="{FF2B5EF4-FFF2-40B4-BE49-F238E27FC236}">
                  <a16:creationId xmlns:a16="http://schemas.microsoft.com/office/drawing/2014/main" id="{AE554DDC-7ED1-4E3E-BD61-EDAB4A601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1349" y="3662120"/>
              <a:ext cx="23032" cy="12284"/>
            </a:xfrm>
            <a:custGeom>
              <a:avLst/>
              <a:gdLst>
                <a:gd name="T0" fmla="*/ 0 w 15"/>
                <a:gd name="T1" fmla="*/ 8 h 8"/>
                <a:gd name="T2" fmla="*/ 15 w 15"/>
                <a:gd name="T3" fmla="*/ 0 h 8"/>
                <a:gd name="T4" fmla="*/ 0 w 15"/>
                <a:gd name="T5" fmla="*/ 0 h 8"/>
                <a:gd name="T6" fmla="*/ 0 w 15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8">
                  <a:moveTo>
                    <a:pt x="0" y="8"/>
                  </a:moveTo>
                  <a:lnTo>
                    <a:pt x="15" y="0"/>
                  </a:lnTo>
                  <a:lnTo>
                    <a:pt x="0" y="0"/>
                  </a:lnTo>
                  <a:lnTo>
                    <a:pt x="0" y="8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1" name="Freeform 54">
              <a:extLst>
                <a:ext uri="{FF2B5EF4-FFF2-40B4-BE49-F238E27FC236}">
                  <a16:creationId xmlns:a16="http://schemas.microsoft.com/office/drawing/2014/main" id="{7638C188-0379-4B3D-8184-18D910990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3974" y="2587312"/>
              <a:ext cx="643350" cy="486735"/>
            </a:xfrm>
            <a:custGeom>
              <a:avLst/>
              <a:gdLst>
                <a:gd name="T0" fmla="*/ 2 w 419"/>
                <a:gd name="T1" fmla="*/ 75 h 317"/>
                <a:gd name="T2" fmla="*/ 25 w 419"/>
                <a:gd name="T3" fmla="*/ 117 h 317"/>
                <a:gd name="T4" fmla="*/ 11 w 419"/>
                <a:gd name="T5" fmla="*/ 138 h 317"/>
                <a:gd name="T6" fmla="*/ 21 w 419"/>
                <a:gd name="T7" fmla="*/ 149 h 317"/>
                <a:gd name="T8" fmla="*/ 6 w 419"/>
                <a:gd name="T9" fmla="*/ 170 h 317"/>
                <a:gd name="T10" fmla="*/ 25 w 419"/>
                <a:gd name="T11" fmla="*/ 198 h 317"/>
                <a:gd name="T12" fmla="*/ 8 w 419"/>
                <a:gd name="T13" fmla="*/ 243 h 317"/>
                <a:gd name="T14" fmla="*/ 79 w 419"/>
                <a:gd name="T15" fmla="*/ 268 h 317"/>
                <a:gd name="T16" fmla="*/ 130 w 419"/>
                <a:gd name="T17" fmla="*/ 245 h 317"/>
                <a:gd name="T18" fmla="*/ 191 w 419"/>
                <a:gd name="T19" fmla="*/ 272 h 317"/>
                <a:gd name="T20" fmla="*/ 200 w 419"/>
                <a:gd name="T21" fmla="*/ 296 h 317"/>
                <a:gd name="T22" fmla="*/ 229 w 419"/>
                <a:gd name="T23" fmla="*/ 285 h 317"/>
                <a:gd name="T24" fmla="*/ 225 w 419"/>
                <a:gd name="T25" fmla="*/ 317 h 317"/>
                <a:gd name="T26" fmla="*/ 255 w 419"/>
                <a:gd name="T27" fmla="*/ 304 h 317"/>
                <a:gd name="T28" fmla="*/ 261 w 419"/>
                <a:gd name="T29" fmla="*/ 274 h 317"/>
                <a:gd name="T30" fmla="*/ 319 w 419"/>
                <a:gd name="T31" fmla="*/ 289 h 317"/>
                <a:gd name="T32" fmla="*/ 346 w 419"/>
                <a:gd name="T33" fmla="*/ 247 h 317"/>
                <a:gd name="T34" fmla="*/ 404 w 419"/>
                <a:gd name="T35" fmla="*/ 238 h 317"/>
                <a:gd name="T36" fmla="*/ 412 w 419"/>
                <a:gd name="T37" fmla="*/ 215 h 317"/>
                <a:gd name="T38" fmla="*/ 419 w 419"/>
                <a:gd name="T39" fmla="*/ 147 h 317"/>
                <a:gd name="T40" fmla="*/ 370 w 419"/>
                <a:gd name="T41" fmla="*/ 121 h 317"/>
                <a:gd name="T42" fmla="*/ 349 w 419"/>
                <a:gd name="T43" fmla="*/ 128 h 317"/>
                <a:gd name="T44" fmla="*/ 340 w 419"/>
                <a:gd name="T45" fmla="*/ 102 h 317"/>
                <a:gd name="T46" fmla="*/ 321 w 419"/>
                <a:gd name="T47" fmla="*/ 111 h 317"/>
                <a:gd name="T48" fmla="*/ 334 w 419"/>
                <a:gd name="T49" fmla="*/ 94 h 317"/>
                <a:gd name="T50" fmla="*/ 325 w 419"/>
                <a:gd name="T51" fmla="*/ 85 h 317"/>
                <a:gd name="T52" fmla="*/ 285 w 419"/>
                <a:gd name="T53" fmla="*/ 98 h 317"/>
                <a:gd name="T54" fmla="*/ 232 w 419"/>
                <a:gd name="T55" fmla="*/ 147 h 317"/>
                <a:gd name="T56" fmla="*/ 181 w 419"/>
                <a:gd name="T57" fmla="*/ 49 h 317"/>
                <a:gd name="T58" fmla="*/ 149 w 419"/>
                <a:gd name="T59" fmla="*/ 24 h 317"/>
                <a:gd name="T60" fmla="*/ 151 w 419"/>
                <a:gd name="T61" fmla="*/ 0 h 317"/>
                <a:gd name="T62" fmla="*/ 119 w 419"/>
                <a:gd name="T63" fmla="*/ 17 h 317"/>
                <a:gd name="T64" fmla="*/ 113 w 419"/>
                <a:gd name="T65" fmla="*/ 2 h 317"/>
                <a:gd name="T66" fmla="*/ 79 w 419"/>
                <a:gd name="T67" fmla="*/ 17 h 317"/>
                <a:gd name="T68" fmla="*/ 51 w 419"/>
                <a:gd name="T69" fmla="*/ 9 h 317"/>
                <a:gd name="T70" fmla="*/ 25 w 419"/>
                <a:gd name="T71" fmla="*/ 26 h 317"/>
                <a:gd name="T72" fmla="*/ 23 w 419"/>
                <a:gd name="T73" fmla="*/ 66 h 317"/>
                <a:gd name="T74" fmla="*/ 8 w 419"/>
                <a:gd name="T75" fmla="*/ 62 h 317"/>
                <a:gd name="T76" fmla="*/ 0 w 419"/>
                <a:gd name="T77" fmla="*/ 72 h 317"/>
                <a:gd name="T78" fmla="*/ 2 w 419"/>
                <a:gd name="T79" fmla="*/ 75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19" h="317">
                  <a:moveTo>
                    <a:pt x="2" y="75"/>
                  </a:moveTo>
                  <a:lnTo>
                    <a:pt x="25" y="117"/>
                  </a:lnTo>
                  <a:lnTo>
                    <a:pt x="11" y="138"/>
                  </a:lnTo>
                  <a:lnTo>
                    <a:pt x="21" y="149"/>
                  </a:lnTo>
                  <a:lnTo>
                    <a:pt x="6" y="170"/>
                  </a:lnTo>
                  <a:lnTo>
                    <a:pt x="25" y="198"/>
                  </a:lnTo>
                  <a:lnTo>
                    <a:pt x="8" y="243"/>
                  </a:lnTo>
                  <a:lnTo>
                    <a:pt x="79" y="268"/>
                  </a:lnTo>
                  <a:lnTo>
                    <a:pt x="130" y="245"/>
                  </a:lnTo>
                  <a:lnTo>
                    <a:pt x="191" y="272"/>
                  </a:lnTo>
                  <a:lnTo>
                    <a:pt x="200" y="296"/>
                  </a:lnTo>
                  <a:lnTo>
                    <a:pt x="229" y="285"/>
                  </a:lnTo>
                  <a:lnTo>
                    <a:pt x="225" y="317"/>
                  </a:lnTo>
                  <a:lnTo>
                    <a:pt x="255" y="304"/>
                  </a:lnTo>
                  <a:lnTo>
                    <a:pt x="261" y="274"/>
                  </a:lnTo>
                  <a:lnTo>
                    <a:pt x="319" y="289"/>
                  </a:lnTo>
                  <a:lnTo>
                    <a:pt x="346" y="247"/>
                  </a:lnTo>
                  <a:lnTo>
                    <a:pt x="404" y="238"/>
                  </a:lnTo>
                  <a:lnTo>
                    <a:pt x="412" y="215"/>
                  </a:lnTo>
                  <a:lnTo>
                    <a:pt x="419" y="147"/>
                  </a:lnTo>
                  <a:lnTo>
                    <a:pt x="370" y="121"/>
                  </a:lnTo>
                  <a:lnTo>
                    <a:pt x="349" y="128"/>
                  </a:lnTo>
                  <a:lnTo>
                    <a:pt x="340" y="102"/>
                  </a:lnTo>
                  <a:lnTo>
                    <a:pt x="321" y="111"/>
                  </a:lnTo>
                  <a:lnTo>
                    <a:pt x="334" y="94"/>
                  </a:lnTo>
                  <a:lnTo>
                    <a:pt x="325" y="85"/>
                  </a:lnTo>
                  <a:lnTo>
                    <a:pt x="285" y="98"/>
                  </a:lnTo>
                  <a:lnTo>
                    <a:pt x="232" y="147"/>
                  </a:lnTo>
                  <a:lnTo>
                    <a:pt x="181" y="49"/>
                  </a:lnTo>
                  <a:lnTo>
                    <a:pt x="149" y="24"/>
                  </a:lnTo>
                  <a:lnTo>
                    <a:pt x="151" y="0"/>
                  </a:lnTo>
                  <a:lnTo>
                    <a:pt x="119" y="17"/>
                  </a:lnTo>
                  <a:lnTo>
                    <a:pt x="113" y="2"/>
                  </a:lnTo>
                  <a:lnTo>
                    <a:pt x="79" y="17"/>
                  </a:lnTo>
                  <a:lnTo>
                    <a:pt x="51" y="9"/>
                  </a:lnTo>
                  <a:lnTo>
                    <a:pt x="25" y="26"/>
                  </a:lnTo>
                  <a:lnTo>
                    <a:pt x="23" y="66"/>
                  </a:lnTo>
                  <a:lnTo>
                    <a:pt x="8" y="62"/>
                  </a:lnTo>
                  <a:lnTo>
                    <a:pt x="0" y="72"/>
                  </a:lnTo>
                  <a:lnTo>
                    <a:pt x="2" y="75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2" name="Freeform 55">
              <a:extLst>
                <a:ext uri="{FF2B5EF4-FFF2-40B4-BE49-F238E27FC236}">
                  <a16:creationId xmlns:a16="http://schemas.microsoft.com/office/drawing/2014/main" id="{F499F101-430E-428A-B9D0-43CB4C5E632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895" y="4042910"/>
              <a:ext cx="475986" cy="448349"/>
            </a:xfrm>
            <a:custGeom>
              <a:avLst/>
              <a:gdLst>
                <a:gd name="T0" fmla="*/ 2 w 310"/>
                <a:gd name="T1" fmla="*/ 92 h 292"/>
                <a:gd name="T2" fmla="*/ 27 w 310"/>
                <a:gd name="T3" fmla="*/ 113 h 292"/>
                <a:gd name="T4" fmla="*/ 46 w 310"/>
                <a:gd name="T5" fmla="*/ 170 h 292"/>
                <a:gd name="T6" fmla="*/ 27 w 310"/>
                <a:gd name="T7" fmla="*/ 187 h 292"/>
                <a:gd name="T8" fmla="*/ 61 w 310"/>
                <a:gd name="T9" fmla="*/ 194 h 292"/>
                <a:gd name="T10" fmla="*/ 57 w 310"/>
                <a:gd name="T11" fmla="*/ 221 h 292"/>
                <a:gd name="T12" fmla="*/ 95 w 310"/>
                <a:gd name="T13" fmla="*/ 215 h 292"/>
                <a:gd name="T14" fmla="*/ 123 w 310"/>
                <a:gd name="T15" fmla="*/ 243 h 292"/>
                <a:gd name="T16" fmla="*/ 127 w 310"/>
                <a:gd name="T17" fmla="*/ 277 h 292"/>
                <a:gd name="T18" fmla="*/ 165 w 310"/>
                <a:gd name="T19" fmla="*/ 256 h 292"/>
                <a:gd name="T20" fmla="*/ 221 w 310"/>
                <a:gd name="T21" fmla="*/ 292 h 292"/>
                <a:gd name="T22" fmla="*/ 278 w 310"/>
                <a:gd name="T23" fmla="*/ 266 h 292"/>
                <a:gd name="T24" fmla="*/ 253 w 310"/>
                <a:gd name="T25" fmla="*/ 232 h 292"/>
                <a:gd name="T26" fmla="*/ 257 w 310"/>
                <a:gd name="T27" fmla="*/ 228 h 292"/>
                <a:gd name="T28" fmla="*/ 310 w 310"/>
                <a:gd name="T29" fmla="*/ 179 h 292"/>
                <a:gd name="T30" fmla="*/ 299 w 310"/>
                <a:gd name="T31" fmla="*/ 119 h 292"/>
                <a:gd name="T32" fmla="*/ 278 w 310"/>
                <a:gd name="T33" fmla="*/ 68 h 292"/>
                <a:gd name="T34" fmla="*/ 233 w 310"/>
                <a:gd name="T35" fmla="*/ 43 h 292"/>
                <a:gd name="T36" fmla="*/ 229 w 310"/>
                <a:gd name="T37" fmla="*/ 17 h 292"/>
                <a:gd name="T38" fmla="*/ 225 w 310"/>
                <a:gd name="T39" fmla="*/ 15 h 292"/>
                <a:gd name="T40" fmla="*/ 199 w 310"/>
                <a:gd name="T41" fmla="*/ 13 h 292"/>
                <a:gd name="T42" fmla="*/ 106 w 310"/>
                <a:gd name="T43" fmla="*/ 0 h 292"/>
                <a:gd name="T44" fmla="*/ 87 w 310"/>
                <a:gd name="T45" fmla="*/ 24 h 292"/>
                <a:gd name="T46" fmla="*/ 38 w 310"/>
                <a:gd name="T47" fmla="*/ 9 h 292"/>
                <a:gd name="T48" fmla="*/ 12 w 310"/>
                <a:gd name="T49" fmla="*/ 37 h 292"/>
                <a:gd name="T50" fmla="*/ 15 w 310"/>
                <a:gd name="T51" fmla="*/ 66 h 292"/>
                <a:gd name="T52" fmla="*/ 0 w 310"/>
                <a:gd name="T53" fmla="*/ 85 h 292"/>
                <a:gd name="T54" fmla="*/ 2 w 310"/>
                <a:gd name="T55" fmla="*/ 92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10" h="292">
                  <a:moveTo>
                    <a:pt x="2" y="92"/>
                  </a:moveTo>
                  <a:lnTo>
                    <a:pt x="27" y="113"/>
                  </a:lnTo>
                  <a:lnTo>
                    <a:pt x="46" y="170"/>
                  </a:lnTo>
                  <a:lnTo>
                    <a:pt x="27" y="187"/>
                  </a:lnTo>
                  <a:lnTo>
                    <a:pt x="61" y="194"/>
                  </a:lnTo>
                  <a:lnTo>
                    <a:pt x="57" y="221"/>
                  </a:lnTo>
                  <a:lnTo>
                    <a:pt x="95" y="215"/>
                  </a:lnTo>
                  <a:lnTo>
                    <a:pt x="123" y="243"/>
                  </a:lnTo>
                  <a:lnTo>
                    <a:pt x="127" y="277"/>
                  </a:lnTo>
                  <a:lnTo>
                    <a:pt x="165" y="256"/>
                  </a:lnTo>
                  <a:lnTo>
                    <a:pt x="221" y="292"/>
                  </a:lnTo>
                  <a:lnTo>
                    <a:pt x="278" y="266"/>
                  </a:lnTo>
                  <a:lnTo>
                    <a:pt x="253" y="232"/>
                  </a:lnTo>
                  <a:lnTo>
                    <a:pt x="257" y="228"/>
                  </a:lnTo>
                  <a:lnTo>
                    <a:pt x="310" y="179"/>
                  </a:lnTo>
                  <a:lnTo>
                    <a:pt x="299" y="119"/>
                  </a:lnTo>
                  <a:lnTo>
                    <a:pt x="278" y="68"/>
                  </a:lnTo>
                  <a:lnTo>
                    <a:pt x="233" y="43"/>
                  </a:lnTo>
                  <a:lnTo>
                    <a:pt x="229" y="17"/>
                  </a:lnTo>
                  <a:lnTo>
                    <a:pt x="225" y="15"/>
                  </a:lnTo>
                  <a:lnTo>
                    <a:pt x="199" y="13"/>
                  </a:lnTo>
                  <a:lnTo>
                    <a:pt x="106" y="0"/>
                  </a:lnTo>
                  <a:lnTo>
                    <a:pt x="87" y="24"/>
                  </a:lnTo>
                  <a:lnTo>
                    <a:pt x="38" y="9"/>
                  </a:lnTo>
                  <a:lnTo>
                    <a:pt x="12" y="37"/>
                  </a:lnTo>
                  <a:lnTo>
                    <a:pt x="15" y="66"/>
                  </a:lnTo>
                  <a:lnTo>
                    <a:pt x="0" y="85"/>
                  </a:lnTo>
                  <a:lnTo>
                    <a:pt x="2" y="92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3" name="Freeform 56">
              <a:extLst>
                <a:ext uri="{FF2B5EF4-FFF2-40B4-BE49-F238E27FC236}">
                  <a16:creationId xmlns:a16="http://schemas.microsoft.com/office/drawing/2014/main" id="{398B51F1-9A76-40B4-B9F0-5B734A3318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6893" y="4448266"/>
              <a:ext cx="594216" cy="646421"/>
            </a:xfrm>
            <a:custGeom>
              <a:avLst/>
              <a:gdLst>
                <a:gd name="T0" fmla="*/ 2 w 387"/>
                <a:gd name="T1" fmla="*/ 306 h 421"/>
                <a:gd name="T2" fmla="*/ 32 w 387"/>
                <a:gd name="T3" fmla="*/ 230 h 421"/>
                <a:gd name="T4" fmla="*/ 26 w 387"/>
                <a:gd name="T5" fmla="*/ 213 h 421"/>
                <a:gd name="T6" fmla="*/ 4 w 387"/>
                <a:gd name="T7" fmla="*/ 215 h 421"/>
                <a:gd name="T8" fmla="*/ 17 w 387"/>
                <a:gd name="T9" fmla="*/ 181 h 421"/>
                <a:gd name="T10" fmla="*/ 51 w 387"/>
                <a:gd name="T11" fmla="*/ 179 h 421"/>
                <a:gd name="T12" fmla="*/ 87 w 387"/>
                <a:gd name="T13" fmla="*/ 147 h 421"/>
                <a:gd name="T14" fmla="*/ 87 w 387"/>
                <a:gd name="T15" fmla="*/ 102 h 421"/>
                <a:gd name="T16" fmla="*/ 132 w 387"/>
                <a:gd name="T17" fmla="*/ 81 h 421"/>
                <a:gd name="T18" fmla="*/ 155 w 387"/>
                <a:gd name="T19" fmla="*/ 26 h 421"/>
                <a:gd name="T20" fmla="*/ 185 w 387"/>
                <a:gd name="T21" fmla="*/ 0 h 421"/>
                <a:gd name="T22" fmla="*/ 213 w 387"/>
                <a:gd name="T23" fmla="*/ 11 h 421"/>
                <a:gd name="T24" fmla="*/ 230 w 387"/>
                <a:gd name="T25" fmla="*/ 51 h 421"/>
                <a:gd name="T26" fmla="*/ 245 w 387"/>
                <a:gd name="T27" fmla="*/ 36 h 421"/>
                <a:gd name="T28" fmla="*/ 285 w 387"/>
                <a:gd name="T29" fmla="*/ 40 h 421"/>
                <a:gd name="T30" fmla="*/ 300 w 387"/>
                <a:gd name="T31" fmla="*/ 68 h 421"/>
                <a:gd name="T32" fmla="*/ 321 w 387"/>
                <a:gd name="T33" fmla="*/ 72 h 421"/>
                <a:gd name="T34" fmla="*/ 306 w 387"/>
                <a:gd name="T35" fmla="*/ 87 h 421"/>
                <a:gd name="T36" fmla="*/ 342 w 387"/>
                <a:gd name="T37" fmla="*/ 102 h 421"/>
                <a:gd name="T38" fmla="*/ 359 w 387"/>
                <a:gd name="T39" fmla="*/ 125 h 421"/>
                <a:gd name="T40" fmla="*/ 336 w 387"/>
                <a:gd name="T41" fmla="*/ 149 h 421"/>
                <a:gd name="T42" fmla="*/ 347 w 387"/>
                <a:gd name="T43" fmla="*/ 176 h 421"/>
                <a:gd name="T44" fmla="*/ 332 w 387"/>
                <a:gd name="T45" fmla="*/ 187 h 421"/>
                <a:gd name="T46" fmla="*/ 334 w 387"/>
                <a:gd name="T47" fmla="*/ 193 h 421"/>
                <a:gd name="T48" fmla="*/ 379 w 387"/>
                <a:gd name="T49" fmla="*/ 221 h 421"/>
                <a:gd name="T50" fmla="*/ 370 w 387"/>
                <a:gd name="T51" fmla="*/ 230 h 421"/>
                <a:gd name="T52" fmla="*/ 387 w 387"/>
                <a:gd name="T53" fmla="*/ 259 h 421"/>
                <a:gd name="T54" fmla="*/ 385 w 387"/>
                <a:gd name="T55" fmla="*/ 313 h 421"/>
                <a:gd name="T56" fmla="*/ 285 w 387"/>
                <a:gd name="T57" fmla="*/ 421 h 421"/>
                <a:gd name="T58" fmla="*/ 262 w 387"/>
                <a:gd name="T59" fmla="*/ 395 h 421"/>
                <a:gd name="T60" fmla="*/ 223 w 387"/>
                <a:gd name="T61" fmla="*/ 408 h 421"/>
                <a:gd name="T62" fmla="*/ 213 w 387"/>
                <a:gd name="T63" fmla="*/ 372 h 421"/>
                <a:gd name="T64" fmla="*/ 100 w 387"/>
                <a:gd name="T65" fmla="*/ 383 h 421"/>
                <a:gd name="T66" fmla="*/ 85 w 387"/>
                <a:gd name="T67" fmla="*/ 344 h 421"/>
                <a:gd name="T68" fmla="*/ 85 w 387"/>
                <a:gd name="T69" fmla="*/ 304 h 421"/>
                <a:gd name="T70" fmla="*/ 58 w 387"/>
                <a:gd name="T71" fmla="*/ 321 h 421"/>
                <a:gd name="T72" fmla="*/ 0 w 387"/>
                <a:gd name="T73" fmla="*/ 308 h 421"/>
                <a:gd name="T74" fmla="*/ 2 w 387"/>
                <a:gd name="T75" fmla="*/ 306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87" h="421">
                  <a:moveTo>
                    <a:pt x="2" y="306"/>
                  </a:moveTo>
                  <a:lnTo>
                    <a:pt x="32" y="230"/>
                  </a:lnTo>
                  <a:lnTo>
                    <a:pt x="26" y="213"/>
                  </a:lnTo>
                  <a:lnTo>
                    <a:pt x="4" y="215"/>
                  </a:lnTo>
                  <a:lnTo>
                    <a:pt x="17" y="181"/>
                  </a:lnTo>
                  <a:lnTo>
                    <a:pt x="51" y="179"/>
                  </a:lnTo>
                  <a:lnTo>
                    <a:pt x="87" y="147"/>
                  </a:lnTo>
                  <a:lnTo>
                    <a:pt x="87" y="102"/>
                  </a:lnTo>
                  <a:lnTo>
                    <a:pt x="132" y="81"/>
                  </a:lnTo>
                  <a:lnTo>
                    <a:pt x="155" y="26"/>
                  </a:lnTo>
                  <a:lnTo>
                    <a:pt x="185" y="0"/>
                  </a:lnTo>
                  <a:lnTo>
                    <a:pt x="213" y="11"/>
                  </a:lnTo>
                  <a:lnTo>
                    <a:pt x="230" y="51"/>
                  </a:lnTo>
                  <a:lnTo>
                    <a:pt x="245" y="36"/>
                  </a:lnTo>
                  <a:lnTo>
                    <a:pt x="285" y="40"/>
                  </a:lnTo>
                  <a:lnTo>
                    <a:pt x="300" y="68"/>
                  </a:lnTo>
                  <a:lnTo>
                    <a:pt x="321" y="72"/>
                  </a:lnTo>
                  <a:lnTo>
                    <a:pt x="306" y="87"/>
                  </a:lnTo>
                  <a:lnTo>
                    <a:pt x="342" y="102"/>
                  </a:lnTo>
                  <a:lnTo>
                    <a:pt x="359" y="125"/>
                  </a:lnTo>
                  <a:lnTo>
                    <a:pt x="336" y="149"/>
                  </a:lnTo>
                  <a:lnTo>
                    <a:pt x="347" y="176"/>
                  </a:lnTo>
                  <a:lnTo>
                    <a:pt x="332" y="187"/>
                  </a:lnTo>
                  <a:lnTo>
                    <a:pt x="334" y="193"/>
                  </a:lnTo>
                  <a:lnTo>
                    <a:pt x="379" y="221"/>
                  </a:lnTo>
                  <a:lnTo>
                    <a:pt x="370" y="230"/>
                  </a:lnTo>
                  <a:lnTo>
                    <a:pt x="387" y="259"/>
                  </a:lnTo>
                  <a:lnTo>
                    <a:pt x="385" y="313"/>
                  </a:lnTo>
                  <a:lnTo>
                    <a:pt x="285" y="421"/>
                  </a:lnTo>
                  <a:lnTo>
                    <a:pt x="262" y="395"/>
                  </a:lnTo>
                  <a:lnTo>
                    <a:pt x="223" y="408"/>
                  </a:lnTo>
                  <a:lnTo>
                    <a:pt x="213" y="372"/>
                  </a:lnTo>
                  <a:lnTo>
                    <a:pt x="100" y="383"/>
                  </a:lnTo>
                  <a:lnTo>
                    <a:pt x="85" y="344"/>
                  </a:lnTo>
                  <a:lnTo>
                    <a:pt x="85" y="304"/>
                  </a:lnTo>
                  <a:lnTo>
                    <a:pt x="58" y="321"/>
                  </a:lnTo>
                  <a:lnTo>
                    <a:pt x="0" y="308"/>
                  </a:lnTo>
                  <a:lnTo>
                    <a:pt x="2" y="30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4" name="Freeform 57">
              <a:extLst>
                <a:ext uri="{FF2B5EF4-FFF2-40B4-BE49-F238E27FC236}">
                  <a16:creationId xmlns:a16="http://schemas.microsoft.com/office/drawing/2014/main" id="{FC242632-9AAE-41ED-9D5B-7FB71D833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451" y="5364925"/>
              <a:ext cx="600358" cy="431459"/>
            </a:xfrm>
            <a:custGeom>
              <a:avLst/>
              <a:gdLst>
                <a:gd name="T0" fmla="*/ 0 w 391"/>
                <a:gd name="T1" fmla="*/ 151 h 281"/>
                <a:gd name="T2" fmla="*/ 26 w 391"/>
                <a:gd name="T3" fmla="*/ 115 h 281"/>
                <a:gd name="T4" fmla="*/ 28 w 391"/>
                <a:gd name="T5" fmla="*/ 62 h 281"/>
                <a:gd name="T6" fmla="*/ 15 w 391"/>
                <a:gd name="T7" fmla="*/ 56 h 281"/>
                <a:gd name="T8" fmla="*/ 70 w 391"/>
                <a:gd name="T9" fmla="*/ 30 h 281"/>
                <a:gd name="T10" fmla="*/ 98 w 391"/>
                <a:gd name="T11" fmla="*/ 58 h 281"/>
                <a:gd name="T12" fmla="*/ 100 w 391"/>
                <a:gd name="T13" fmla="*/ 28 h 281"/>
                <a:gd name="T14" fmla="*/ 121 w 391"/>
                <a:gd name="T15" fmla="*/ 34 h 281"/>
                <a:gd name="T16" fmla="*/ 136 w 391"/>
                <a:gd name="T17" fmla="*/ 17 h 281"/>
                <a:gd name="T18" fmla="*/ 160 w 391"/>
                <a:gd name="T19" fmla="*/ 28 h 281"/>
                <a:gd name="T20" fmla="*/ 234 w 391"/>
                <a:gd name="T21" fmla="*/ 0 h 281"/>
                <a:gd name="T22" fmla="*/ 253 w 391"/>
                <a:gd name="T23" fmla="*/ 20 h 281"/>
                <a:gd name="T24" fmla="*/ 277 w 391"/>
                <a:gd name="T25" fmla="*/ 7 h 281"/>
                <a:gd name="T26" fmla="*/ 306 w 391"/>
                <a:gd name="T27" fmla="*/ 15 h 281"/>
                <a:gd name="T28" fmla="*/ 279 w 391"/>
                <a:gd name="T29" fmla="*/ 51 h 281"/>
                <a:gd name="T30" fmla="*/ 313 w 391"/>
                <a:gd name="T31" fmla="*/ 64 h 281"/>
                <a:gd name="T32" fmla="*/ 315 w 391"/>
                <a:gd name="T33" fmla="*/ 109 h 281"/>
                <a:gd name="T34" fmla="*/ 328 w 391"/>
                <a:gd name="T35" fmla="*/ 109 h 281"/>
                <a:gd name="T36" fmla="*/ 391 w 391"/>
                <a:gd name="T37" fmla="*/ 192 h 281"/>
                <a:gd name="T38" fmla="*/ 353 w 391"/>
                <a:gd name="T39" fmla="*/ 200 h 281"/>
                <a:gd name="T40" fmla="*/ 336 w 391"/>
                <a:gd name="T41" fmla="*/ 264 h 281"/>
                <a:gd name="T42" fmla="*/ 272 w 391"/>
                <a:gd name="T43" fmla="*/ 245 h 281"/>
                <a:gd name="T44" fmla="*/ 232 w 391"/>
                <a:gd name="T45" fmla="*/ 281 h 281"/>
                <a:gd name="T46" fmla="*/ 158 w 391"/>
                <a:gd name="T47" fmla="*/ 266 h 281"/>
                <a:gd name="T48" fmla="*/ 149 w 391"/>
                <a:gd name="T49" fmla="*/ 249 h 281"/>
                <a:gd name="T50" fmla="*/ 119 w 391"/>
                <a:gd name="T51" fmla="*/ 256 h 281"/>
                <a:gd name="T52" fmla="*/ 102 w 391"/>
                <a:gd name="T53" fmla="*/ 200 h 281"/>
                <a:gd name="T54" fmla="*/ 68 w 391"/>
                <a:gd name="T55" fmla="*/ 166 h 281"/>
                <a:gd name="T56" fmla="*/ 47 w 391"/>
                <a:gd name="T57" fmla="*/ 175 h 281"/>
                <a:gd name="T58" fmla="*/ 11 w 391"/>
                <a:gd name="T59" fmla="*/ 170 h 281"/>
                <a:gd name="T60" fmla="*/ 0 w 391"/>
                <a:gd name="T61" fmla="*/ 158 h 281"/>
                <a:gd name="T62" fmla="*/ 0 w 391"/>
                <a:gd name="T63" fmla="*/ 151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91" h="281">
                  <a:moveTo>
                    <a:pt x="0" y="151"/>
                  </a:moveTo>
                  <a:lnTo>
                    <a:pt x="26" y="115"/>
                  </a:lnTo>
                  <a:lnTo>
                    <a:pt x="28" y="62"/>
                  </a:lnTo>
                  <a:lnTo>
                    <a:pt x="15" y="56"/>
                  </a:lnTo>
                  <a:lnTo>
                    <a:pt x="70" y="30"/>
                  </a:lnTo>
                  <a:lnTo>
                    <a:pt x="98" y="58"/>
                  </a:lnTo>
                  <a:lnTo>
                    <a:pt x="100" y="28"/>
                  </a:lnTo>
                  <a:lnTo>
                    <a:pt x="121" y="34"/>
                  </a:lnTo>
                  <a:lnTo>
                    <a:pt x="136" y="17"/>
                  </a:lnTo>
                  <a:lnTo>
                    <a:pt x="160" y="28"/>
                  </a:lnTo>
                  <a:lnTo>
                    <a:pt x="234" y="0"/>
                  </a:lnTo>
                  <a:lnTo>
                    <a:pt x="253" y="20"/>
                  </a:lnTo>
                  <a:lnTo>
                    <a:pt x="277" y="7"/>
                  </a:lnTo>
                  <a:lnTo>
                    <a:pt x="306" y="15"/>
                  </a:lnTo>
                  <a:lnTo>
                    <a:pt x="279" y="51"/>
                  </a:lnTo>
                  <a:lnTo>
                    <a:pt x="313" y="64"/>
                  </a:lnTo>
                  <a:lnTo>
                    <a:pt x="315" y="109"/>
                  </a:lnTo>
                  <a:lnTo>
                    <a:pt x="328" y="109"/>
                  </a:lnTo>
                  <a:lnTo>
                    <a:pt x="391" y="192"/>
                  </a:lnTo>
                  <a:lnTo>
                    <a:pt x="353" y="200"/>
                  </a:lnTo>
                  <a:lnTo>
                    <a:pt x="336" y="264"/>
                  </a:lnTo>
                  <a:lnTo>
                    <a:pt x="272" y="245"/>
                  </a:lnTo>
                  <a:lnTo>
                    <a:pt x="232" y="281"/>
                  </a:lnTo>
                  <a:lnTo>
                    <a:pt x="158" y="266"/>
                  </a:lnTo>
                  <a:lnTo>
                    <a:pt x="149" y="249"/>
                  </a:lnTo>
                  <a:lnTo>
                    <a:pt x="119" y="256"/>
                  </a:lnTo>
                  <a:lnTo>
                    <a:pt x="102" y="200"/>
                  </a:lnTo>
                  <a:lnTo>
                    <a:pt x="68" y="166"/>
                  </a:lnTo>
                  <a:lnTo>
                    <a:pt x="47" y="175"/>
                  </a:lnTo>
                  <a:lnTo>
                    <a:pt x="11" y="170"/>
                  </a:lnTo>
                  <a:lnTo>
                    <a:pt x="0" y="158"/>
                  </a:lnTo>
                  <a:lnTo>
                    <a:pt x="0" y="151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5" name="Freeform 58">
              <a:extLst>
                <a:ext uri="{FF2B5EF4-FFF2-40B4-BE49-F238E27FC236}">
                  <a16:creationId xmlns:a16="http://schemas.microsoft.com/office/drawing/2014/main" id="{11D5446C-F6F9-4D97-824C-6FD59B89E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0946" y="4497400"/>
              <a:ext cx="626460" cy="783075"/>
            </a:xfrm>
            <a:custGeom>
              <a:avLst/>
              <a:gdLst>
                <a:gd name="T0" fmla="*/ 0 w 408"/>
                <a:gd name="T1" fmla="*/ 400 h 510"/>
                <a:gd name="T2" fmla="*/ 13 w 408"/>
                <a:gd name="T3" fmla="*/ 395 h 510"/>
                <a:gd name="T4" fmla="*/ 38 w 408"/>
                <a:gd name="T5" fmla="*/ 389 h 510"/>
                <a:gd name="T6" fmla="*/ 70 w 408"/>
                <a:gd name="T7" fmla="*/ 389 h 510"/>
                <a:gd name="T8" fmla="*/ 57 w 408"/>
                <a:gd name="T9" fmla="*/ 419 h 510"/>
                <a:gd name="T10" fmla="*/ 159 w 408"/>
                <a:gd name="T11" fmla="*/ 417 h 510"/>
                <a:gd name="T12" fmla="*/ 157 w 408"/>
                <a:gd name="T13" fmla="*/ 434 h 510"/>
                <a:gd name="T14" fmla="*/ 223 w 408"/>
                <a:gd name="T15" fmla="*/ 476 h 510"/>
                <a:gd name="T16" fmla="*/ 219 w 408"/>
                <a:gd name="T17" fmla="*/ 506 h 510"/>
                <a:gd name="T18" fmla="*/ 264 w 408"/>
                <a:gd name="T19" fmla="*/ 510 h 510"/>
                <a:gd name="T20" fmla="*/ 274 w 408"/>
                <a:gd name="T21" fmla="*/ 487 h 510"/>
                <a:gd name="T22" fmla="*/ 287 w 408"/>
                <a:gd name="T23" fmla="*/ 502 h 510"/>
                <a:gd name="T24" fmla="*/ 315 w 408"/>
                <a:gd name="T25" fmla="*/ 487 h 510"/>
                <a:gd name="T26" fmla="*/ 306 w 408"/>
                <a:gd name="T27" fmla="*/ 457 h 510"/>
                <a:gd name="T28" fmla="*/ 330 w 408"/>
                <a:gd name="T29" fmla="*/ 451 h 510"/>
                <a:gd name="T30" fmla="*/ 327 w 408"/>
                <a:gd name="T31" fmla="*/ 387 h 510"/>
                <a:gd name="T32" fmla="*/ 376 w 408"/>
                <a:gd name="T33" fmla="*/ 353 h 510"/>
                <a:gd name="T34" fmla="*/ 357 w 408"/>
                <a:gd name="T35" fmla="*/ 332 h 510"/>
                <a:gd name="T36" fmla="*/ 408 w 408"/>
                <a:gd name="T37" fmla="*/ 312 h 510"/>
                <a:gd name="T38" fmla="*/ 408 w 408"/>
                <a:gd name="T39" fmla="*/ 272 h 510"/>
                <a:gd name="T40" fmla="*/ 381 w 408"/>
                <a:gd name="T41" fmla="*/ 289 h 510"/>
                <a:gd name="T42" fmla="*/ 323 w 408"/>
                <a:gd name="T43" fmla="*/ 276 h 510"/>
                <a:gd name="T44" fmla="*/ 325 w 408"/>
                <a:gd name="T45" fmla="*/ 274 h 510"/>
                <a:gd name="T46" fmla="*/ 355 w 408"/>
                <a:gd name="T47" fmla="*/ 198 h 510"/>
                <a:gd name="T48" fmla="*/ 349 w 408"/>
                <a:gd name="T49" fmla="*/ 181 h 510"/>
                <a:gd name="T50" fmla="*/ 327 w 408"/>
                <a:gd name="T51" fmla="*/ 183 h 510"/>
                <a:gd name="T52" fmla="*/ 238 w 408"/>
                <a:gd name="T53" fmla="*/ 161 h 510"/>
                <a:gd name="T54" fmla="*/ 232 w 408"/>
                <a:gd name="T55" fmla="*/ 117 h 510"/>
                <a:gd name="T56" fmla="*/ 193 w 408"/>
                <a:gd name="T57" fmla="*/ 106 h 510"/>
                <a:gd name="T58" fmla="*/ 191 w 408"/>
                <a:gd name="T59" fmla="*/ 89 h 510"/>
                <a:gd name="T60" fmla="*/ 157 w 408"/>
                <a:gd name="T61" fmla="*/ 93 h 510"/>
                <a:gd name="T62" fmla="*/ 172 w 408"/>
                <a:gd name="T63" fmla="*/ 185 h 510"/>
                <a:gd name="T64" fmla="*/ 206 w 408"/>
                <a:gd name="T65" fmla="*/ 213 h 510"/>
                <a:gd name="T66" fmla="*/ 179 w 408"/>
                <a:gd name="T67" fmla="*/ 200 h 510"/>
                <a:gd name="T68" fmla="*/ 196 w 408"/>
                <a:gd name="T69" fmla="*/ 225 h 510"/>
                <a:gd name="T70" fmla="*/ 159 w 408"/>
                <a:gd name="T71" fmla="*/ 185 h 510"/>
                <a:gd name="T72" fmla="*/ 130 w 408"/>
                <a:gd name="T73" fmla="*/ 81 h 510"/>
                <a:gd name="T74" fmla="*/ 68 w 408"/>
                <a:gd name="T75" fmla="*/ 21 h 510"/>
                <a:gd name="T76" fmla="*/ 72 w 408"/>
                <a:gd name="T77" fmla="*/ 0 h 510"/>
                <a:gd name="T78" fmla="*/ 49 w 408"/>
                <a:gd name="T79" fmla="*/ 25 h 510"/>
                <a:gd name="T80" fmla="*/ 0 w 408"/>
                <a:gd name="T81" fmla="*/ 344 h 510"/>
                <a:gd name="T82" fmla="*/ 30 w 408"/>
                <a:gd name="T83" fmla="*/ 293 h 510"/>
                <a:gd name="T84" fmla="*/ 64 w 408"/>
                <a:gd name="T85" fmla="*/ 327 h 510"/>
                <a:gd name="T86" fmla="*/ 17 w 408"/>
                <a:gd name="T87" fmla="*/ 332 h 510"/>
                <a:gd name="T88" fmla="*/ 0 w 408"/>
                <a:gd name="T89" fmla="*/ 400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08" h="510">
                  <a:moveTo>
                    <a:pt x="0" y="400"/>
                  </a:moveTo>
                  <a:lnTo>
                    <a:pt x="13" y="395"/>
                  </a:lnTo>
                  <a:lnTo>
                    <a:pt x="38" y="389"/>
                  </a:lnTo>
                  <a:lnTo>
                    <a:pt x="70" y="389"/>
                  </a:lnTo>
                  <a:lnTo>
                    <a:pt x="57" y="419"/>
                  </a:lnTo>
                  <a:lnTo>
                    <a:pt x="159" y="417"/>
                  </a:lnTo>
                  <a:lnTo>
                    <a:pt x="157" y="434"/>
                  </a:lnTo>
                  <a:lnTo>
                    <a:pt x="223" y="476"/>
                  </a:lnTo>
                  <a:lnTo>
                    <a:pt x="219" y="506"/>
                  </a:lnTo>
                  <a:lnTo>
                    <a:pt x="264" y="510"/>
                  </a:lnTo>
                  <a:lnTo>
                    <a:pt x="274" y="487"/>
                  </a:lnTo>
                  <a:lnTo>
                    <a:pt x="287" y="502"/>
                  </a:lnTo>
                  <a:lnTo>
                    <a:pt x="315" y="487"/>
                  </a:lnTo>
                  <a:lnTo>
                    <a:pt x="306" y="457"/>
                  </a:lnTo>
                  <a:lnTo>
                    <a:pt x="330" y="451"/>
                  </a:lnTo>
                  <a:lnTo>
                    <a:pt x="327" y="387"/>
                  </a:lnTo>
                  <a:lnTo>
                    <a:pt x="376" y="353"/>
                  </a:lnTo>
                  <a:lnTo>
                    <a:pt x="357" y="332"/>
                  </a:lnTo>
                  <a:lnTo>
                    <a:pt x="408" y="312"/>
                  </a:lnTo>
                  <a:lnTo>
                    <a:pt x="408" y="272"/>
                  </a:lnTo>
                  <a:lnTo>
                    <a:pt x="381" y="289"/>
                  </a:lnTo>
                  <a:lnTo>
                    <a:pt x="323" y="276"/>
                  </a:lnTo>
                  <a:lnTo>
                    <a:pt x="325" y="274"/>
                  </a:lnTo>
                  <a:lnTo>
                    <a:pt x="355" y="198"/>
                  </a:lnTo>
                  <a:lnTo>
                    <a:pt x="349" y="181"/>
                  </a:lnTo>
                  <a:lnTo>
                    <a:pt x="327" y="183"/>
                  </a:lnTo>
                  <a:lnTo>
                    <a:pt x="238" y="161"/>
                  </a:lnTo>
                  <a:lnTo>
                    <a:pt x="232" y="117"/>
                  </a:lnTo>
                  <a:lnTo>
                    <a:pt x="193" y="106"/>
                  </a:lnTo>
                  <a:lnTo>
                    <a:pt x="191" y="89"/>
                  </a:lnTo>
                  <a:lnTo>
                    <a:pt x="157" y="93"/>
                  </a:lnTo>
                  <a:lnTo>
                    <a:pt x="172" y="185"/>
                  </a:lnTo>
                  <a:lnTo>
                    <a:pt x="206" y="213"/>
                  </a:lnTo>
                  <a:lnTo>
                    <a:pt x="179" y="200"/>
                  </a:lnTo>
                  <a:lnTo>
                    <a:pt x="196" y="225"/>
                  </a:lnTo>
                  <a:lnTo>
                    <a:pt x="159" y="185"/>
                  </a:lnTo>
                  <a:lnTo>
                    <a:pt x="130" y="81"/>
                  </a:lnTo>
                  <a:lnTo>
                    <a:pt x="68" y="21"/>
                  </a:lnTo>
                  <a:lnTo>
                    <a:pt x="72" y="0"/>
                  </a:lnTo>
                  <a:lnTo>
                    <a:pt x="49" y="25"/>
                  </a:lnTo>
                  <a:lnTo>
                    <a:pt x="0" y="344"/>
                  </a:lnTo>
                  <a:lnTo>
                    <a:pt x="30" y="293"/>
                  </a:lnTo>
                  <a:lnTo>
                    <a:pt x="64" y="327"/>
                  </a:lnTo>
                  <a:lnTo>
                    <a:pt x="17" y="332"/>
                  </a:lnTo>
                  <a:lnTo>
                    <a:pt x="0" y="40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6" name="Freeform 59">
              <a:extLst>
                <a:ext uri="{FF2B5EF4-FFF2-40B4-BE49-F238E27FC236}">
                  <a16:creationId xmlns:a16="http://schemas.microsoft.com/office/drawing/2014/main" id="{D6B9D120-1DBD-41A2-8DCF-D5E5FFDBD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1501" y="3580743"/>
              <a:ext cx="506695" cy="518979"/>
            </a:xfrm>
            <a:custGeom>
              <a:avLst/>
              <a:gdLst>
                <a:gd name="T0" fmla="*/ 2 w 330"/>
                <a:gd name="T1" fmla="*/ 191 h 338"/>
                <a:gd name="T2" fmla="*/ 9 w 330"/>
                <a:gd name="T3" fmla="*/ 244 h 338"/>
                <a:gd name="T4" fmla="*/ 68 w 330"/>
                <a:gd name="T5" fmla="*/ 278 h 338"/>
                <a:gd name="T6" fmla="*/ 68 w 330"/>
                <a:gd name="T7" fmla="*/ 299 h 338"/>
                <a:gd name="T8" fmla="*/ 83 w 330"/>
                <a:gd name="T9" fmla="*/ 306 h 338"/>
                <a:gd name="T10" fmla="*/ 75 w 330"/>
                <a:gd name="T11" fmla="*/ 323 h 338"/>
                <a:gd name="T12" fmla="*/ 119 w 330"/>
                <a:gd name="T13" fmla="*/ 318 h 338"/>
                <a:gd name="T14" fmla="*/ 136 w 330"/>
                <a:gd name="T15" fmla="*/ 338 h 338"/>
                <a:gd name="T16" fmla="*/ 162 w 330"/>
                <a:gd name="T17" fmla="*/ 310 h 338"/>
                <a:gd name="T18" fmla="*/ 211 w 330"/>
                <a:gd name="T19" fmla="*/ 325 h 338"/>
                <a:gd name="T20" fmla="*/ 230 w 330"/>
                <a:gd name="T21" fmla="*/ 301 h 338"/>
                <a:gd name="T22" fmla="*/ 323 w 330"/>
                <a:gd name="T23" fmla="*/ 314 h 338"/>
                <a:gd name="T24" fmla="*/ 330 w 330"/>
                <a:gd name="T25" fmla="*/ 233 h 338"/>
                <a:gd name="T26" fmla="*/ 300 w 330"/>
                <a:gd name="T27" fmla="*/ 199 h 338"/>
                <a:gd name="T28" fmla="*/ 313 w 330"/>
                <a:gd name="T29" fmla="*/ 187 h 338"/>
                <a:gd name="T30" fmla="*/ 296 w 330"/>
                <a:gd name="T31" fmla="*/ 165 h 338"/>
                <a:gd name="T32" fmla="*/ 323 w 330"/>
                <a:gd name="T33" fmla="*/ 138 h 338"/>
                <a:gd name="T34" fmla="*/ 302 w 330"/>
                <a:gd name="T35" fmla="*/ 127 h 338"/>
                <a:gd name="T36" fmla="*/ 313 w 330"/>
                <a:gd name="T37" fmla="*/ 104 h 338"/>
                <a:gd name="T38" fmla="*/ 285 w 330"/>
                <a:gd name="T39" fmla="*/ 57 h 338"/>
                <a:gd name="T40" fmla="*/ 230 w 330"/>
                <a:gd name="T41" fmla="*/ 55 h 338"/>
                <a:gd name="T42" fmla="*/ 232 w 330"/>
                <a:gd name="T43" fmla="*/ 53 h 338"/>
                <a:gd name="T44" fmla="*/ 247 w 330"/>
                <a:gd name="T45" fmla="*/ 23 h 338"/>
                <a:gd name="T46" fmla="*/ 187 w 330"/>
                <a:gd name="T47" fmla="*/ 0 h 338"/>
                <a:gd name="T48" fmla="*/ 122 w 330"/>
                <a:gd name="T49" fmla="*/ 31 h 338"/>
                <a:gd name="T50" fmla="*/ 126 w 330"/>
                <a:gd name="T51" fmla="*/ 59 h 338"/>
                <a:gd name="T52" fmla="*/ 100 w 330"/>
                <a:gd name="T53" fmla="*/ 91 h 338"/>
                <a:gd name="T54" fmla="*/ 75 w 330"/>
                <a:gd name="T55" fmla="*/ 85 h 338"/>
                <a:gd name="T56" fmla="*/ 49 w 330"/>
                <a:gd name="T57" fmla="*/ 99 h 338"/>
                <a:gd name="T58" fmla="*/ 34 w 330"/>
                <a:gd name="T59" fmla="*/ 184 h 338"/>
                <a:gd name="T60" fmla="*/ 0 w 330"/>
                <a:gd name="T61" fmla="*/ 187 h 338"/>
                <a:gd name="T62" fmla="*/ 2 w 330"/>
                <a:gd name="T63" fmla="*/ 191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0" h="338">
                  <a:moveTo>
                    <a:pt x="2" y="191"/>
                  </a:moveTo>
                  <a:lnTo>
                    <a:pt x="9" y="244"/>
                  </a:lnTo>
                  <a:lnTo>
                    <a:pt x="68" y="278"/>
                  </a:lnTo>
                  <a:lnTo>
                    <a:pt x="68" y="299"/>
                  </a:lnTo>
                  <a:lnTo>
                    <a:pt x="83" y="306"/>
                  </a:lnTo>
                  <a:lnTo>
                    <a:pt x="75" y="323"/>
                  </a:lnTo>
                  <a:lnTo>
                    <a:pt x="119" y="318"/>
                  </a:lnTo>
                  <a:lnTo>
                    <a:pt x="136" y="338"/>
                  </a:lnTo>
                  <a:lnTo>
                    <a:pt x="162" y="310"/>
                  </a:lnTo>
                  <a:lnTo>
                    <a:pt x="211" y="325"/>
                  </a:lnTo>
                  <a:lnTo>
                    <a:pt x="230" y="301"/>
                  </a:lnTo>
                  <a:lnTo>
                    <a:pt x="323" y="314"/>
                  </a:lnTo>
                  <a:lnTo>
                    <a:pt x="330" y="233"/>
                  </a:lnTo>
                  <a:lnTo>
                    <a:pt x="300" y="199"/>
                  </a:lnTo>
                  <a:lnTo>
                    <a:pt x="313" y="187"/>
                  </a:lnTo>
                  <a:lnTo>
                    <a:pt x="296" y="165"/>
                  </a:lnTo>
                  <a:lnTo>
                    <a:pt x="323" y="138"/>
                  </a:lnTo>
                  <a:lnTo>
                    <a:pt x="302" y="127"/>
                  </a:lnTo>
                  <a:lnTo>
                    <a:pt x="313" y="104"/>
                  </a:lnTo>
                  <a:lnTo>
                    <a:pt x="285" y="57"/>
                  </a:lnTo>
                  <a:lnTo>
                    <a:pt x="230" y="55"/>
                  </a:lnTo>
                  <a:lnTo>
                    <a:pt x="232" y="53"/>
                  </a:lnTo>
                  <a:lnTo>
                    <a:pt x="247" y="23"/>
                  </a:lnTo>
                  <a:lnTo>
                    <a:pt x="187" y="0"/>
                  </a:lnTo>
                  <a:lnTo>
                    <a:pt x="122" y="31"/>
                  </a:lnTo>
                  <a:lnTo>
                    <a:pt x="126" y="59"/>
                  </a:lnTo>
                  <a:lnTo>
                    <a:pt x="100" y="91"/>
                  </a:lnTo>
                  <a:lnTo>
                    <a:pt x="75" y="85"/>
                  </a:lnTo>
                  <a:lnTo>
                    <a:pt x="49" y="99"/>
                  </a:lnTo>
                  <a:lnTo>
                    <a:pt x="34" y="184"/>
                  </a:lnTo>
                  <a:lnTo>
                    <a:pt x="0" y="187"/>
                  </a:lnTo>
                  <a:lnTo>
                    <a:pt x="2" y="19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7" name="Freeform 60">
              <a:extLst>
                <a:ext uri="{FF2B5EF4-FFF2-40B4-BE49-F238E27FC236}">
                  <a16:creationId xmlns:a16="http://schemas.microsoft.com/office/drawing/2014/main" id="{CD8A97E8-1441-4B10-A277-D672DDDD4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1221" y="5094687"/>
              <a:ext cx="687877" cy="568113"/>
            </a:xfrm>
            <a:custGeom>
              <a:avLst/>
              <a:gdLst>
                <a:gd name="T0" fmla="*/ 4 w 448"/>
                <a:gd name="T1" fmla="*/ 351 h 370"/>
                <a:gd name="T2" fmla="*/ 38 w 448"/>
                <a:gd name="T3" fmla="*/ 364 h 370"/>
                <a:gd name="T4" fmla="*/ 93 w 448"/>
                <a:gd name="T5" fmla="*/ 349 h 370"/>
                <a:gd name="T6" fmla="*/ 100 w 448"/>
                <a:gd name="T7" fmla="*/ 370 h 370"/>
                <a:gd name="T8" fmla="*/ 199 w 448"/>
                <a:gd name="T9" fmla="*/ 342 h 370"/>
                <a:gd name="T10" fmla="*/ 240 w 448"/>
                <a:gd name="T11" fmla="*/ 359 h 370"/>
                <a:gd name="T12" fmla="*/ 280 w 448"/>
                <a:gd name="T13" fmla="*/ 342 h 370"/>
                <a:gd name="T14" fmla="*/ 287 w 448"/>
                <a:gd name="T15" fmla="*/ 357 h 370"/>
                <a:gd name="T16" fmla="*/ 342 w 448"/>
                <a:gd name="T17" fmla="*/ 346 h 370"/>
                <a:gd name="T18" fmla="*/ 331 w 448"/>
                <a:gd name="T19" fmla="*/ 334 h 370"/>
                <a:gd name="T20" fmla="*/ 331 w 448"/>
                <a:gd name="T21" fmla="*/ 327 h 370"/>
                <a:gd name="T22" fmla="*/ 357 w 448"/>
                <a:gd name="T23" fmla="*/ 291 h 370"/>
                <a:gd name="T24" fmla="*/ 359 w 448"/>
                <a:gd name="T25" fmla="*/ 238 h 370"/>
                <a:gd name="T26" fmla="*/ 346 w 448"/>
                <a:gd name="T27" fmla="*/ 232 h 370"/>
                <a:gd name="T28" fmla="*/ 401 w 448"/>
                <a:gd name="T29" fmla="*/ 206 h 370"/>
                <a:gd name="T30" fmla="*/ 429 w 448"/>
                <a:gd name="T31" fmla="*/ 234 h 370"/>
                <a:gd name="T32" fmla="*/ 431 w 448"/>
                <a:gd name="T33" fmla="*/ 204 h 370"/>
                <a:gd name="T34" fmla="*/ 448 w 448"/>
                <a:gd name="T35" fmla="*/ 155 h 370"/>
                <a:gd name="T36" fmla="*/ 380 w 448"/>
                <a:gd name="T37" fmla="*/ 140 h 370"/>
                <a:gd name="T38" fmla="*/ 380 w 448"/>
                <a:gd name="T39" fmla="*/ 119 h 370"/>
                <a:gd name="T40" fmla="*/ 378 w 448"/>
                <a:gd name="T41" fmla="*/ 113 h 370"/>
                <a:gd name="T42" fmla="*/ 365 w 448"/>
                <a:gd name="T43" fmla="*/ 98 h 370"/>
                <a:gd name="T44" fmla="*/ 355 w 448"/>
                <a:gd name="T45" fmla="*/ 121 h 370"/>
                <a:gd name="T46" fmla="*/ 310 w 448"/>
                <a:gd name="T47" fmla="*/ 117 h 370"/>
                <a:gd name="T48" fmla="*/ 314 w 448"/>
                <a:gd name="T49" fmla="*/ 87 h 370"/>
                <a:gd name="T50" fmla="*/ 248 w 448"/>
                <a:gd name="T51" fmla="*/ 45 h 370"/>
                <a:gd name="T52" fmla="*/ 250 w 448"/>
                <a:gd name="T53" fmla="*/ 28 h 370"/>
                <a:gd name="T54" fmla="*/ 148 w 448"/>
                <a:gd name="T55" fmla="*/ 30 h 370"/>
                <a:gd name="T56" fmla="*/ 161 w 448"/>
                <a:gd name="T57" fmla="*/ 0 h 370"/>
                <a:gd name="T58" fmla="*/ 129 w 448"/>
                <a:gd name="T59" fmla="*/ 0 h 370"/>
                <a:gd name="T60" fmla="*/ 104 w 448"/>
                <a:gd name="T61" fmla="*/ 6 h 370"/>
                <a:gd name="T62" fmla="*/ 91 w 448"/>
                <a:gd name="T63" fmla="*/ 11 h 370"/>
                <a:gd name="T64" fmla="*/ 23 w 448"/>
                <a:gd name="T65" fmla="*/ 302 h 370"/>
                <a:gd name="T66" fmla="*/ 0 w 448"/>
                <a:gd name="T67" fmla="*/ 349 h 370"/>
                <a:gd name="T68" fmla="*/ 4 w 448"/>
                <a:gd name="T69" fmla="*/ 351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8" h="370">
                  <a:moveTo>
                    <a:pt x="4" y="351"/>
                  </a:moveTo>
                  <a:lnTo>
                    <a:pt x="38" y="364"/>
                  </a:lnTo>
                  <a:lnTo>
                    <a:pt x="93" y="349"/>
                  </a:lnTo>
                  <a:lnTo>
                    <a:pt x="100" y="370"/>
                  </a:lnTo>
                  <a:lnTo>
                    <a:pt x="199" y="342"/>
                  </a:lnTo>
                  <a:lnTo>
                    <a:pt x="240" y="359"/>
                  </a:lnTo>
                  <a:lnTo>
                    <a:pt x="280" y="342"/>
                  </a:lnTo>
                  <a:lnTo>
                    <a:pt x="287" y="357"/>
                  </a:lnTo>
                  <a:lnTo>
                    <a:pt x="342" y="346"/>
                  </a:lnTo>
                  <a:lnTo>
                    <a:pt x="331" y="334"/>
                  </a:lnTo>
                  <a:lnTo>
                    <a:pt x="331" y="327"/>
                  </a:lnTo>
                  <a:lnTo>
                    <a:pt x="357" y="291"/>
                  </a:lnTo>
                  <a:lnTo>
                    <a:pt x="359" y="238"/>
                  </a:lnTo>
                  <a:lnTo>
                    <a:pt x="346" y="232"/>
                  </a:lnTo>
                  <a:lnTo>
                    <a:pt x="401" y="206"/>
                  </a:lnTo>
                  <a:lnTo>
                    <a:pt x="429" y="234"/>
                  </a:lnTo>
                  <a:lnTo>
                    <a:pt x="431" y="204"/>
                  </a:lnTo>
                  <a:lnTo>
                    <a:pt x="448" y="155"/>
                  </a:lnTo>
                  <a:lnTo>
                    <a:pt x="380" y="140"/>
                  </a:lnTo>
                  <a:lnTo>
                    <a:pt x="380" y="119"/>
                  </a:lnTo>
                  <a:lnTo>
                    <a:pt x="378" y="113"/>
                  </a:lnTo>
                  <a:lnTo>
                    <a:pt x="365" y="98"/>
                  </a:lnTo>
                  <a:lnTo>
                    <a:pt x="355" y="121"/>
                  </a:lnTo>
                  <a:lnTo>
                    <a:pt x="310" y="117"/>
                  </a:lnTo>
                  <a:lnTo>
                    <a:pt x="314" y="87"/>
                  </a:lnTo>
                  <a:lnTo>
                    <a:pt x="248" y="45"/>
                  </a:lnTo>
                  <a:lnTo>
                    <a:pt x="250" y="28"/>
                  </a:lnTo>
                  <a:lnTo>
                    <a:pt x="148" y="30"/>
                  </a:lnTo>
                  <a:lnTo>
                    <a:pt x="161" y="0"/>
                  </a:lnTo>
                  <a:lnTo>
                    <a:pt x="129" y="0"/>
                  </a:lnTo>
                  <a:lnTo>
                    <a:pt x="104" y="6"/>
                  </a:lnTo>
                  <a:lnTo>
                    <a:pt x="91" y="11"/>
                  </a:lnTo>
                  <a:lnTo>
                    <a:pt x="23" y="302"/>
                  </a:lnTo>
                  <a:lnTo>
                    <a:pt x="0" y="349"/>
                  </a:lnTo>
                  <a:lnTo>
                    <a:pt x="4" y="351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8" name="Freeform 61">
              <a:extLst>
                <a:ext uri="{FF2B5EF4-FFF2-40B4-BE49-F238E27FC236}">
                  <a16:creationId xmlns:a16="http://schemas.microsoft.com/office/drawing/2014/main" id="{30253B89-5153-4AC5-B023-3D43CC6604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1617" y="4976458"/>
              <a:ext cx="492877" cy="440672"/>
            </a:xfrm>
            <a:custGeom>
              <a:avLst/>
              <a:gdLst>
                <a:gd name="T0" fmla="*/ 2 w 321"/>
                <a:gd name="T1" fmla="*/ 196 h 287"/>
                <a:gd name="T2" fmla="*/ 2 w 321"/>
                <a:gd name="T3" fmla="*/ 217 h 287"/>
                <a:gd name="T4" fmla="*/ 70 w 321"/>
                <a:gd name="T5" fmla="*/ 232 h 287"/>
                <a:gd name="T6" fmla="*/ 53 w 321"/>
                <a:gd name="T7" fmla="*/ 281 h 287"/>
                <a:gd name="T8" fmla="*/ 74 w 321"/>
                <a:gd name="T9" fmla="*/ 287 h 287"/>
                <a:gd name="T10" fmla="*/ 89 w 321"/>
                <a:gd name="T11" fmla="*/ 270 h 287"/>
                <a:gd name="T12" fmla="*/ 113 w 321"/>
                <a:gd name="T13" fmla="*/ 281 h 287"/>
                <a:gd name="T14" fmla="*/ 187 w 321"/>
                <a:gd name="T15" fmla="*/ 253 h 287"/>
                <a:gd name="T16" fmla="*/ 206 w 321"/>
                <a:gd name="T17" fmla="*/ 273 h 287"/>
                <a:gd name="T18" fmla="*/ 230 w 321"/>
                <a:gd name="T19" fmla="*/ 260 h 287"/>
                <a:gd name="T20" fmla="*/ 230 w 321"/>
                <a:gd name="T21" fmla="*/ 251 h 287"/>
                <a:gd name="T22" fmla="*/ 242 w 321"/>
                <a:gd name="T23" fmla="*/ 232 h 287"/>
                <a:gd name="T24" fmla="*/ 266 w 321"/>
                <a:gd name="T25" fmla="*/ 236 h 287"/>
                <a:gd name="T26" fmla="*/ 259 w 321"/>
                <a:gd name="T27" fmla="*/ 219 h 287"/>
                <a:gd name="T28" fmla="*/ 285 w 321"/>
                <a:gd name="T29" fmla="*/ 185 h 287"/>
                <a:gd name="T30" fmla="*/ 266 w 321"/>
                <a:gd name="T31" fmla="*/ 171 h 287"/>
                <a:gd name="T32" fmla="*/ 272 w 321"/>
                <a:gd name="T33" fmla="*/ 149 h 287"/>
                <a:gd name="T34" fmla="*/ 317 w 321"/>
                <a:gd name="T35" fmla="*/ 147 h 287"/>
                <a:gd name="T36" fmla="*/ 298 w 321"/>
                <a:gd name="T37" fmla="*/ 88 h 287"/>
                <a:gd name="T38" fmla="*/ 300 w 321"/>
                <a:gd name="T39" fmla="*/ 85 h 287"/>
                <a:gd name="T40" fmla="*/ 321 w 321"/>
                <a:gd name="T41" fmla="*/ 77 h 287"/>
                <a:gd name="T42" fmla="*/ 298 w 321"/>
                <a:gd name="T43" fmla="*/ 51 h 287"/>
                <a:gd name="T44" fmla="*/ 259 w 321"/>
                <a:gd name="T45" fmla="*/ 64 h 287"/>
                <a:gd name="T46" fmla="*/ 249 w 321"/>
                <a:gd name="T47" fmla="*/ 28 h 287"/>
                <a:gd name="T48" fmla="*/ 136 w 321"/>
                <a:gd name="T49" fmla="*/ 39 h 287"/>
                <a:gd name="T50" fmla="*/ 121 w 321"/>
                <a:gd name="T51" fmla="*/ 0 h 287"/>
                <a:gd name="T52" fmla="*/ 70 w 321"/>
                <a:gd name="T53" fmla="*/ 20 h 287"/>
                <a:gd name="T54" fmla="*/ 89 w 321"/>
                <a:gd name="T55" fmla="*/ 41 h 287"/>
                <a:gd name="T56" fmla="*/ 40 w 321"/>
                <a:gd name="T57" fmla="*/ 75 h 287"/>
                <a:gd name="T58" fmla="*/ 43 w 321"/>
                <a:gd name="T59" fmla="*/ 139 h 287"/>
                <a:gd name="T60" fmla="*/ 19 w 321"/>
                <a:gd name="T61" fmla="*/ 145 h 287"/>
                <a:gd name="T62" fmla="*/ 28 w 321"/>
                <a:gd name="T63" fmla="*/ 175 h 287"/>
                <a:gd name="T64" fmla="*/ 0 w 321"/>
                <a:gd name="T65" fmla="*/ 190 h 287"/>
                <a:gd name="T66" fmla="*/ 2 w 321"/>
                <a:gd name="T67" fmla="*/ 196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1" h="287">
                  <a:moveTo>
                    <a:pt x="2" y="196"/>
                  </a:moveTo>
                  <a:lnTo>
                    <a:pt x="2" y="217"/>
                  </a:lnTo>
                  <a:lnTo>
                    <a:pt x="70" y="232"/>
                  </a:lnTo>
                  <a:lnTo>
                    <a:pt x="53" y="281"/>
                  </a:lnTo>
                  <a:lnTo>
                    <a:pt x="74" y="287"/>
                  </a:lnTo>
                  <a:lnTo>
                    <a:pt x="89" y="270"/>
                  </a:lnTo>
                  <a:lnTo>
                    <a:pt x="113" y="281"/>
                  </a:lnTo>
                  <a:lnTo>
                    <a:pt x="187" y="253"/>
                  </a:lnTo>
                  <a:lnTo>
                    <a:pt x="206" y="273"/>
                  </a:lnTo>
                  <a:lnTo>
                    <a:pt x="230" y="260"/>
                  </a:lnTo>
                  <a:lnTo>
                    <a:pt x="230" y="251"/>
                  </a:lnTo>
                  <a:lnTo>
                    <a:pt x="242" y="232"/>
                  </a:lnTo>
                  <a:lnTo>
                    <a:pt x="266" y="236"/>
                  </a:lnTo>
                  <a:lnTo>
                    <a:pt x="259" y="219"/>
                  </a:lnTo>
                  <a:lnTo>
                    <a:pt x="285" y="185"/>
                  </a:lnTo>
                  <a:lnTo>
                    <a:pt x="266" y="171"/>
                  </a:lnTo>
                  <a:lnTo>
                    <a:pt x="272" y="149"/>
                  </a:lnTo>
                  <a:lnTo>
                    <a:pt x="317" y="147"/>
                  </a:lnTo>
                  <a:lnTo>
                    <a:pt x="298" y="88"/>
                  </a:lnTo>
                  <a:lnTo>
                    <a:pt x="300" y="85"/>
                  </a:lnTo>
                  <a:lnTo>
                    <a:pt x="321" y="77"/>
                  </a:lnTo>
                  <a:lnTo>
                    <a:pt x="298" y="51"/>
                  </a:lnTo>
                  <a:lnTo>
                    <a:pt x="259" y="64"/>
                  </a:lnTo>
                  <a:lnTo>
                    <a:pt x="249" y="28"/>
                  </a:lnTo>
                  <a:lnTo>
                    <a:pt x="136" y="39"/>
                  </a:lnTo>
                  <a:lnTo>
                    <a:pt x="121" y="0"/>
                  </a:lnTo>
                  <a:lnTo>
                    <a:pt x="70" y="20"/>
                  </a:lnTo>
                  <a:lnTo>
                    <a:pt x="89" y="41"/>
                  </a:lnTo>
                  <a:lnTo>
                    <a:pt x="40" y="75"/>
                  </a:lnTo>
                  <a:lnTo>
                    <a:pt x="43" y="139"/>
                  </a:lnTo>
                  <a:lnTo>
                    <a:pt x="19" y="145"/>
                  </a:lnTo>
                  <a:lnTo>
                    <a:pt x="28" y="175"/>
                  </a:lnTo>
                  <a:lnTo>
                    <a:pt x="0" y="190"/>
                  </a:lnTo>
                  <a:lnTo>
                    <a:pt x="2" y="19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9" name="Freeform 62">
              <a:extLst>
                <a:ext uri="{FF2B5EF4-FFF2-40B4-BE49-F238E27FC236}">
                  <a16:creationId xmlns:a16="http://schemas.microsoft.com/office/drawing/2014/main" id="{37FA38AB-9E77-4008-B0BB-8F107E2E4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7607" y="4885867"/>
              <a:ext cx="411498" cy="479057"/>
            </a:xfrm>
            <a:custGeom>
              <a:avLst/>
              <a:gdLst>
                <a:gd name="T0" fmla="*/ 5 w 268"/>
                <a:gd name="T1" fmla="*/ 113 h 312"/>
                <a:gd name="T2" fmla="*/ 32 w 268"/>
                <a:gd name="T3" fmla="*/ 32 h 312"/>
                <a:gd name="T4" fmla="*/ 54 w 268"/>
                <a:gd name="T5" fmla="*/ 38 h 312"/>
                <a:gd name="T6" fmla="*/ 68 w 268"/>
                <a:gd name="T7" fmla="*/ 11 h 312"/>
                <a:gd name="T8" fmla="*/ 100 w 268"/>
                <a:gd name="T9" fmla="*/ 0 h 312"/>
                <a:gd name="T10" fmla="*/ 130 w 268"/>
                <a:gd name="T11" fmla="*/ 59 h 312"/>
                <a:gd name="T12" fmla="*/ 175 w 268"/>
                <a:gd name="T13" fmla="*/ 34 h 312"/>
                <a:gd name="T14" fmla="*/ 230 w 268"/>
                <a:gd name="T15" fmla="*/ 83 h 312"/>
                <a:gd name="T16" fmla="*/ 230 w 268"/>
                <a:gd name="T17" fmla="*/ 93 h 312"/>
                <a:gd name="T18" fmla="*/ 232 w 268"/>
                <a:gd name="T19" fmla="*/ 100 h 312"/>
                <a:gd name="T20" fmla="*/ 268 w 268"/>
                <a:gd name="T21" fmla="*/ 185 h 312"/>
                <a:gd name="T22" fmla="*/ 238 w 268"/>
                <a:gd name="T23" fmla="*/ 212 h 312"/>
                <a:gd name="T24" fmla="*/ 255 w 268"/>
                <a:gd name="T25" fmla="*/ 232 h 312"/>
                <a:gd name="T26" fmla="*/ 260 w 268"/>
                <a:gd name="T27" fmla="*/ 293 h 312"/>
                <a:gd name="T28" fmla="*/ 215 w 268"/>
                <a:gd name="T29" fmla="*/ 308 h 312"/>
                <a:gd name="T30" fmla="*/ 183 w 268"/>
                <a:gd name="T31" fmla="*/ 287 h 312"/>
                <a:gd name="T32" fmla="*/ 170 w 268"/>
                <a:gd name="T33" fmla="*/ 310 h 312"/>
                <a:gd name="T34" fmla="*/ 149 w 268"/>
                <a:gd name="T35" fmla="*/ 312 h 312"/>
                <a:gd name="T36" fmla="*/ 102 w 268"/>
                <a:gd name="T37" fmla="*/ 293 h 312"/>
                <a:gd name="T38" fmla="*/ 58 w 268"/>
                <a:gd name="T39" fmla="*/ 285 h 312"/>
                <a:gd name="T40" fmla="*/ 64 w 268"/>
                <a:gd name="T41" fmla="*/ 270 h 312"/>
                <a:gd name="T42" fmla="*/ 37 w 268"/>
                <a:gd name="T43" fmla="*/ 259 h 312"/>
                <a:gd name="T44" fmla="*/ 43 w 268"/>
                <a:gd name="T45" fmla="*/ 193 h 312"/>
                <a:gd name="T46" fmla="*/ 0 w 268"/>
                <a:gd name="T47" fmla="*/ 119 h 312"/>
                <a:gd name="T48" fmla="*/ 5 w 268"/>
                <a:gd name="T49" fmla="*/ 113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68" h="312">
                  <a:moveTo>
                    <a:pt x="5" y="113"/>
                  </a:moveTo>
                  <a:lnTo>
                    <a:pt x="32" y="32"/>
                  </a:lnTo>
                  <a:lnTo>
                    <a:pt x="54" y="38"/>
                  </a:lnTo>
                  <a:lnTo>
                    <a:pt x="68" y="11"/>
                  </a:lnTo>
                  <a:lnTo>
                    <a:pt x="100" y="0"/>
                  </a:lnTo>
                  <a:lnTo>
                    <a:pt x="130" y="59"/>
                  </a:lnTo>
                  <a:lnTo>
                    <a:pt x="175" y="34"/>
                  </a:lnTo>
                  <a:lnTo>
                    <a:pt x="230" y="83"/>
                  </a:lnTo>
                  <a:lnTo>
                    <a:pt x="230" y="93"/>
                  </a:lnTo>
                  <a:lnTo>
                    <a:pt x="232" y="100"/>
                  </a:lnTo>
                  <a:lnTo>
                    <a:pt x="268" y="185"/>
                  </a:lnTo>
                  <a:lnTo>
                    <a:pt x="238" y="212"/>
                  </a:lnTo>
                  <a:lnTo>
                    <a:pt x="255" y="232"/>
                  </a:lnTo>
                  <a:lnTo>
                    <a:pt x="260" y="293"/>
                  </a:lnTo>
                  <a:lnTo>
                    <a:pt x="215" y="308"/>
                  </a:lnTo>
                  <a:lnTo>
                    <a:pt x="183" y="287"/>
                  </a:lnTo>
                  <a:lnTo>
                    <a:pt x="170" y="310"/>
                  </a:lnTo>
                  <a:lnTo>
                    <a:pt x="149" y="312"/>
                  </a:lnTo>
                  <a:lnTo>
                    <a:pt x="102" y="293"/>
                  </a:lnTo>
                  <a:lnTo>
                    <a:pt x="58" y="285"/>
                  </a:lnTo>
                  <a:lnTo>
                    <a:pt x="64" y="270"/>
                  </a:lnTo>
                  <a:lnTo>
                    <a:pt x="37" y="259"/>
                  </a:lnTo>
                  <a:lnTo>
                    <a:pt x="43" y="193"/>
                  </a:lnTo>
                  <a:lnTo>
                    <a:pt x="0" y="119"/>
                  </a:lnTo>
                  <a:lnTo>
                    <a:pt x="5" y="11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0" name="Freeform 63">
              <a:extLst>
                <a:ext uri="{FF2B5EF4-FFF2-40B4-BE49-F238E27FC236}">
                  <a16:creationId xmlns:a16="http://schemas.microsoft.com/office/drawing/2014/main" id="{8C784117-1934-44B6-8008-170BA7BCEC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9292" y="3236804"/>
              <a:ext cx="604963" cy="474452"/>
            </a:xfrm>
            <a:custGeom>
              <a:avLst/>
              <a:gdLst>
                <a:gd name="T0" fmla="*/ 0 w 394"/>
                <a:gd name="T1" fmla="*/ 181 h 309"/>
                <a:gd name="T2" fmla="*/ 107 w 394"/>
                <a:gd name="T3" fmla="*/ 155 h 309"/>
                <a:gd name="T4" fmla="*/ 94 w 394"/>
                <a:gd name="T5" fmla="*/ 119 h 309"/>
                <a:gd name="T6" fmla="*/ 49 w 394"/>
                <a:gd name="T7" fmla="*/ 109 h 309"/>
                <a:gd name="T8" fmla="*/ 49 w 394"/>
                <a:gd name="T9" fmla="*/ 90 h 309"/>
                <a:gd name="T10" fmla="*/ 90 w 394"/>
                <a:gd name="T11" fmla="*/ 85 h 309"/>
                <a:gd name="T12" fmla="*/ 58 w 394"/>
                <a:gd name="T13" fmla="*/ 70 h 309"/>
                <a:gd name="T14" fmla="*/ 32 w 394"/>
                <a:gd name="T15" fmla="*/ 13 h 309"/>
                <a:gd name="T16" fmla="*/ 36 w 394"/>
                <a:gd name="T17" fmla="*/ 0 h 309"/>
                <a:gd name="T18" fmla="*/ 179 w 394"/>
                <a:gd name="T19" fmla="*/ 36 h 309"/>
                <a:gd name="T20" fmla="*/ 217 w 394"/>
                <a:gd name="T21" fmla="*/ 19 h 309"/>
                <a:gd name="T22" fmla="*/ 245 w 394"/>
                <a:gd name="T23" fmla="*/ 28 h 309"/>
                <a:gd name="T24" fmla="*/ 249 w 394"/>
                <a:gd name="T25" fmla="*/ 45 h 309"/>
                <a:gd name="T26" fmla="*/ 296 w 394"/>
                <a:gd name="T27" fmla="*/ 49 h 309"/>
                <a:gd name="T28" fmla="*/ 292 w 394"/>
                <a:gd name="T29" fmla="*/ 73 h 309"/>
                <a:gd name="T30" fmla="*/ 315 w 394"/>
                <a:gd name="T31" fmla="*/ 66 h 309"/>
                <a:gd name="T32" fmla="*/ 374 w 394"/>
                <a:gd name="T33" fmla="*/ 100 h 309"/>
                <a:gd name="T34" fmla="*/ 394 w 394"/>
                <a:gd name="T35" fmla="*/ 92 h 309"/>
                <a:gd name="T36" fmla="*/ 345 w 394"/>
                <a:gd name="T37" fmla="*/ 251 h 309"/>
                <a:gd name="T38" fmla="*/ 304 w 394"/>
                <a:gd name="T39" fmla="*/ 287 h 309"/>
                <a:gd name="T40" fmla="*/ 285 w 394"/>
                <a:gd name="T41" fmla="*/ 270 h 309"/>
                <a:gd name="T42" fmla="*/ 211 w 394"/>
                <a:gd name="T43" fmla="*/ 287 h 309"/>
                <a:gd name="T44" fmla="*/ 204 w 394"/>
                <a:gd name="T45" fmla="*/ 277 h 309"/>
                <a:gd name="T46" fmla="*/ 175 w 394"/>
                <a:gd name="T47" fmla="*/ 306 h 309"/>
                <a:gd name="T48" fmla="*/ 107 w 394"/>
                <a:gd name="T49" fmla="*/ 309 h 309"/>
                <a:gd name="T50" fmla="*/ 43 w 394"/>
                <a:gd name="T51" fmla="*/ 287 h 309"/>
                <a:gd name="T52" fmla="*/ 51 w 394"/>
                <a:gd name="T53" fmla="*/ 275 h 309"/>
                <a:gd name="T54" fmla="*/ 17 w 394"/>
                <a:gd name="T55" fmla="*/ 260 h 309"/>
                <a:gd name="T56" fmla="*/ 43 w 394"/>
                <a:gd name="T57" fmla="*/ 232 h 309"/>
                <a:gd name="T58" fmla="*/ 39 w 394"/>
                <a:gd name="T59" fmla="*/ 209 h 309"/>
                <a:gd name="T60" fmla="*/ 0 w 394"/>
                <a:gd name="T61" fmla="*/ 183 h 309"/>
                <a:gd name="T62" fmla="*/ 0 w 394"/>
                <a:gd name="T63" fmla="*/ 181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94" h="309">
                  <a:moveTo>
                    <a:pt x="0" y="181"/>
                  </a:moveTo>
                  <a:lnTo>
                    <a:pt x="107" y="155"/>
                  </a:lnTo>
                  <a:lnTo>
                    <a:pt x="94" y="119"/>
                  </a:lnTo>
                  <a:lnTo>
                    <a:pt x="49" y="109"/>
                  </a:lnTo>
                  <a:lnTo>
                    <a:pt x="49" y="90"/>
                  </a:lnTo>
                  <a:lnTo>
                    <a:pt x="90" y="85"/>
                  </a:lnTo>
                  <a:lnTo>
                    <a:pt x="58" y="70"/>
                  </a:lnTo>
                  <a:lnTo>
                    <a:pt x="32" y="13"/>
                  </a:lnTo>
                  <a:lnTo>
                    <a:pt x="36" y="0"/>
                  </a:lnTo>
                  <a:lnTo>
                    <a:pt x="179" y="36"/>
                  </a:lnTo>
                  <a:lnTo>
                    <a:pt x="217" y="19"/>
                  </a:lnTo>
                  <a:lnTo>
                    <a:pt x="245" y="28"/>
                  </a:lnTo>
                  <a:lnTo>
                    <a:pt x="249" y="45"/>
                  </a:lnTo>
                  <a:lnTo>
                    <a:pt x="296" y="49"/>
                  </a:lnTo>
                  <a:lnTo>
                    <a:pt x="292" y="73"/>
                  </a:lnTo>
                  <a:lnTo>
                    <a:pt x="315" y="66"/>
                  </a:lnTo>
                  <a:lnTo>
                    <a:pt x="374" y="100"/>
                  </a:lnTo>
                  <a:lnTo>
                    <a:pt x="394" y="92"/>
                  </a:lnTo>
                  <a:lnTo>
                    <a:pt x="345" y="251"/>
                  </a:lnTo>
                  <a:lnTo>
                    <a:pt x="304" y="287"/>
                  </a:lnTo>
                  <a:lnTo>
                    <a:pt x="285" y="270"/>
                  </a:lnTo>
                  <a:lnTo>
                    <a:pt x="211" y="287"/>
                  </a:lnTo>
                  <a:lnTo>
                    <a:pt x="204" y="277"/>
                  </a:lnTo>
                  <a:lnTo>
                    <a:pt x="175" y="306"/>
                  </a:lnTo>
                  <a:lnTo>
                    <a:pt x="107" y="309"/>
                  </a:lnTo>
                  <a:lnTo>
                    <a:pt x="43" y="287"/>
                  </a:lnTo>
                  <a:lnTo>
                    <a:pt x="51" y="275"/>
                  </a:lnTo>
                  <a:lnTo>
                    <a:pt x="17" y="260"/>
                  </a:lnTo>
                  <a:lnTo>
                    <a:pt x="43" y="232"/>
                  </a:lnTo>
                  <a:lnTo>
                    <a:pt x="39" y="209"/>
                  </a:lnTo>
                  <a:lnTo>
                    <a:pt x="0" y="183"/>
                  </a:lnTo>
                  <a:lnTo>
                    <a:pt x="0" y="18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1" name="Freeform 64">
              <a:extLst>
                <a:ext uri="{FF2B5EF4-FFF2-40B4-BE49-F238E27FC236}">
                  <a16:creationId xmlns:a16="http://schemas.microsoft.com/office/drawing/2014/main" id="{1EF71080-84C8-4477-80E7-CE706A3E8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9568" y="2146641"/>
              <a:ext cx="408427" cy="721657"/>
            </a:xfrm>
            <a:custGeom>
              <a:avLst/>
              <a:gdLst>
                <a:gd name="T0" fmla="*/ 2 w 266"/>
                <a:gd name="T1" fmla="*/ 0 h 470"/>
                <a:gd name="T2" fmla="*/ 76 w 266"/>
                <a:gd name="T3" fmla="*/ 34 h 470"/>
                <a:gd name="T4" fmla="*/ 161 w 266"/>
                <a:gd name="T5" fmla="*/ 21 h 470"/>
                <a:gd name="T6" fmla="*/ 168 w 266"/>
                <a:gd name="T7" fmla="*/ 53 h 470"/>
                <a:gd name="T8" fmla="*/ 149 w 266"/>
                <a:gd name="T9" fmla="*/ 75 h 470"/>
                <a:gd name="T10" fmla="*/ 189 w 266"/>
                <a:gd name="T11" fmla="*/ 155 h 470"/>
                <a:gd name="T12" fmla="*/ 185 w 266"/>
                <a:gd name="T13" fmla="*/ 177 h 470"/>
                <a:gd name="T14" fmla="*/ 210 w 266"/>
                <a:gd name="T15" fmla="*/ 204 h 470"/>
                <a:gd name="T16" fmla="*/ 240 w 266"/>
                <a:gd name="T17" fmla="*/ 206 h 470"/>
                <a:gd name="T18" fmla="*/ 225 w 266"/>
                <a:gd name="T19" fmla="*/ 221 h 470"/>
                <a:gd name="T20" fmla="*/ 240 w 266"/>
                <a:gd name="T21" fmla="*/ 232 h 470"/>
                <a:gd name="T22" fmla="*/ 242 w 266"/>
                <a:gd name="T23" fmla="*/ 270 h 470"/>
                <a:gd name="T24" fmla="*/ 223 w 266"/>
                <a:gd name="T25" fmla="*/ 294 h 470"/>
                <a:gd name="T26" fmla="*/ 198 w 266"/>
                <a:gd name="T27" fmla="*/ 294 h 470"/>
                <a:gd name="T28" fmla="*/ 204 w 266"/>
                <a:gd name="T29" fmla="*/ 315 h 470"/>
                <a:gd name="T30" fmla="*/ 170 w 266"/>
                <a:gd name="T31" fmla="*/ 338 h 470"/>
                <a:gd name="T32" fmla="*/ 170 w 266"/>
                <a:gd name="T33" fmla="*/ 338 h 470"/>
                <a:gd name="T34" fmla="*/ 193 w 266"/>
                <a:gd name="T35" fmla="*/ 362 h 470"/>
                <a:gd name="T36" fmla="*/ 246 w 266"/>
                <a:gd name="T37" fmla="*/ 372 h 470"/>
                <a:gd name="T38" fmla="*/ 266 w 266"/>
                <a:gd name="T39" fmla="*/ 421 h 470"/>
                <a:gd name="T40" fmla="*/ 236 w 266"/>
                <a:gd name="T41" fmla="*/ 462 h 470"/>
                <a:gd name="T42" fmla="*/ 236 w 266"/>
                <a:gd name="T43" fmla="*/ 466 h 470"/>
                <a:gd name="T44" fmla="*/ 183 w 266"/>
                <a:gd name="T45" fmla="*/ 459 h 470"/>
                <a:gd name="T46" fmla="*/ 142 w 266"/>
                <a:gd name="T47" fmla="*/ 442 h 470"/>
                <a:gd name="T48" fmla="*/ 96 w 266"/>
                <a:gd name="T49" fmla="*/ 470 h 470"/>
                <a:gd name="T50" fmla="*/ 66 w 266"/>
                <a:gd name="T51" fmla="*/ 406 h 470"/>
                <a:gd name="T52" fmla="*/ 117 w 266"/>
                <a:gd name="T53" fmla="*/ 406 h 470"/>
                <a:gd name="T54" fmla="*/ 68 w 266"/>
                <a:gd name="T55" fmla="*/ 362 h 470"/>
                <a:gd name="T56" fmla="*/ 72 w 266"/>
                <a:gd name="T57" fmla="*/ 202 h 470"/>
                <a:gd name="T58" fmla="*/ 25 w 266"/>
                <a:gd name="T59" fmla="*/ 130 h 470"/>
                <a:gd name="T60" fmla="*/ 11 w 266"/>
                <a:gd name="T61" fmla="*/ 75 h 470"/>
                <a:gd name="T62" fmla="*/ 23 w 266"/>
                <a:gd name="T63" fmla="*/ 36 h 470"/>
                <a:gd name="T64" fmla="*/ 0 w 266"/>
                <a:gd name="T65" fmla="*/ 17 h 470"/>
                <a:gd name="T66" fmla="*/ 2 w 266"/>
                <a:gd name="T67" fmla="*/ 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66" h="470">
                  <a:moveTo>
                    <a:pt x="2" y="0"/>
                  </a:moveTo>
                  <a:lnTo>
                    <a:pt x="76" y="34"/>
                  </a:lnTo>
                  <a:lnTo>
                    <a:pt x="161" y="21"/>
                  </a:lnTo>
                  <a:lnTo>
                    <a:pt x="168" y="53"/>
                  </a:lnTo>
                  <a:lnTo>
                    <a:pt x="149" y="75"/>
                  </a:lnTo>
                  <a:lnTo>
                    <a:pt x="189" y="155"/>
                  </a:lnTo>
                  <a:lnTo>
                    <a:pt x="185" y="177"/>
                  </a:lnTo>
                  <a:lnTo>
                    <a:pt x="210" y="204"/>
                  </a:lnTo>
                  <a:lnTo>
                    <a:pt x="240" y="206"/>
                  </a:lnTo>
                  <a:lnTo>
                    <a:pt x="225" y="221"/>
                  </a:lnTo>
                  <a:lnTo>
                    <a:pt x="240" y="232"/>
                  </a:lnTo>
                  <a:lnTo>
                    <a:pt x="242" y="270"/>
                  </a:lnTo>
                  <a:lnTo>
                    <a:pt x="223" y="294"/>
                  </a:lnTo>
                  <a:lnTo>
                    <a:pt x="198" y="294"/>
                  </a:lnTo>
                  <a:lnTo>
                    <a:pt x="204" y="315"/>
                  </a:lnTo>
                  <a:lnTo>
                    <a:pt x="170" y="338"/>
                  </a:lnTo>
                  <a:lnTo>
                    <a:pt x="170" y="338"/>
                  </a:lnTo>
                  <a:lnTo>
                    <a:pt x="193" y="362"/>
                  </a:lnTo>
                  <a:lnTo>
                    <a:pt x="246" y="372"/>
                  </a:lnTo>
                  <a:lnTo>
                    <a:pt x="266" y="421"/>
                  </a:lnTo>
                  <a:lnTo>
                    <a:pt x="236" y="462"/>
                  </a:lnTo>
                  <a:lnTo>
                    <a:pt x="236" y="466"/>
                  </a:lnTo>
                  <a:lnTo>
                    <a:pt x="183" y="459"/>
                  </a:lnTo>
                  <a:lnTo>
                    <a:pt x="142" y="442"/>
                  </a:lnTo>
                  <a:lnTo>
                    <a:pt x="96" y="470"/>
                  </a:lnTo>
                  <a:lnTo>
                    <a:pt x="66" y="406"/>
                  </a:lnTo>
                  <a:lnTo>
                    <a:pt x="117" y="406"/>
                  </a:lnTo>
                  <a:lnTo>
                    <a:pt x="68" y="362"/>
                  </a:lnTo>
                  <a:lnTo>
                    <a:pt x="72" y="202"/>
                  </a:lnTo>
                  <a:lnTo>
                    <a:pt x="25" y="130"/>
                  </a:lnTo>
                  <a:lnTo>
                    <a:pt x="11" y="75"/>
                  </a:lnTo>
                  <a:lnTo>
                    <a:pt x="23" y="36"/>
                  </a:lnTo>
                  <a:lnTo>
                    <a:pt x="0" y="17"/>
                  </a:lnTo>
                  <a:lnTo>
                    <a:pt x="2" y="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2" name="Freeform 65">
              <a:extLst>
                <a:ext uri="{FF2B5EF4-FFF2-40B4-BE49-F238E27FC236}">
                  <a16:creationId xmlns:a16="http://schemas.microsoft.com/office/drawing/2014/main" id="{F3E437FC-178C-4E08-A6DE-CF43B3949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5801" y="2294043"/>
              <a:ext cx="635672" cy="678665"/>
            </a:xfrm>
            <a:custGeom>
              <a:avLst/>
              <a:gdLst>
                <a:gd name="T0" fmla="*/ 0 w 414"/>
                <a:gd name="T1" fmla="*/ 59 h 442"/>
                <a:gd name="T2" fmla="*/ 15 w 414"/>
                <a:gd name="T3" fmla="*/ 55 h 442"/>
                <a:gd name="T4" fmla="*/ 6 w 414"/>
                <a:gd name="T5" fmla="*/ 25 h 442"/>
                <a:gd name="T6" fmla="*/ 76 w 414"/>
                <a:gd name="T7" fmla="*/ 0 h 442"/>
                <a:gd name="T8" fmla="*/ 104 w 414"/>
                <a:gd name="T9" fmla="*/ 23 h 442"/>
                <a:gd name="T10" fmla="*/ 106 w 414"/>
                <a:gd name="T11" fmla="*/ 30 h 442"/>
                <a:gd name="T12" fmla="*/ 140 w 414"/>
                <a:gd name="T13" fmla="*/ 113 h 442"/>
                <a:gd name="T14" fmla="*/ 136 w 414"/>
                <a:gd name="T15" fmla="*/ 164 h 442"/>
                <a:gd name="T16" fmla="*/ 119 w 414"/>
                <a:gd name="T17" fmla="*/ 172 h 442"/>
                <a:gd name="T18" fmla="*/ 148 w 414"/>
                <a:gd name="T19" fmla="*/ 212 h 442"/>
                <a:gd name="T20" fmla="*/ 212 w 414"/>
                <a:gd name="T21" fmla="*/ 232 h 442"/>
                <a:gd name="T22" fmla="*/ 208 w 414"/>
                <a:gd name="T23" fmla="*/ 257 h 442"/>
                <a:gd name="T24" fmla="*/ 227 w 414"/>
                <a:gd name="T25" fmla="*/ 280 h 442"/>
                <a:gd name="T26" fmla="*/ 274 w 414"/>
                <a:gd name="T27" fmla="*/ 289 h 442"/>
                <a:gd name="T28" fmla="*/ 302 w 414"/>
                <a:gd name="T29" fmla="*/ 319 h 442"/>
                <a:gd name="T30" fmla="*/ 387 w 414"/>
                <a:gd name="T31" fmla="*/ 338 h 442"/>
                <a:gd name="T32" fmla="*/ 401 w 414"/>
                <a:gd name="T33" fmla="*/ 366 h 442"/>
                <a:gd name="T34" fmla="*/ 414 w 414"/>
                <a:gd name="T35" fmla="*/ 372 h 442"/>
                <a:gd name="T36" fmla="*/ 333 w 414"/>
                <a:gd name="T37" fmla="*/ 421 h 442"/>
                <a:gd name="T38" fmla="*/ 297 w 414"/>
                <a:gd name="T39" fmla="*/ 393 h 442"/>
                <a:gd name="T40" fmla="*/ 285 w 414"/>
                <a:gd name="T41" fmla="*/ 412 h 442"/>
                <a:gd name="T42" fmla="*/ 244 w 414"/>
                <a:gd name="T43" fmla="*/ 423 h 442"/>
                <a:gd name="T44" fmla="*/ 217 w 414"/>
                <a:gd name="T45" fmla="*/ 408 h 442"/>
                <a:gd name="T46" fmla="*/ 180 w 414"/>
                <a:gd name="T47" fmla="*/ 421 h 442"/>
                <a:gd name="T48" fmla="*/ 172 w 414"/>
                <a:gd name="T49" fmla="*/ 440 h 442"/>
                <a:gd name="T50" fmla="*/ 165 w 414"/>
                <a:gd name="T51" fmla="*/ 429 h 442"/>
                <a:gd name="T52" fmla="*/ 136 w 414"/>
                <a:gd name="T53" fmla="*/ 442 h 442"/>
                <a:gd name="T54" fmla="*/ 127 w 414"/>
                <a:gd name="T55" fmla="*/ 412 h 442"/>
                <a:gd name="T56" fmla="*/ 110 w 414"/>
                <a:gd name="T57" fmla="*/ 421 h 442"/>
                <a:gd name="T58" fmla="*/ 119 w 414"/>
                <a:gd name="T59" fmla="*/ 389 h 442"/>
                <a:gd name="T60" fmla="*/ 85 w 414"/>
                <a:gd name="T61" fmla="*/ 391 h 442"/>
                <a:gd name="T62" fmla="*/ 72 w 414"/>
                <a:gd name="T63" fmla="*/ 361 h 442"/>
                <a:gd name="T64" fmla="*/ 93 w 414"/>
                <a:gd name="T65" fmla="*/ 342 h 442"/>
                <a:gd name="T66" fmla="*/ 83 w 414"/>
                <a:gd name="T67" fmla="*/ 344 h 442"/>
                <a:gd name="T68" fmla="*/ 72 w 414"/>
                <a:gd name="T69" fmla="*/ 300 h 442"/>
                <a:gd name="T70" fmla="*/ 100 w 414"/>
                <a:gd name="T71" fmla="*/ 189 h 442"/>
                <a:gd name="T72" fmla="*/ 68 w 414"/>
                <a:gd name="T73" fmla="*/ 134 h 442"/>
                <a:gd name="T74" fmla="*/ 78 w 414"/>
                <a:gd name="T75" fmla="*/ 96 h 442"/>
                <a:gd name="T76" fmla="*/ 68 w 414"/>
                <a:gd name="T77" fmla="*/ 59 h 442"/>
                <a:gd name="T78" fmla="*/ 44 w 414"/>
                <a:gd name="T79" fmla="*/ 47 h 442"/>
                <a:gd name="T80" fmla="*/ 0 w 414"/>
                <a:gd name="T81" fmla="*/ 62 h 442"/>
                <a:gd name="T82" fmla="*/ 0 w 414"/>
                <a:gd name="T83" fmla="*/ 59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14" h="442">
                  <a:moveTo>
                    <a:pt x="0" y="59"/>
                  </a:moveTo>
                  <a:lnTo>
                    <a:pt x="15" y="55"/>
                  </a:lnTo>
                  <a:lnTo>
                    <a:pt x="6" y="25"/>
                  </a:lnTo>
                  <a:lnTo>
                    <a:pt x="76" y="0"/>
                  </a:lnTo>
                  <a:lnTo>
                    <a:pt x="104" y="23"/>
                  </a:lnTo>
                  <a:lnTo>
                    <a:pt x="106" y="30"/>
                  </a:lnTo>
                  <a:lnTo>
                    <a:pt x="140" y="113"/>
                  </a:lnTo>
                  <a:lnTo>
                    <a:pt x="136" y="164"/>
                  </a:lnTo>
                  <a:lnTo>
                    <a:pt x="119" y="172"/>
                  </a:lnTo>
                  <a:lnTo>
                    <a:pt x="148" y="212"/>
                  </a:lnTo>
                  <a:lnTo>
                    <a:pt x="212" y="232"/>
                  </a:lnTo>
                  <a:lnTo>
                    <a:pt x="208" y="257"/>
                  </a:lnTo>
                  <a:lnTo>
                    <a:pt x="227" y="280"/>
                  </a:lnTo>
                  <a:lnTo>
                    <a:pt x="274" y="289"/>
                  </a:lnTo>
                  <a:lnTo>
                    <a:pt x="302" y="319"/>
                  </a:lnTo>
                  <a:lnTo>
                    <a:pt x="387" y="338"/>
                  </a:lnTo>
                  <a:lnTo>
                    <a:pt x="401" y="366"/>
                  </a:lnTo>
                  <a:lnTo>
                    <a:pt x="414" y="372"/>
                  </a:lnTo>
                  <a:lnTo>
                    <a:pt x="333" y="421"/>
                  </a:lnTo>
                  <a:lnTo>
                    <a:pt x="297" y="393"/>
                  </a:lnTo>
                  <a:lnTo>
                    <a:pt x="285" y="412"/>
                  </a:lnTo>
                  <a:lnTo>
                    <a:pt x="244" y="423"/>
                  </a:lnTo>
                  <a:lnTo>
                    <a:pt x="217" y="408"/>
                  </a:lnTo>
                  <a:lnTo>
                    <a:pt x="180" y="421"/>
                  </a:lnTo>
                  <a:lnTo>
                    <a:pt x="172" y="440"/>
                  </a:lnTo>
                  <a:lnTo>
                    <a:pt x="165" y="429"/>
                  </a:lnTo>
                  <a:lnTo>
                    <a:pt x="136" y="442"/>
                  </a:lnTo>
                  <a:lnTo>
                    <a:pt x="127" y="412"/>
                  </a:lnTo>
                  <a:lnTo>
                    <a:pt x="110" y="421"/>
                  </a:lnTo>
                  <a:lnTo>
                    <a:pt x="119" y="389"/>
                  </a:lnTo>
                  <a:lnTo>
                    <a:pt x="85" y="391"/>
                  </a:lnTo>
                  <a:lnTo>
                    <a:pt x="72" y="361"/>
                  </a:lnTo>
                  <a:lnTo>
                    <a:pt x="93" y="342"/>
                  </a:lnTo>
                  <a:lnTo>
                    <a:pt x="83" y="344"/>
                  </a:lnTo>
                  <a:lnTo>
                    <a:pt x="72" y="300"/>
                  </a:lnTo>
                  <a:lnTo>
                    <a:pt x="100" y="189"/>
                  </a:lnTo>
                  <a:lnTo>
                    <a:pt x="68" y="134"/>
                  </a:lnTo>
                  <a:lnTo>
                    <a:pt x="78" y="96"/>
                  </a:lnTo>
                  <a:lnTo>
                    <a:pt x="68" y="59"/>
                  </a:lnTo>
                  <a:lnTo>
                    <a:pt x="44" y="47"/>
                  </a:lnTo>
                  <a:lnTo>
                    <a:pt x="0" y="62"/>
                  </a:lnTo>
                  <a:lnTo>
                    <a:pt x="0" y="5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3" name="Freeform 66">
              <a:extLst>
                <a:ext uri="{FF2B5EF4-FFF2-40B4-BE49-F238E27FC236}">
                  <a16:creationId xmlns:a16="http://schemas.microsoft.com/office/drawing/2014/main" id="{D75E217A-86B3-4F4B-B870-447A8D13B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6193" y="2267940"/>
              <a:ext cx="353151" cy="669452"/>
            </a:xfrm>
            <a:custGeom>
              <a:avLst/>
              <a:gdLst>
                <a:gd name="T0" fmla="*/ 2 w 230"/>
                <a:gd name="T1" fmla="*/ 297 h 436"/>
                <a:gd name="T2" fmla="*/ 30 w 230"/>
                <a:gd name="T3" fmla="*/ 323 h 436"/>
                <a:gd name="T4" fmla="*/ 26 w 230"/>
                <a:gd name="T5" fmla="*/ 342 h 436"/>
                <a:gd name="T6" fmla="*/ 32 w 230"/>
                <a:gd name="T7" fmla="*/ 370 h 436"/>
                <a:gd name="T8" fmla="*/ 43 w 230"/>
                <a:gd name="T9" fmla="*/ 363 h 436"/>
                <a:gd name="T10" fmla="*/ 145 w 230"/>
                <a:gd name="T11" fmla="*/ 436 h 436"/>
                <a:gd name="T12" fmla="*/ 215 w 230"/>
                <a:gd name="T13" fmla="*/ 408 h 436"/>
                <a:gd name="T14" fmla="*/ 202 w 230"/>
                <a:gd name="T15" fmla="*/ 378 h 436"/>
                <a:gd name="T16" fmla="*/ 223 w 230"/>
                <a:gd name="T17" fmla="*/ 359 h 436"/>
                <a:gd name="T18" fmla="*/ 213 w 230"/>
                <a:gd name="T19" fmla="*/ 361 h 436"/>
                <a:gd name="T20" fmla="*/ 202 w 230"/>
                <a:gd name="T21" fmla="*/ 317 h 436"/>
                <a:gd name="T22" fmla="*/ 230 w 230"/>
                <a:gd name="T23" fmla="*/ 206 h 436"/>
                <a:gd name="T24" fmla="*/ 198 w 230"/>
                <a:gd name="T25" fmla="*/ 151 h 436"/>
                <a:gd name="T26" fmla="*/ 208 w 230"/>
                <a:gd name="T27" fmla="*/ 113 h 436"/>
                <a:gd name="T28" fmla="*/ 198 w 230"/>
                <a:gd name="T29" fmla="*/ 76 h 436"/>
                <a:gd name="T30" fmla="*/ 174 w 230"/>
                <a:gd name="T31" fmla="*/ 64 h 436"/>
                <a:gd name="T32" fmla="*/ 130 w 230"/>
                <a:gd name="T33" fmla="*/ 79 h 436"/>
                <a:gd name="T34" fmla="*/ 130 w 230"/>
                <a:gd name="T35" fmla="*/ 76 h 436"/>
                <a:gd name="T36" fmla="*/ 145 w 230"/>
                <a:gd name="T37" fmla="*/ 72 h 436"/>
                <a:gd name="T38" fmla="*/ 136 w 230"/>
                <a:gd name="T39" fmla="*/ 42 h 436"/>
                <a:gd name="T40" fmla="*/ 115 w 230"/>
                <a:gd name="T41" fmla="*/ 0 h 436"/>
                <a:gd name="T42" fmla="*/ 87 w 230"/>
                <a:gd name="T43" fmla="*/ 27 h 436"/>
                <a:gd name="T44" fmla="*/ 47 w 230"/>
                <a:gd name="T45" fmla="*/ 15 h 436"/>
                <a:gd name="T46" fmla="*/ 36 w 230"/>
                <a:gd name="T47" fmla="*/ 42 h 436"/>
                <a:gd name="T48" fmla="*/ 49 w 230"/>
                <a:gd name="T49" fmla="*/ 85 h 436"/>
                <a:gd name="T50" fmla="*/ 36 w 230"/>
                <a:gd name="T51" fmla="*/ 127 h 436"/>
                <a:gd name="T52" fmla="*/ 15 w 230"/>
                <a:gd name="T53" fmla="*/ 140 h 436"/>
                <a:gd name="T54" fmla="*/ 19 w 230"/>
                <a:gd name="T55" fmla="*/ 219 h 436"/>
                <a:gd name="T56" fmla="*/ 34 w 230"/>
                <a:gd name="T57" fmla="*/ 221 h 436"/>
                <a:gd name="T58" fmla="*/ 34 w 230"/>
                <a:gd name="T59" fmla="*/ 244 h 436"/>
                <a:gd name="T60" fmla="*/ 11 w 230"/>
                <a:gd name="T61" fmla="*/ 257 h 436"/>
                <a:gd name="T62" fmla="*/ 0 w 230"/>
                <a:gd name="T63" fmla="*/ 295 h 436"/>
                <a:gd name="T64" fmla="*/ 2 w 230"/>
                <a:gd name="T65" fmla="*/ 297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30" h="436">
                  <a:moveTo>
                    <a:pt x="2" y="297"/>
                  </a:moveTo>
                  <a:lnTo>
                    <a:pt x="30" y="323"/>
                  </a:lnTo>
                  <a:lnTo>
                    <a:pt x="26" y="342"/>
                  </a:lnTo>
                  <a:lnTo>
                    <a:pt x="32" y="370"/>
                  </a:lnTo>
                  <a:lnTo>
                    <a:pt x="43" y="363"/>
                  </a:lnTo>
                  <a:lnTo>
                    <a:pt x="145" y="436"/>
                  </a:lnTo>
                  <a:lnTo>
                    <a:pt x="215" y="408"/>
                  </a:lnTo>
                  <a:lnTo>
                    <a:pt x="202" y="378"/>
                  </a:lnTo>
                  <a:lnTo>
                    <a:pt x="223" y="359"/>
                  </a:lnTo>
                  <a:lnTo>
                    <a:pt x="213" y="361"/>
                  </a:lnTo>
                  <a:lnTo>
                    <a:pt x="202" y="317"/>
                  </a:lnTo>
                  <a:lnTo>
                    <a:pt x="230" y="206"/>
                  </a:lnTo>
                  <a:lnTo>
                    <a:pt x="198" y="151"/>
                  </a:lnTo>
                  <a:lnTo>
                    <a:pt x="208" y="113"/>
                  </a:lnTo>
                  <a:lnTo>
                    <a:pt x="198" y="76"/>
                  </a:lnTo>
                  <a:lnTo>
                    <a:pt x="174" y="64"/>
                  </a:lnTo>
                  <a:lnTo>
                    <a:pt x="130" y="79"/>
                  </a:lnTo>
                  <a:lnTo>
                    <a:pt x="130" y="76"/>
                  </a:lnTo>
                  <a:lnTo>
                    <a:pt x="145" y="72"/>
                  </a:lnTo>
                  <a:lnTo>
                    <a:pt x="136" y="42"/>
                  </a:lnTo>
                  <a:lnTo>
                    <a:pt x="115" y="0"/>
                  </a:lnTo>
                  <a:lnTo>
                    <a:pt x="87" y="27"/>
                  </a:lnTo>
                  <a:lnTo>
                    <a:pt x="47" y="15"/>
                  </a:lnTo>
                  <a:lnTo>
                    <a:pt x="36" y="42"/>
                  </a:lnTo>
                  <a:lnTo>
                    <a:pt x="49" y="85"/>
                  </a:lnTo>
                  <a:lnTo>
                    <a:pt x="36" y="127"/>
                  </a:lnTo>
                  <a:lnTo>
                    <a:pt x="15" y="140"/>
                  </a:lnTo>
                  <a:lnTo>
                    <a:pt x="19" y="219"/>
                  </a:lnTo>
                  <a:lnTo>
                    <a:pt x="34" y="221"/>
                  </a:lnTo>
                  <a:lnTo>
                    <a:pt x="34" y="244"/>
                  </a:lnTo>
                  <a:lnTo>
                    <a:pt x="11" y="257"/>
                  </a:lnTo>
                  <a:lnTo>
                    <a:pt x="0" y="295"/>
                  </a:lnTo>
                  <a:lnTo>
                    <a:pt x="2" y="29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4" name="Freeform 67">
              <a:extLst>
                <a:ext uri="{FF2B5EF4-FFF2-40B4-BE49-F238E27FC236}">
                  <a16:creationId xmlns:a16="http://schemas.microsoft.com/office/drawing/2014/main" id="{1F7963D8-C998-4D3B-9106-272D66978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1769" y="2960425"/>
              <a:ext cx="620318" cy="446814"/>
            </a:xfrm>
            <a:custGeom>
              <a:avLst/>
              <a:gdLst>
                <a:gd name="T0" fmla="*/ 2 w 404"/>
                <a:gd name="T1" fmla="*/ 19 h 291"/>
                <a:gd name="T2" fmla="*/ 42 w 404"/>
                <a:gd name="T3" fmla="*/ 0 h 291"/>
                <a:gd name="T4" fmla="*/ 113 w 404"/>
                <a:gd name="T5" fmla="*/ 25 h 291"/>
                <a:gd name="T6" fmla="*/ 164 w 404"/>
                <a:gd name="T7" fmla="*/ 2 h 291"/>
                <a:gd name="T8" fmla="*/ 225 w 404"/>
                <a:gd name="T9" fmla="*/ 29 h 291"/>
                <a:gd name="T10" fmla="*/ 234 w 404"/>
                <a:gd name="T11" fmla="*/ 53 h 291"/>
                <a:gd name="T12" fmla="*/ 263 w 404"/>
                <a:gd name="T13" fmla="*/ 42 h 291"/>
                <a:gd name="T14" fmla="*/ 259 w 404"/>
                <a:gd name="T15" fmla="*/ 74 h 291"/>
                <a:gd name="T16" fmla="*/ 289 w 404"/>
                <a:gd name="T17" fmla="*/ 61 h 291"/>
                <a:gd name="T18" fmla="*/ 295 w 404"/>
                <a:gd name="T19" fmla="*/ 31 h 291"/>
                <a:gd name="T20" fmla="*/ 353 w 404"/>
                <a:gd name="T21" fmla="*/ 46 h 291"/>
                <a:gd name="T22" fmla="*/ 359 w 404"/>
                <a:gd name="T23" fmla="*/ 72 h 291"/>
                <a:gd name="T24" fmla="*/ 380 w 404"/>
                <a:gd name="T25" fmla="*/ 68 h 291"/>
                <a:gd name="T26" fmla="*/ 353 w 404"/>
                <a:gd name="T27" fmla="*/ 89 h 291"/>
                <a:gd name="T28" fmla="*/ 351 w 404"/>
                <a:gd name="T29" fmla="*/ 95 h 291"/>
                <a:gd name="T30" fmla="*/ 385 w 404"/>
                <a:gd name="T31" fmla="*/ 102 h 291"/>
                <a:gd name="T32" fmla="*/ 397 w 404"/>
                <a:gd name="T33" fmla="*/ 125 h 291"/>
                <a:gd name="T34" fmla="*/ 387 w 404"/>
                <a:gd name="T35" fmla="*/ 151 h 291"/>
                <a:gd name="T36" fmla="*/ 404 w 404"/>
                <a:gd name="T37" fmla="*/ 151 h 291"/>
                <a:gd name="T38" fmla="*/ 383 w 404"/>
                <a:gd name="T39" fmla="*/ 180 h 291"/>
                <a:gd name="T40" fmla="*/ 400 w 404"/>
                <a:gd name="T41" fmla="*/ 189 h 291"/>
                <a:gd name="T42" fmla="*/ 380 w 404"/>
                <a:gd name="T43" fmla="*/ 197 h 291"/>
                <a:gd name="T44" fmla="*/ 385 w 404"/>
                <a:gd name="T45" fmla="*/ 231 h 291"/>
                <a:gd name="T46" fmla="*/ 368 w 404"/>
                <a:gd name="T47" fmla="*/ 280 h 291"/>
                <a:gd name="T48" fmla="*/ 334 w 404"/>
                <a:gd name="T49" fmla="*/ 272 h 291"/>
                <a:gd name="T50" fmla="*/ 329 w 404"/>
                <a:gd name="T51" fmla="*/ 289 h 291"/>
                <a:gd name="T52" fmla="*/ 291 w 404"/>
                <a:gd name="T53" fmla="*/ 291 h 291"/>
                <a:gd name="T54" fmla="*/ 283 w 404"/>
                <a:gd name="T55" fmla="*/ 276 h 291"/>
                <a:gd name="T56" fmla="*/ 302 w 404"/>
                <a:gd name="T57" fmla="*/ 274 h 291"/>
                <a:gd name="T58" fmla="*/ 283 w 404"/>
                <a:gd name="T59" fmla="*/ 263 h 291"/>
                <a:gd name="T60" fmla="*/ 210 w 404"/>
                <a:gd name="T61" fmla="*/ 272 h 291"/>
                <a:gd name="T62" fmla="*/ 183 w 404"/>
                <a:gd name="T63" fmla="*/ 248 h 291"/>
                <a:gd name="T64" fmla="*/ 229 w 404"/>
                <a:gd name="T65" fmla="*/ 253 h 291"/>
                <a:gd name="T66" fmla="*/ 234 w 404"/>
                <a:gd name="T67" fmla="*/ 231 h 291"/>
                <a:gd name="T68" fmla="*/ 198 w 404"/>
                <a:gd name="T69" fmla="*/ 221 h 291"/>
                <a:gd name="T70" fmla="*/ 185 w 404"/>
                <a:gd name="T71" fmla="*/ 233 h 291"/>
                <a:gd name="T72" fmla="*/ 174 w 404"/>
                <a:gd name="T73" fmla="*/ 216 h 291"/>
                <a:gd name="T74" fmla="*/ 176 w 404"/>
                <a:gd name="T75" fmla="*/ 244 h 291"/>
                <a:gd name="T76" fmla="*/ 134 w 404"/>
                <a:gd name="T77" fmla="*/ 227 h 291"/>
                <a:gd name="T78" fmla="*/ 138 w 404"/>
                <a:gd name="T79" fmla="*/ 272 h 291"/>
                <a:gd name="T80" fmla="*/ 127 w 404"/>
                <a:gd name="T81" fmla="*/ 270 h 291"/>
                <a:gd name="T82" fmla="*/ 125 w 404"/>
                <a:gd name="T83" fmla="*/ 221 h 291"/>
                <a:gd name="T84" fmla="*/ 79 w 404"/>
                <a:gd name="T85" fmla="*/ 187 h 291"/>
                <a:gd name="T86" fmla="*/ 96 w 404"/>
                <a:gd name="T87" fmla="*/ 185 h 291"/>
                <a:gd name="T88" fmla="*/ 55 w 404"/>
                <a:gd name="T89" fmla="*/ 180 h 291"/>
                <a:gd name="T90" fmla="*/ 36 w 404"/>
                <a:gd name="T91" fmla="*/ 155 h 291"/>
                <a:gd name="T92" fmla="*/ 42 w 404"/>
                <a:gd name="T93" fmla="*/ 127 h 291"/>
                <a:gd name="T94" fmla="*/ 72 w 404"/>
                <a:gd name="T95" fmla="*/ 121 h 291"/>
                <a:gd name="T96" fmla="*/ 79 w 404"/>
                <a:gd name="T97" fmla="*/ 89 h 291"/>
                <a:gd name="T98" fmla="*/ 19 w 404"/>
                <a:gd name="T99" fmla="*/ 70 h 291"/>
                <a:gd name="T100" fmla="*/ 0 w 404"/>
                <a:gd name="T101" fmla="*/ 29 h 291"/>
                <a:gd name="T102" fmla="*/ 2 w 404"/>
                <a:gd name="T103" fmla="*/ 19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04" h="291">
                  <a:moveTo>
                    <a:pt x="2" y="19"/>
                  </a:moveTo>
                  <a:lnTo>
                    <a:pt x="42" y="0"/>
                  </a:lnTo>
                  <a:lnTo>
                    <a:pt x="113" y="25"/>
                  </a:lnTo>
                  <a:lnTo>
                    <a:pt x="164" y="2"/>
                  </a:lnTo>
                  <a:lnTo>
                    <a:pt x="225" y="29"/>
                  </a:lnTo>
                  <a:lnTo>
                    <a:pt x="234" y="53"/>
                  </a:lnTo>
                  <a:lnTo>
                    <a:pt x="263" y="42"/>
                  </a:lnTo>
                  <a:lnTo>
                    <a:pt x="259" y="74"/>
                  </a:lnTo>
                  <a:lnTo>
                    <a:pt x="289" y="61"/>
                  </a:lnTo>
                  <a:lnTo>
                    <a:pt x="295" y="31"/>
                  </a:lnTo>
                  <a:lnTo>
                    <a:pt x="353" y="46"/>
                  </a:lnTo>
                  <a:lnTo>
                    <a:pt x="359" y="72"/>
                  </a:lnTo>
                  <a:lnTo>
                    <a:pt x="380" y="68"/>
                  </a:lnTo>
                  <a:lnTo>
                    <a:pt x="353" y="89"/>
                  </a:lnTo>
                  <a:lnTo>
                    <a:pt x="351" y="95"/>
                  </a:lnTo>
                  <a:lnTo>
                    <a:pt x="385" y="102"/>
                  </a:lnTo>
                  <a:lnTo>
                    <a:pt x="397" y="125"/>
                  </a:lnTo>
                  <a:lnTo>
                    <a:pt x="387" y="151"/>
                  </a:lnTo>
                  <a:lnTo>
                    <a:pt x="404" y="151"/>
                  </a:lnTo>
                  <a:lnTo>
                    <a:pt x="383" y="180"/>
                  </a:lnTo>
                  <a:lnTo>
                    <a:pt x="400" y="189"/>
                  </a:lnTo>
                  <a:lnTo>
                    <a:pt x="380" y="197"/>
                  </a:lnTo>
                  <a:lnTo>
                    <a:pt x="385" y="231"/>
                  </a:lnTo>
                  <a:lnTo>
                    <a:pt x="368" y="280"/>
                  </a:lnTo>
                  <a:lnTo>
                    <a:pt x="334" y="272"/>
                  </a:lnTo>
                  <a:lnTo>
                    <a:pt x="329" y="289"/>
                  </a:lnTo>
                  <a:lnTo>
                    <a:pt x="291" y="291"/>
                  </a:lnTo>
                  <a:lnTo>
                    <a:pt x="283" y="276"/>
                  </a:lnTo>
                  <a:lnTo>
                    <a:pt x="302" y="274"/>
                  </a:lnTo>
                  <a:lnTo>
                    <a:pt x="283" y="263"/>
                  </a:lnTo>
                  <a:lnTo>
                    <a:pt x="210" y="272"/>
                  </a:lnTo>
                  <a:lnTo>
                    <a:pt x="183" y="248"/>
                  </a:lnTo>
                  <a:lnTo>
                    <a:pt x="229" y="253"/>
                  </a:lnTo>
                  <a:lnTo>
                    <a:pt x="234" y="231"/>
                  </a:lnTo>
                  <a:lnTo>
                    <a:pt x="198" y="221"/>
                  </a:lnTo>
                  <a:lnTo>
                    <a:pt x="185" y="233"/>
                  </a:lnTo>
                  <a:lnTo>
                    <a:pt x="174" y="216"/>
                  </a:lnTo>
                  <a:lnTo>
                    <a:pt x="176" y="244"/>
                  </a:lnTo>
                  <a:lnTo>
                    <a:pt x="134" y="227"/>
                  </a:lnTo>
                  <a:lnTo>
                    <a:pt x="138" y="272"/>
                  </a:lnTo>
                  <a:lnTo>
                    <a:pt x="127" y="270"/>
                  </a:lnTo>
                  <a:lnTo>
                    <a:pt x="125" y="221"/>
                  </a:lnTo>
                  <a:lnTo>
                    <a:pt x="79" y="187"/>
                  </a:lnTo>
                  <a:lnTo>
                    <a:pt x="96" y="185"/>
                  </a:lnTo>
                  <a:lnTo>
                    <a:pt x="55" y="180"/>
                  </a:lnTo>
                  <a:lnTo>
                    <a:pt x="36" y="155"/>
                  </a:lnTo>
                  <a:lnTo>
                    <a:pt x="42" y="127"/>
                  </a:lnTo>
                  <a:lnTo>
                    <a:pt x="72" y="121"/>
                  </a:lnTo>
                  <a:lnTo>
                    <a:pt x="79" y="89"/>
                  </a:lnTo>
                  <a:lnTo>
                    <a:pt x="19" y="70"/>
                  </a:lnTo>
                  <a:lnTo>
                    <a:pt x="0" y="29"/>
                  </a:lnTo>
                  <a:lnTo>
                    <a:pt x="2" y="1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5" name="Freeform 68">
              <a:extLst>
                <a:ext uri="{FF2B5EF4-FFF2-40B4-BE49-F238E27FC236}">
                  <a16:creationId xmlns:a16="http://schemas.microsoft.com/office/drawing/2014/main" id="{F2D254CB-9424-493B-AD54-E4A19187D6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5486" y="2320145"/>
              <a:ext cx="652563" cy="535869"/>
            </a:xfrm>
            <a:custGeom>
              <a:avLst/>
              <a:gdLst>
                <a:gd name="T0" fmla="*/ 2 w 425"/>
                <a:gd name="T1" fmla="*/ 13 h 349"/>
                <a:gd name="T2" fmla="*/ 36 w 425"/>
                <a:gd name="T3" fmla="*/ 96 h 349"/>
                <a:gd name="T4" fmla="*/ 32 w 425"/>
                <a:gd name="T5" fmla="*/ 147 h 349"/>
                <a:gd name="T6" fmla="*/ 15 w 425"/>
                <a:gd name="T7" fmla="*/ 155 h 349"/>
                <a:gd name="T8" fmla="*/ 44 w 425"/>
                <a:gd name="T9" fmla="*/ 195 h 349"/>
                <a:gd name="T10" fmla="*/ 108 w 425"/>
                <a:gd name="T11" fmla="*/ 215 h 349"/>
                <a:gd name="T12" fmla="*/ 104 w 425"/>
                <a:gd name="T13" fmla="*/ 240 h 349"/>
                <a:gd name="T14" fmla="*/ 123 w 425"/>
                <a:gd name="T15" fmla="*/ 263 h 349"/>
                <a:gd name="T16" fmla="*/ 170 w 425"/>
                <a:gd name="T17" fmla="*/ 272 h 349"/>
                <a:gd name="T18" fmla="*/ 198 w 425"/>
                <a:gd name="T19" fmla="*/ 302 h 349"/>
                <a:gd name="T20" fmla="*/ 283 w 425"/>
                <a:gd name="T21" fmla="*/ 321 h 349"/>
                <a:gd name="T22" fmla="*/ 297 w 425"/>
                <a:gd name="T23" fmla="*/ 349 h 349"/>
                <a:gd name="T24" fmla="*/ 340 w 425"/>
                <a:gd name="T25" fmla="*/ 329 h 349"/>
                <a:gd name="T26" fmla="*/ 351 w 425"/>
                <a:gd name="T27" fmla="*/ 300 h 349"/>
                <a:gd name="T28" fmla="*/ 336 w 425"/>
                <a:gd name="T29" fmla="*/ 289 h 349"/>
                <a:gd name="T30" fmla="*/ 353 w 425"/>
                <a:gd name="T31" fmla="*/ 259 h 349"/>
                <a:gd name="T32" fmla="*/ 321 w 425"/>
                <a:gd name="T33" fmla="*/ 232 h 349"/>
                <a:gd name="T34" fmla="*/ 295 w 425"/>
                <a:gd name="T35" fmla="*/ 255 h 349"/>
                <a:gd name="T36" fmla="*/ 297 w 425"/>
                <a:gd name="T37" fmla="*/ 227 h 349"/>
                <a:gd name="T38" fmla="*/ 261 w 425"/>
                <a:gd name="T39" fmla="*/ 206 h 349"/>
                <a:gd name="T40" fmla="*/ 261 w 425"/>
                <a:gd name="T41" fmla="*/ 204 h 349"/>
                <a:gd name="T42" fmla="*/ 280 w 425"/>
                <a:gd name="T43" fmla="*/ 193 h 349"/>
                <a:gd name="T44" fmla="*/ 291 w 425"/>
                <a:gd name="T45" fmla="*/ 151 h 349"/>
                <a:gd name="T46" fmla="*/ 304 w 425"/>
                <a:gd name="T47" fmla="*/ 174 h 349"/>
                <a:gd name="T48" fmla="*/ 351 w 425"/>
                <a:gd name="T49" fmla="*/ 195 h 349"/>
                <a:gd name="T50" fmla="*/ 404 w 425"/>
                <a:gd name="T51" fmla="*/ 195 h 349"/>
                <a:gd name="T52" fmla="*/ 425 w 425"/>
                <a:gd name="T53" fmla="*/ 153 h 349"/>
                <a:gd name="T54" fmla="*/ 376 w 425"/>
                <a:gd name="T55" fmla="*/ 106 h 349"/>
                <a:gd name="T56" fmla="*/ 340 w 425"/>
                <a:gd name="T57" fmla="*/ 132 h 349"/>
                <a:gd name="T58" fmla="*/ 293 w 425"/>
                <a:gd name="T59" fmla="*/ 121 h 349"/>
                <a:gd name="T60" fmla="*/ 283 w 425"/>
                <a:gd name="T61" fmla="*/ 136 h 349"/>
                <a:gd name="T62" fmla="*/ 276 w 425"/>
                <a:gd name="T63" fmla="*/ 108 h 349"/>
                <a:gd name="T64" fmla="*/ 251 w 425"/>
                <a:gd name="T65" fmla="*/ 98 h 349"/>
                <a:gd name="T66" fmla="*/ 229 w 425"/>
                <a:gd name="T67" fmla="*/ 102 h 349"/>
                <a:gd name="T68" fmla="*/ 229 w 425"/>
                <a:gd name="T69" fmla="*/ 123 h 349"/>
                <a:gd name="T70" fmla="*/ 206 w 425"/>
                <a:gd name="T71" fmla="*/ 119 h 349"/>
                <a:gd name="T72" fmla="*/ 138 w 425"/>
                <a:gd name="T73" fmla="*/ 13 h 349"/>
                <a:gd name="T74" fmla="*/ 72 w 425"/>
                <a:gd name="T75" fmla="*/ 0 h 349"/>
                <a:gd name="T76" fmla="*/ 36 w 425"/>
                <a:gd name="T77" fmla="*/ 23 h 349"/>
                <a:gd name="T78" fmla="*/ 0 w 425"/>
                <a:gd name="T79" fmla="*/ 6 h 349"/>
                <a:gd name="T80" fmla="*/ 2 w 425"/>
                <a:gd name="T81" fmla="*/ 13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25" h="349">
                  <a:moveTo>
                    <a:pt x="2" y="13"/>
                  </a:moveTo>
                  <a:lnTo>
                    <a:pt x="36" y="96"/>
                  </a:lnTo>
                  <a:lnTo>
                    <a:pt x="32" y="147"/>
                  </a:lnTo>
                  <a:lnTo>
                    <a:pt x="15" y="155"/>
                  </a:lnTo>
                  <a:lnTo>
                    <a:pt x="44" y="195"/>
                  </a:lnTo>
                  <a:lnTo>
                    <a:pt x="108" y="215"/>
                  </a:lnTo>
                  <a:lnTo>
                    <a:pt x="104" y="240"/>
                  </a:lnTo>
                  <a:lnTo>
                    <a:pt x="123" y="263"/>
                  </a:lnTo>
                  <a:lnTo>
                    <a:pt x="170" y="272"/>
                  </a:lnTo>
                  <a:lnTo>
                    <a:pt x="198" y="302"/>
                  </a:lnTo>
                  <a:lnTo>
                    <a:pt x="283" y="321"/>
                  </a:lnTo>
                  <a:lnTo>
                    <a:pt x="297" y="349"/>
                  </a:lnTo>
                  <a:lnTo>
                    <a:pt x="340" y="329"/>
                  </a:lnTo>
                  <a:lnTo>
                    <a:pt x="351" y="300"/>
                  </a:lnTo>
                  <a:lnTo>
                    <a:pt x="336" y="289"/>
                  </a:lnTo>
                  <a:lnTo>
                    <a:pt x="353" y="259"/>
                  </a:lnTo>
                  <a:lnTo>
                    <a:pt x="321" y="232"/>
                  </a:lnTo>
                  <a:lnTo>
                    <a:pt x="295" y="255"/>
                  </a:lnTo>
                  <a:lnTo>
                    <a:pt x="297" y="227"/>
                  </a:lnTo>
                  <a:lnTo>
                    <a:pt x="261" y="206"/>
                  </a:lnTo>
                  <a:lnTo>
                    <a:pt x="261" y="204"/>
                  </a:lnTo>
                  <a:lnTo>
                    <a:pt x="280" y="193"/>
                  </a:lnTo>
                  <a:lnTo>
                    <a:pt x="291" y="151"/>
                  </a:lnTo>
                  <a:lnTo>
                    <a:pt x="304" y="174"/>
                  </a:lnTo>
                  <a:lnTo>
                    <a:pt x="351" y="195"/>
                  </a:lnTo>
                  <a:lnTo>
                    <a:pt x="404" y="195"/>
                  </a:lnTo>
                  <a:lnTo>
                    <a:pt x="425" y="153"/>
                  </a:lnTo>
                  <a:lnTo>
                    <a:pt x="376" y="106"/>
                  </a:lnTo>
                  <a:lnTo>
                    <a:pt x="340" y="132"/>
                  </a:lnTo>
                  <a:lnTo>
                    <a:pt x="293" y="121"/>
                  </a:lnTo>
                  <a:lnTo>
                    <a:pt x="283" y="136"/>
                  </a:lnTo>
                  <a:lnTo>
                    <a:pt x="276" y="108"/>
                  </a:lnTo>
                  <a:lnTo>
                    <a:pt x="251" y="98"/>
                  </a:lnTo>
                  <a:lnTo>
                    <a:pt x="229" y="102"/>
                  </a:lnTo>
                  <a:lnTo>
                    <a:pt x="229" y="123"/>
                  </a:lnTo>
                  <a:lnTo>
                    <a:pt x="206" y="119"/>
                  </a:lnTo>
                  <a:lnTo>
                    <a:pt x="138" y="13"/>
                  </a:lnTo>
                  <a:lnTo>
                    <a:pt x="72" y="0"/>
                  </a:lnTo>
                  <a:lnTo>
                    <a:pt x="36" y="23"/>
                  </a:lnTo>
                  <a:lnTo>
                    <a:pt x="0" y="6"/>
                  </a:lnTo>
                  <a:lnTo>
                    <a:pt x="2" y="1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6" name="Freeform 69">
              <a:extLst>
                <a:ext uri="{FF2B5EF4-FFF2-40B4-BE49-F238E27FC236}">
                  <a16:creationId xmlns:a16="http://schemas.microsoft.com/office/drawing/2014/main" id="{5A478DD9-3A4D-4B5D-AA3E-E08940C6EA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4338" y="1448015"/>
              <a:ext cx="760043" cy="623389"/>
            </a:xfrm>
            <a:custGeom>
              <a:avLst/>
              <a:gdLst>
                <a:gd name="T0" fmla="*/ 104 w 495"/>
                <a:gd name="T1" fmla="*/ 0 h 406"/>
                <a:gd name="T2" fmla="*/ 123 w 495"/>
                <a:gd name="T3" fmla="*/ 51 h 406"/>
                <a:gd name="T4" fmla="*/ 117 w 495"/>
                <a:gd name="T5" fmla="*/ 85 h 406"/>
                <a:gd name="T6" fmla="*/ 166 w 495"/>
                <a:gd name="T7" fmla="*/ 136 h 406"/>
                <a:gd name="T8" fmla="*/ 185 w 495"/>
                <a:gd name="T9" fmla="*/ 143 h 406"/>
                <a:gd name="T10" fmla="*/ 213 w 495"/>
                <a:gd name="T11" fmla="*/ 115 h 406"/>
                <a:gd name="T12" fmla="*/ 240 w 495"/>
                <a:gd name="T13" fmla="*/ 111 h 406"/>
                <a:gd name="T14" fmla="*/ 268 w 495"/>
                <a:gd name="T15" fmla="*/ 145 h 406"/>
                <a:gd name="T16" fmla="*/ 274 w 495"/>
                <a:gd name="T17" fmla="*/ 206 h 406"/>
                <a:gd name="T18" fmla="*/ 351 w 495"/>
                <a:gd name="T19" fmla="*/ 217 h 406"/>
                <a:gd name="T20" fmla="*/ 374 w 495"/>
                <a:gd name="T21" fmla="*/ 289 h 406"/>
                <a:gd name="T22" fmla="*/ 381 w 495"/>
                <a:gd name="T23" fmla="*/ 270 h 406"/>
                <a:gd name="T24" fmla="*/ 449 w 495"/>
                <a:gd name="T25" fmla="*/ 268 h 406"/>
                <a:gd name="T26" fmla="*/ 474 w 495"/>
                <a:gd name="T27" fmla="*/ 304 h 406"/>
                <a:gd name="T28" fmla="*/ 491 w 495"/>
                <a:gd name="T29" fmla="*/ 298 h 406"/>
                <a:gd name="T30" fmla="*/ 472 w 495"/>
                <a:gd name="T31" fmla="*/ 349 h 406"/>
                <a:gd name="T32" fmla="*/ 489 w 495"/>
                <a:gd name="T33" fmla="*/ 351 h 406"/>
                <a:gd name="T34" fmla="*/ 495 w 495"/>
                <a:gd name="T35" fmla="*/ 374 h 406"/>
                <a:gd name="T36" fmla="*/ 476 w 495"/>
                <a:gd name="T37" fmla="*/ 406 h 406"/>
                <a:gd name="T38" fmla="*/ 374 w 495"/>
                <a:gd name="T39" fmla="*/ 374 h 406"/>
                <a:gd name="T40" fmla="*/ 351 w 495"/>
                <a:gd name="T41" fmla="*/ 389 h 406"/>
                <a:gd name="T42" fmla="*/ 338 w 495"/>
                <a:gd name="T43" fmla="*/ 379 h 406"/>
                <a:gd name="T44" fmla="*/ 321 w 495"/>
                <a:gd name="T45" fmla="*/ 394 h 406"/>
                <a:gd name="T46" fmla="*/ 247 w 495"/>
                <a:gd name="T47" fmla="*/ 394 h 406"/>
                <a:gd name="T48" fmla="*/ 228 w 495"/>
                <a:gd name="T49" fmla="*/ 381 h 406"/>
                <a:gd name="T50" fmla="*/ 251 w 495"/>
                <a:gd name="T51" fmla="*/ 315 h 406"/>
                <a:gd name="T52" fmla="*/ 211 w 495"/>
                <a:gd name="T53" fmla="*/ 302 h 406"/>
                <a:gd name="T54" fmla="*/ 228 w 495"/>
                <a:gd name="T55" fmla="*/ 285 h 406"/>
                <a:gd name="T56" fmla="*/ 204 w 495"/>
                <a:gd name="T57" fmla="*/ 251 h 406"/>
                <a:gd name="T58" fmla="*/ 225 w 495"/>
                <a:gd name="T59" fmla="*/ 236 h 406"/>
                <a:gd name="T60" fmla="*/ 200 w 495"/>
                <a:gd name="T61" fmla="*/ 211 h 406"/>
                <a:gd name="T62" fmla="*/ 162 w 495"/>
                <a:gd name="T63" fmla="*/ 204 h 406"/>
                <a:gd name="T64" fmla="*/ 177 w 495"/>
                <a:gd name="T65" fmla="*/ 166 h 406"/>
                <a:gd name="T66" fmla="*/ 164 w 495"/>
                <a:gd name="T67" fmla="*/ 153 h 406"/>
                <a:gd name="T68" fmla="*/ 149 w 495"/>
                <a:gd name="T69" fmla="*/ 177 h 406"/>
                <a:gd name="T70" fmla="*/ 62 w 495"/>
                <a:gd name="T71" fmla="*/ 149 h 406"/>
                <a:gd name="T72" fmla="*/ 55 w 495"/>
                <a:gd name="T73" fmla="*/ 126 h 406"/>
                <a:gd name="T74" fmla="*/ 70 w 495"/>
                <a:gd name="T75" fmla="*/ 115 h 406"/>
                <a:gd name="T76" fmla="*/ 26 w 495"/>
                <a:gd name="T77" fmla="*/ 100 h 406"/>
                <a:gd name="T78" fmla="*/ 0 w 495"/>
                <a:gd name="T79" fmla="*/ 30 h 406"/>
                <a:gd name="T80" fmla="*/ 104 w 495"/>
                <a:gd name="T81" fmla="*/ 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95" h="406">
                  <a:moveTo>
                    <a:pt x="104" y="0"/>
                  </a:moveTo>
                  <a:lnTo>
                    <a:pt x="123" y="51"/>
                  </a:lnTo>
                  <a:lnTo>
                    <a:pt x="117" y="85"/>
                  </a:lnTo>
                  <a:lnTo>
                    <a:pt x="166" y="136"/>
                  </a:lnTo>
                  <a:lnTo>
                    <a:pt x="185" y="143"/>
                  </a:lnTo>
                  <a:lnTo>
                    <a:pt x="213" y="115"/>
                  </a:lnTo>
                  <a:lnTo>
                    <a:pt x="240" y="111"/>
                  </a:lnTo>
                  <a:lnTo>
                    <a:pt x="268" y="145"/>
                  </a:lnTo>
                  <a:lnTo>
                    <a:pt x="274" y="206"/>
                  </a:lnTo>
                  <a:lnTo>
                    <a:pt x="351" y="217"/>
                  </a:lnTo>
                  <a:lnTo>
                    <a:pt x="374" y="289"/>
                  </a:lnTo>
                  <a:lnTo>
                    <a:pt x="381" y="270"/>
                  </a:lnTo>
                  <a:lnTo>
                    <a:pt x="449" y="268"/>
                  </a:lnTo>
                  <a:lnTo>
                    <a:pt x="474" y="304"/>
                  </a:lnTo>
                  <a:lnTo>
                    <a:pt x="491" y="298"/>
                  </a:lnTo>
                  <a:lnTo>
                    <a:pt x="472" y="349"/>
                  </a:lnTo>
                  <a:lnTo>
                    <a:pt x="489" y="351"/>
                  </a:lnTo>
                  <a:lnTo>
                    <a:pt x="495" y="374"/>
                  </a:lnTo>
                  <a:lnTo>
                    <a:pt x="476" y="406"/>
                  </a:lnTo>
                  <a:lnTo>
                    <a:pt x="374" y="374"/>
                  </a:lnTo>
                  <a:lnTo>
                    <a:pt x="351" y="389"/>
                  </a:lnTo>
                  <a:lnTo>
                    <a:pt x="338" y="379"/>
                  </a:lnTo>
                  <a:lnTo>
                    <a:pt x="321" y="394"/>
                  </a:lnTo>
                  <a:lnTo>
                    <a:pt x="247" y="394"/>
                  </a:lnTo>
                  <a:lnTo>
                    <a:pt x="228" y="381"/>
                  </a:lnTo>
                  <a:lnTo>
                    <a:pt x="251" y="315"/>
                  </a:lnTo>
                  <a:lnTo>
                    <a:pt x="211" y="302"/>
                  </a:lnTo>
                  <a:lnTo>
                    <a:pt x="228" y="285"/>
                  </a:lnTo>
                  <a:lnTo>
                    <a:pt x="204" y="251"/>
                  </a:lnTo>
                  <a:lnTo>
                    <a:pt x="225" y="236"/>
                  </a:lnTo>
                  <a:lnTo>
                    <a:pt x="200" y="211"/>
                  </a:lnTo>
                  <a:lnTo>
                    <a:pt x="162" y="204"/>
                  </a:lnTo>
                  <a:lnTo>
                    <a:pt x="177" y="166"/>
                  </a:lnTo>
                  <a:lnTo>
                    <a:pt x="164" y="153"/>
                  </a:lnTo>
                  <a:lnTo>
                    <a:pt x="149" y="177"/>
                  </a:lnTo>
                  <a:lnTo>
                    <a:pt x="62" y="149"/>
                  </a:lnTo>
                  <a:lnTo>
                    <a:pt x="55" y="126"/>
                  </a:lnTo>
                  <a:lnTo>
                    <a:pt x="70" y="115"/>
                  </a:lnTo>
                  <a:lnTo>
                    <a:pt x="26" y="100"/>
                  </a:lnTo>
                  <a:lnTo>
                    <a:pt x="0" y="30"/>
                  </a:lnTo>
                  <a:lnTo>
                    <a:pt x="104" y="0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7" name="Freeform 70">
              <a:extLst>
                <a:ext uri="{FF2B5EF4-FFF2-40B4-BE49-F238E27FC236}">
                  <a16:creationId xmlns:a16="http://schemas.microsoft.com/office/drawing/2014/main" id="{C97CAA5E-1C18-4ECE-8E63-23E3E7D37A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1932" y="2624163"/>
              <a:ext cx="678665" cy="432994"/>
            </a:xfrm>
            <a:custGeom>
              <a:avLst/>
              <a:gdLst>
                <a:gd name="T0" fmla="*/ 0 w 442"/>
                <a:gd name="T1" fmla="*/ 155 h 282"/>
                <a:gd name="T2" fmla="*/ 23 w 442"/>
                <a:gd name="T3" fmla="*/ 176 h 282"/>
                <a:gd name="T4" fmla="*/ 44 w 442"/>
                <a:gd name="T5" fmla="*/ 161 h 282"/>
                <a:gd name="T6" fmla="*/ 49 w 442"/>
                <a:gd name="T7" fmla="*/ 176 h 282"/>
                <a:gd name="T8" fmla="*/ 98 w 442"/>
                <a:gd name="T9" fmla="*/ 153 h 282"/>
                <a:gd name="T10" fmla="*/ 121 w 442"/>
                <a:gd name="T11" fmla="*/ 163 h 282"/>
                <a:gd name="T12" fmla="*/ 151 w 442"/>
                <a:gd name="T13" fmla="*/ 136 h 282"/>
                <a:gd name="T14" fmla="*/ 172 w 442"/>
                <a:gd name="T15" fmla="*/ 151 h 282"/>
                <a:gd name="T16" fmla="*/ 174 w 442"/>
                <a:gd name="T17" fmla="*/ 178 h 282"/>
                <a:gd name="T18" fmla="*/ 195 w 442"/>
                <a:gd name="T19" fmla="*/ 180 h 282"/>
                <a:gd name="T20" fmla="*/ 193 w 442"/>
                <a:gd name="T21" fmla="*/ 208 h 282"/>
                <a:gd name="T22" fmla="*/ 276 w 442"/>
                <a:gd name="T23" fmla="*/ 172 h 282"/>
                <a:gd name="T24" fmla="*/ 300 w 442"/>
                <a:gd name="T25" fmla="*/ 193 h 282"/>
                <a:gd name="T26" fmla="*/ 302 w 442"/>
                <a:gd name="T27" fmla="*/ 233 h 282"/>
                <a:gd name="T28" fmla="*/ 395 w 442"/>
                <a:gd name="T29" fmla="*/ 282 h 282"/>
                <a:gd name="T30" fmla="*/ 391 w 442"/>
                <a:gd name="T31" fmla="*/ 244 h 282"/>
                <a:gd name="T32" fmla="*/ 389 w 442"/>
                <a:gd name="T33" fmla="*/ 244 h 282"/>
                <a:gd name="T34" fmla="*/ 442 w 442"/>
                <a:gd name="T35" fmla="*/ 193 h 282"/>
                <a:gd name="T36" fmla="*/ 406 w 442"/>
                <a:gd name="T37" fmla="*/ 108 h 282"/>
                <a:gd name="T38" fmla="*/ 357 w 442"/>
                <a:gd name="T39" fmla="*/ 25 h 282"/>
                <a:gd name="T40" fmla="*/ 317 w 442"/>
                <a:gd name="T41" fmla="*/ 25 h 282"/>
                <a:gd name="T42" fmla="*/ 312 w 442"/>
                <a:gd name="T43" fmla="*/ 4 h 282"/>
                <a:gd name="T44" fmla="*/ 244 w 442"/>
                <a:gd name="T45" fmla="*/ 0 h 282"/>
                <a:gd name="T46" fmla="*/ 183 w 442"/>
                <a:gd name="T47" fmla="*/ 46 h 282"/>
                <a:gd name="T48" fmla="*/ 134 w 442"/>
                <a:gd name="T49" fmla="*/ 27 h 282"/>
                <a:gd name="T50" fmla="*/ 130 w 442"/>
                <a:gd name="T51" fmla="*/ 40 h 282"/>
                <a:gd name="T52" fmla="*/ 110 w 442"/>
                <a:gd name="T53" fmla="*/ 21 h 282"/>
                <a:gd name="T54" fmla="*/ 76 w 442"/>
                <a:gd name="T55" fmla="*/ 36 h 282"/>
                <a:gd name="T56" fmla="*/ 47 w 442"/>
                <a:gd name="T57" fmla="*/ 27 h 282"/>
                <a:gd name="T58" fmla="*/ 10 w 442"/>
                <a:gd name="T59" fmla="*/ 61 h 282"/>
                <a:gd name="T60" fmla="*/ 30 w 442"/>
                <a:gd name="T61" fmla="*/ 110 h 282"/>
                <a:gd name="T62" fmla="*/ 0 w 442"/>
                <a:gd name="T63" fmla="*/ 151 h 282"/>
                <a:gd name="T64" fmla="*/ 0 w 442"/>
                <a:gd name="T65" fmla="*/ 155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2" h="282">
                  <a:moveTo>
                    <a:pt x="0" y="155"/>
                  </a:moveTo>
                  <a:lnTo>
                    <a:pt x="23" y="176"/>
                  </a:lnTo>
                  <a:lnTo>
                    <a:pt x="44" y="161"/>
                  </a:lnTo>
                  <a:lnTo>
                    <a:pt x="49" y="176"/>
                  </a:lnTo>
                  <a:lnTo>
                    <a:pt x="98" y="153"/>
                  </a:lnTo>
                  <a:lnTo>
                    <a:pt x="121" y="163"/>
                  </a:lnTo>
                  <a:lnTo>
                    <a:pt x="151" y="136"/>
                  </a:lnTo>
                  <a:lnTo>
                    <a:pt x="172" y="151"/>
                  </a:lnTo>
                  <a:lnTo>
                    <a:pt x="174" y="178"/>
                  </a:lnTo>
                  <a:lnTo>
                    <a:pt x="195" y="180"/>
                  </a:lnTo>
                  <a:lnTo>
                    <a:pt x="193" y="208"/>
                  </a:lnTo>
                  <a:lnTo>
                    <a:pt x="276" y="172"/>
                  </a:lnTo>
                  <a:lnTo>
                    <a:pt x="300" y="193"/>
                  </a:lnTo>
                  <a:lnTo>
                    <a:pt x="302" y="233"/>
                  </a:lnTo>
                  <a:lnTo>
                    <a:pt x="395" y="282"/>
                  </a:lnTo>
                  <a:lnTo>
                    <a:pt x="391" y="244"/>
                  </a:lnTo>
                  <a:lnTo>
                    <a:pt x="389" y="244"/>
                  </a:lnTo>
                  <a:lnTo>
                    <a:pt x="442" y="193"/>
                  </a:lnTo>
                  <a:lnTo>
                    <a:pt x="406" y="108"/>
                  </a:lnTo>
                  <a:lnTo>
                    <a:pt x="357" y="25"/>
                  </a:lnTo>
                  <a:lnTo>
                    <a:pt x="317" y="25"/>
                  </a:lnTo>
                  <a:lnTo>
                    <a:pt x="312" y="4"/>
                  </a:lnTo>
                  <a:lnTo>
                    <a:pt x="244" y="0"/>
                  </a:lnTo>
                  <a:lnTo>
                    <a:pt x="183" y="46"/>
                  </a:lnTo>
                  <a:lnTo>
                    <a:pt x="134" y="27"/>
                  </a:lnTo>
                  <a:lnTo>
                    <a:pt x="130" y="40"/>
                  </a:lnTo>
                  <a:lnTo>
                    <a:pt x="110" y="21"/>
                  </a:lnTo>
                  <a:lnTo>
                    <a:pt x="76" y="36"/>
                  </a:lnTo>
                  <a:lnTo>
                    <a:pt x="47" y="27"/>
                  </a:lnTo>
                  <a:lnTo>
                    <a:pt x="10" y="61"/>
                  </a:lnTo>
                  <a:lnTo>
                    <a:pt x="30" y="110"/>
                  </a:lnTo>
                  <a:lnTo>
                    <a:pt x="0" y="151"/>
                  </a:lnTo>
                  <a:lnTo>
                    <a:pt x="0" y="15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71">
              <a:extLst>
                <a:ext uri="{FF2B5EF4-FFF2-40B4-BE49-F238E27FC236}">
                  <a16:creationId xmlns:a16="http://schemas.microsoft.com/office/drawing/2014/main" id="{6E80A726-9D80-4AA0-A9EE-07546A9001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066" y="5619808"/>
              <a:ext cx="403821" cy="529728"/>
            </a:xfrm>
            <a:custGeom>
              <a:avLst/>
              <a:gdLst>
                <a:gd name="T0" fmla="*/ 2 w 263"/>
                <a:gd name="T1" fmla="*/ 274 h 345"/>
                <a:gd name="T2" fmla="*/ 42 w 263"/>
                <a:gd name="T3" fmla="*/ 296 h 345"/>
                <a:gd name="T4" fmla="*/ 68 w 263"/>
                <a:gd name="T5" fmla="*/ 334 h 345"/>
                <a:gd name="T6" fmla="*/ 134 w 263"/>
                <a:gd name="T7" fmla="*/ 321 h 345"/>
                <a:gd name="T8" fmla="*/ 163 w 263"/>
                <a:gd name="T9" fmla="*/ 345 h 345"/>
                <a:gd name="T10" fmla="*/ 183 w 263"/>
                <a:gd name="T11" fmla="*/ 328 h 345"/>
                <a:gd name="T12" fmla="*/ 214 w 263"/>
                <a:gd name="T13" fmla="*/ 338 h 345"/>
                <a:gd name="T14" fmla="*/ 206 w 263"/>
                <a:gd name="T15" fmla="*/ 326 h 345"/>
                <a:gd name="T16" fmla="*/ 208 w 263"/>
                <a:gd name="T17" fmla="*/ 319 h 345"/>
                <a:gd name="T18" fmla="*/ 217 w 263"/>
                <a:gd name="T19" fmla="*/ 272 h 345"/>
                <a:gd name="T20" fmla="*/ 238 w 263"/>
                <a:gd name="T21" fmla="*/ 279 h 345"/>
                <a:gd name="T22" fmla="*/ 263 w 263"/>
                <a:gd name="T23" fmla="*/ 243 h 345"/>
                <a:gd name="T24" fmla="*/ 253 w 263"/>
                <a:gd name="T25" fmla="*/ 217 h 345"/>
                <a:gd name="T26" fmla="*/ 229 w 263"/>
                <a:gd name="T27" fmla="*/ 226 h 345"/>
                <a:gd name="T28" fmla="*/ 240 w 263"/>
                <a:gd name="T29" fmla="*/ 200 h 345"/>
                <a:gd name="T30" fmla="*/ 210 w 263"/>
                <a:gd name="T31" fmla="*/ 179 h 345"/>
                <a:gd name="T32" fmla="*/ 257 w 263"/>
                <a:gd name="T33" fmla="*/ 115 h 345"/>
                <a:gd name="T34" fmla="*/ 183 w 263"/>
                <a:gd name="T35" fmla="*/ 100 h 345"/>
                <a:gd name="T36" fmla="*/ 174 w 263"/>
                <a:gd name="T37" fmla="*/ 83 h 345"/>
                <a:gd name="T38" fmla="*/ 144 w 263"/>
                <a:gd name="T39" fmla="*/ 90 h 345"/>
                <a:gd name="T40" fmla="*/ 127 w 263"/>
                <a:gd name="T41" fmla="*/ 34 h 345"/>
                <a:gd name="T42" fmla="*/ 93 w 263"/>
                <a:gd name="T43" fmla="*/ 0 h 345"/>
                <a:gd name="T44" fmla="*/ 72 w 263"/>
                <a:gd name="T45" fmla="*/ 9 h 345"/>
                <a:gd name="T46" fmla="*/ 91 w 263"/>
                <a:gd name="T47" fmla="*/ 49 h 345"/>
                <a:gd name="T48" fmla="*/ 78 w 263"/>
                <a:gd name="T49" fmla="*/ 70 h 345"/>
                <a:gd name="T50" fmla="*/ 95 w 263"/>
                <a:gd name="T51" fmla="*/ 60 h 345"/>
                <a:gd name="T52" fmla="*/ 102 w 263"/>
                <a:gd name="T53" fmla="*/ 98 h 345"/>
                <a:gd name="T54" fmla="*/ 0 w 263"/>
                <a:gd name="T55" fmla="*/ 249 h 345"/>
                <a:gd name="T56" fmla="*/ 2 w 263"/>
                <a:gd name="T57" fmla="*/ 274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3" h="345">
                  <a:moveTo>
                    <a:pt x="2" y="274"/>
                  </a:moveTo>
                  <a:lnTo>
                    <a:pt x="42" y="296"/>
                  </a:lnTo>
                  <a:lnTo>
                    <a:pt x="68" y="334"/>
                  </a:lnTo>
                  <a:lnTo>
                    <a:pt x="134" y="321"/>
                  </a:lnTo>
                  <a:lnTo>
                    <a:pt x="163" y="345"/>
                  </a:lnTo>
                  <a:lnTo>
                    <a:pt x="183" y="328"/>
                  </a:lnTo>
                  <a:lnTo>
                    <a:pt x="214" y="338"/>
                  </a:lnTo>
                  <a:lnTo>
                    <a:pt x="206" y="326"/>
                  </a:lnTo>
                  <a:lnTo>
                    <a:pt x="208" y="319"/>
                  </a:lnTo>
                  <a:lnTo>
                    <a:pt x="217" y="272"/>
                  </a:lnTo>
                  <a:lnTo>
                    <a:pt x="238" y="279"/>
                  </a:lnTo>
                  <a:lnTo>
                    <a:pt x="263" y="243"/>
                  </a:lnTo>
                  <a:lnTo>
                    <a:pt x="253" y="217"/>
                  </a:lnTo>
                  <a:lnTo>
                    <a:pt x="229" y="226"/>
                  </a:lnTo>
                  <a:lnTo>
                    <a:pt x="240" y="200"/>
                  </a:lnTo>
                  <a:lnTo>
                    <a:pt x="210" y="179"/>
                  </a:lnTo>
                  <a:lnTo>
                    <a:pt x="257" y="115"/>
                  </a:lnTo>
                  <a:lnTo>
                    <a:pt x="183" y="100"/>
                  </a:lnTo>
                  <a:lnTo>
                    <a:pt x="174" y="83"/>
                  </a:lnTo>
                  <a:lnTo>
                    <a:pt x="144" y="90"/>
                  </a:lnTo>
                  <a:lnTo>
                    <a:pt x="127" y="34"/>
                  </a:lnTo>
                  <a:lnTo>
                    <a:pt x="93" y="0"/>
                  </a:lnTo>
                  <a:lnTo>
                    <a:pt x="72" y="9"/>
                  </a:lnTo>
                  <a:lnTo>
                    <a:pt x="91" y="49"/>
                  </a:lnTo>
                  <a:lnTo>
                    <a:pt x="78" y="70"/>
                  </a:lnTo>
                  <a:lnTo>
                    <a:pt x="95" y="60"/>
                  </a:lnTo>
                  <a:lnTo>
                    <a:pt x="102" y="98"/>
                  </a:lnTo>
                  <a:lnTo>
                    <a:pt x="0" y="249"/>
                  </a:lnTo>
                  <a:lnTo>
                    <a:pt x="2" y="274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72">
              <a:extLst>
                <a:ext uri="{FF2B5EF4-FFF2-40B4-BE49-F238E27FC236}">
                  <a16:creationId xmlns:a16="http://schemas.microsoft.com/office/drawing/2014/main" id="{2F663204-A7B2-4E80-98DD-3729AF02A7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5801" y="3152354"/>
              <a:ext cx="545082" cy="440672"/>
            </a:xfrm>
            <a:custGeom>
              <a:avLst/>
              <a:gdLst>
                <a:gd name="T0" fmla="*/ 0 w 355"/>
                <a:gd name="T1" fmla="*/ 159 h 287"/>
                <a:gd name="T2" fmla="*/ 27 w 355"/>
                <a:gd name="T3" fmla="*/ 159 h 287"/>
                <a:gd name="T4" fmla="*/ 27 w 355"/>
                <a:gd name="T5" fmla="*/ 187 h 287"/>
                <a:gd name="T6" fmla="*/ 2 w 355"/>
                <a:gd name="T7" fmla="*/ 210 h 287"/>
                <a:gd name="T8" fmla="*/ 32 w 355"/>
                <a:gd name="T9" fmla="*/ 236 h 287"/>
                <a:gd name="T10" fmla="*/ 40 w 355"/>
                <a:gd name="T11" fmla="*/ 268 h 287"/>
                <a:gd name="T12" fmla="*/ 55 w 355"/>
                <a:gd name="T13" fmla="*/ 287 h 287"/>
                <a:gd name="T14" fmla="*/ 85 w 355"/>
                <a:gd name="T15" fmla="*/ 281 h 287"/>
                <a:gd name="T16" fmla="*/ 87 w 355"/>
                <a:gd name="T17" fmla="*/ 279 h 287"/>
                <a:gd name="T18" fmla="*/ 217 w 355"/>
                <a:gd name="T19" fmla="*/ 223 h 287"/>
                <a:gd name="T20" fmla="*/ 238 w 355"/>
                <a:gd name="T21" fmla="*/ 189 h 287"/>
                <a:gd name="T22" fmla="*/ 293 w 355"/>
                <a:gd name="T23" fmla="*/ 191 h 287"/>
                <a:gd name="T24" fmla="*/ 319 w 355"/>
                <a:gd name="T25" fmla="*/ 159 h 287"/>
                <a:gd name="T26" fmla="*/ 355 w 355"/>
                <a:gd name="T27" fmla="*/ 164 h 287"/>
                <a:gd name="T28" fmla="*/ 340 w 355"/>
                <a:gd name="T29" fmla="*/ 100 h 287"/>
                <a:gd name="T30" fmla="*/ 338 w 355"/>
                <a:gd name="T31" fmla="*/ 96 h 287"/>
                <a:gd name="T32" fmla="*/ 353 w 355"/>
                <a:gd name="T33" fmla="*/ 70 h 287"/>
                <a:gd name="T34" fmla="*/ 297 w 355"/>
                <a:gd name="T35" fmla="*/ 26 h 287"/>
                <a:gd name="T36" fmla="*/ 268 w 355"/>
                <a:gd name="T37" fmla="*/ 47 h 287"/>
                <a:gd name="T38" fmla="*/ 251 w 355"/>
                <a:gd name="T39" fmla="*/ 28 h 287"/>
                <a:gd name="T40" fmla="*/ 251 w 355"/>
                <a:gd name="T41" fmla="*/ 28 h 287"/>
                <a:gd name="T42" fmla="*/ 202 w 355"/>
                <a:gd name="T43" fmla="*/ 34 h 287"/>
                <a:gd name="T44" fmla="*/ 180 w 355"/>
                <a:gd name="T45" fmla="*/ 0 h 287"/>
                <a:gd name="T46" fmla="*/ 123 w 355"/>
                <a:gd name="T47" fmla="*/ 38 h 287"/>
                <a:gd name="T48" fmla="*/ 108 w 355"/>
                <a:gd name="T49" fmla="*/ 68 h 287"/>
                <a:gd name="T50" fmla="*/ 74 w 355"/>
                <a:gd name="T51" fmla="*/ 81 h 287"/>
                <a:gd name="T52" fmla="*/ 78 w 355"/>
                <a:gd name="T53" fmla="*/ 128 h 287"/>
                <a:gd name="T54" fmla="*/ 12 w 355"/>
                <a:gd name="T55" fmla="*/ 132 h 287"/>
                <a:gd name="T56" fmla="*/ 0 w 355"/>
                <a:gd name="T57" fmla="*/ 153 h 287"/>
                <a:gd name="T58" fmla="*/ 0 w 355"/>
                <a:gd name="T59" fmla="*/ 159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5" h="287">
                  <a:moveTo>
                    <a:pt x="0" y="159"/>
                  </a:moveTo>
                  <a:lnTo>
                    <a:pt x="27" y="159"/>
                  </a:lnTo>
                  <a:lnTo>
                    <a:pt x="27" y="187"/>
                  </a:lnTo>
                  <a:lnTo>
                    <a:pt x="2" y="210"/>
                  </a:lnTo>
                  <a:lnTo>
                    <a:pt x="32" y="236"/>
                  </a:lnTo>
                  <a:lnTo>
                    <a:pt x="40" y="268"/>
                  </a:lnTo>
                  <a:lnTo>
                    <a:pt x="55" y="287"/>
                  </a:lnTo>
                  <a:lnTo>
                    <a:pt x="85" y="281"/>
                  </a:lnTo>
                  <a:lnTo>
                    <a:pt x="87" y="279"/>
                  </a:lnTo>
                  <a:lnTo>
                    <a:pt x="217" y="223"/>
                  </a:lnTo>
                  <a:lnTo>
                    <a:pt x="238" y="189"/>
                  </a:lnTo>
                  <a:lnTo>
                    <a:pt x="293" y="191"/>
                  </a:lnTo>
                  <a:lnTo>
                    <a:pt x="319" y="159"/>
                  </a:lnTo>
                  <a:lnTo>
                    <a:pt x="355" y="164"/>
                  </a:lnTo>
                  <a:lnTo>
                    <a:pt x="340" y="100"/>
                  </a:lnTo>
                  <a:lnTo>
                    <a:pt x="338" y="96"/>
                  </a:lnTo>
                  <a:lnTo>
                    <a:pt x="353" y="70"/>
                  </a:lnTo>
                  <a:lnTo>
                    <a:pt x="297" y="26"/>
                  </a:lnTo>
                  <a:lnTo>
                    <a:pt x="268" y="47"/>
                  </a:lnTo>
                  <a:lnTo>
                    <a:pt x="251" y="28"/>
                  </a:lnTo>
                  <a:lnTo>
                    <a:pt x="251" y="28"/>
                  </a:lnTo>
                  <a:lnTo>
                    <a:pt x="202" y="34"/>
                  </a:lnTo>
                  <a:lnTo>
                    <a:pt x="180" y="0"/>
                  </a:lnTo>
                  <a:lnTo>
                    <a:pt x="123" y="38"/>
                  </a:lnTo>
                  <a:lnTo>
                    <a:pt x="108" y="68"/>
                  </a:lnTo>
                  <a:lnTo>
                    <a:pt x="74" y="81"/>
                  </a:lnTo>
                  <a:lnTo>
                    <a:pt x="78" y="128"/>
                  </a:lnTo>
                  <a:lnTo>
                    <a:pt x="12" y="132"/>
                  </a:lnTo>
                  <a:lnTo>
                    <a:pt x="0" y="153"/>
                  </a:lnTo>
                  <a:lnTo>
                    <a:pt x="0" y="15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73">
              <a:extLst>
                <a:ext uri="{FF2B5EF4-FFF2-40B4-BE49-F238E27FC236}">
                  <a16:creationId xmlns:a16="http://schemas.microsoft.com/office/drawing/2014/main" id="{09F8FFBF-3DBF-4DE6-911E-CD847EACF0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6579" y="2013057"/>
              <a:ext cx="623389" cy="454490"/>
            </a:xfrm>
            <a:custGeom>
              <a:avLst/>
              <a:gdLst>
                <a:gd name="T0" fmla="*/ 22 w 406"/>
                <a:gd name="T1" fmla="*/ 130 h 296"/>
                <a:gd name="T2" fmla="*/ 124 w 406"/>
                <a:gd name="T3" fmla="*/ 72 h 296"/>
                <a:gd name="T4" fmla="*/ 249 w 406"/>
                <a:gd name="T5" fmla="*/ 45 h 296"/>
                <a:gd name="T6" fmla="*/ 313 w 406"/>
                <a:gd name="T7" fmla="*/ 0 h 296"/>
                <a:gd name="T8" fmla="*/ 319 w 406"/>
                <a:gd name="T9" fmla="*/ 4 h 296"/>
                <a:gd name="T10" fmla="*/ 385 w 406"/>
                <a:gd name="T11" fmla="*/ 60 h 296"/>
                <a:gd name="T12" fmla="*/ 406 w 406"/>
                <a:gd name="T13" fmla="*/ 115 h 296"/>
                <a:gd name="T14" fmla="*/ 383 w 406"/>
                <a:gd name="T15" fmla="*/ 136 h 296"/>
                <a:gd name="T16" fmla="*/ 398 w 406"/>
                <a:gd name="T17" fmla="*/ 142 h 296"/>
                <a:gd name="T18" fmla="*/ 385 w 406"/>
                <a:gd name="T19" fmla="*/ 155 h 296"/>
                <a:gd name="T20" fmla="*/ 389 w 406"/>
                <a:gd name="T21" fmla="*/ 208 h 296"/>
                <a:gd name="T22" fmla="*/ 404 w 406"/>
                <a:gd name="T23" fmla="*/ 213 h 296"/>
                <a:gd name="T24" fmla="*/ 385 w 406"/>
                <a:gd name="T25" fmla="*/ 242 h 296"/>
                <a:gd name="T26" fmla="*/ 309 w 406"/>
                <a:gd name="T27" fmla="*/ 221 h 296"/>
                <a:gd name="T28" fmla="*/ 281 w 406"/>
                <a:gd name="T29" fmla="*/ 259 h 296"/>
                <a:gd name="T30" fmla="*/ 215 w 406"/>
                <a:gd name="T31" fmla="*/ 296 h 296"/>
                <a:gd name="T32" fmla="*/ 177 w 406"/>
                <a:gd name="T33" fmla="*/ 266 h 296"/>
                <a:gd name="T34" fmla="*/ 198 w 406"/>
                <a:gd name="T35" fmla="*/ 262 h 296"/>
                <a:gd name="T36" fmla="*/ 196 w 406"/>
                <a:gd name="T37" fmla="*/ 249 h 296"/>
                <a:gd name="T38" fmla="*/ 168 w 406"/>
                <a:gd name="T39" fmla="*/ 230 h 296"/>
                <a:gd name="T40" fmla="*/ 134 w 406"/>
                <a:gd name="T41" fmla="*/ 236 h 296"/>
                <a:gd name="T42" fmla="*/ 98 w 406"/>
                <a:gd name="T43" fmla="*/ 206 h 296"/>
                <a:gd name="T44" fmla="*/ 70 w 406"/>
                <a:gd name="T45" fmla="*/ 219 h 296"/>
                <a:gd name="T46" fmla="*/ 0 w 406"/>
                <a:gd name="T47" fmla="*/ 202 h 296"/>
                <a:gd name="T48" fmla="*/ 22 w 406"/>
                <a:gd name="T49" fmla="*/ 13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06" h="296">
                  <a:moveTo>
                    <a:pt x="22" y="130"/>
                  </a:moveTo>
                  <a:lnTo>
                    <a:pt x="124" y="72"/>
                  </a:lnTo>
                  <a:lnTo>
                    <a:pt x="249" y="45"/>
                  </a:lnTo>
                  <a:lnTo>
                    <a:pt x="313" y="0"/>
                  </a:lnTo>
                  <a:lnTo>
                    <a:pt x="319" y="4"/>
                  </a:lnTo>
                  <a:lnTo>
                    <a:pt x="385" y="60"/>
                  </a:lnTo>
                  <a:lnTo>
                    <a:pt x="406" y="115"/>
                  </a:lnTo>
                  <a:lnTo>
                    <a:pt x="383" y="136"/>
                  </a:lnTo>
                  <a:lnTo>
                    <a:pt x="398" y="142"/>
                  </a:lnTo>
                  <a:lnTo>
                    <a:pt x="385" y="155"/>
                  </a:lnTo>
                  <a:lnTo>
                    <a:pt x="389" y="208"/>
                  </a:lnTo>
                  <a:lnTo>
                    <a:pt x="404" y="213"/>
                  </a:lnTo>
                  <a:lnTo>
                    <a:pt x="385" y="242"/>
                  </a:lnTo>
                  <a:lnTo>
                    <a:pt x="309" y="221"/>
                  </a:lnTo>
                  <a:lnTo>
                    <a:pt x="281" y="259"/>
                  </a:lnTo>
                  <a:lnTo>
                    <a:pt x="215" y="296"/>
                  </a:lnTo>
                  <a:lnTo>
                    <a:pt x="177" y="266"/>
                  </a:lnTo>
                  <a:lnTo>
                    <a:pt x="198" y="262"/>
                  </a:lnTo>
                  <a:lnTo>
                    <a:pt x="196" y="249"/>
                  </a:lnTo>
                  <a:lnTo>
                    <a:pt x="168" y="230"/>
                  </a:lnTo>
                  <a:lnTo>
                    <a:pt x="134" y="236"/>
                  </a:lnTo>
                  <a:lnTo>
                    <a:pt x="98" y="206"/>
                  </a:lnTo>
                  <a:lnTo>
                    <a:pt x="70" y="219"/>
                  </a:lnTo>
                  <a:lnTo>
                    <a:pt x="0" y="202"/>
                  </a:lnTo>
                  <a:lnTo>
                    <a:pt x="22" y="13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1" name="Freeform 74">
              <a:extLst>
                <a:ext uri="{FF2B5EF4-FFF2-40B4-BE49-F238E27FC236}">
                  <a16:creationId xmlns:a16="http://schemas.microsoft.com/office/drawing/2014/main" id="{83F67E82-EA90-4DD9-B88C-D49048A369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6384" y="2567352"/>
              <a:ext cx="284057" cy="353151"/>
            </a:xfrm>
            <a:custGeom>
              <a:avLst/>
              <a:gdLst>
                <a:gd name="T0" fmla="*/ 0 w 185"/>
                <a:gd name="T1" fmla="*/ 9 h 230"/>
                <a:gd name="T2" fmla="*/ 41 w 185"/>
                <a:gd name="T3" fmla="*/ 0 h 230"/>
                <a:gd name="T4" fmla="*/ 41 w 185"/>
                <a:gd name="T5" fmla="*/ 5 h 230"/>
                <a:gd name="T6" fmla="*/ 75 w 185"/>
                <a:gd name="T7" fmla="*/ 9 h 230"/>
                <a:gd name="T8" fmla="*/ 77 w 185"/>
                <a:gd name="T9" fmla="*/ 9 h 230"/>
                <a:gd name="T10" fmla="*/ 81 w 185"/>
                <a:gd name="T11" fmla="*/ 11 h 230"/>
                <a:gd name="T12" fmla="*/ 83 w 185"/>
                <a:gd name="T13" fmla="*/ 11 h 230"/>
                <a:gd name="T14" fmla="*/ 140 w 185"/>
                <a:gd name="T15" fmla="*/ 34 h 230"/>
                <a:gd name="T16" fmla="*/ 162 w 185"/>
                <a:gd name="T17" fmla="*/ 28 h 230"/>
                <a:gd name="T18" fmla="*/ 181 w 185"/>
                <a:gd name="T19" fmla="*/ 66 h 230"/>
                <a:gd name="T20" fmla="*/ 168 w 185"/>
                <a:gd name="T21" fmla="*/ 92 h 230"/>
                <a:gd name="T22" fmla="*/ 168 w 185"/>
                <a:gd name="T23" fmla="*/ 94 h 230"/>
                <a:gd name="T24" fmla="*/ 185 w 185"/>
                <a:gd name="T25" fmla="*/ 115 h 230"/>
                <a:gd name="T26" fmla="*/ 132 w 185"/>
                <a:gd name="T27" fmla="*/ 158 h 230"/>
                <a:gd name="T28" fmla="*/ 145 w 185"/>
                <a:gd name="T29" fmla="*/ 173 h 230"/>
                <a:gd name="T30" fmla="*/ 134 w 185"/>
                <a:gd name="T31" fmla="*/ 194 h 230"/>
                <a:gd name="T32" fmla="*/ 115 w 185"/>
                <a:gd name="T33" fmla="*/ 192 h 230"/>
                <a:gd name="T34" fmla="*/ 126 w 185"/>
                <a:gd name="T35" fmla="*/ 202 h 230"/>
                <a:gd name="T36" fmla="*/ 109 w 185"/>
                <a:gd name="T37" fmla="*/ 226 h 230"/>
                <a:gd name="T38" fmla="*/ 111 w 185"/>
                <a:gd name="T39" fmla="*/ 230 h 230"/>
                <a:gd name="T40" fmla="*/ 83 w 185"/>
                <a:gd name="T41" fmla="*/ 226 h 230"/>
                <a:gd name="T42" fmla="*/ 77 w 185"/>
                <a:gd name="T43" fmla="*/ 194 h 230"/>
                <a:gd name="T44" fmla="*/ 34 w 185"/>
                <a:gd name="T45" fmla="*/ 154 h 230"/>
                <a:gd name="T46" fmla="*/ 34 w 185"/>
                <a:gd name="T47" fmla="*/ 90 h 230"/>
                <a:gd name="T48" fmla="*/ 13 w 185"/>
                <a:gd name="T49" fmla="*/ 51 h 230"/>
                <a:gd name="T50" fmla="*/ 0 w 185"/>
                <a:gd name="T51" fmla="*/ 11 h 230"/>
                <a:gd name="T52" fmla="*/ 0 w 185"/>
                <a:gd name="T53" fmla="*/ 9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85" h="230">
                  <a:moveTo>
                    <a:pt x="0" y="9"/>
                  </a:moveTo>
                  <a:lnTo>
                    <a:pt x="41" y="0"/>
                  </a:lnTo>
                  <a:lnTo>
                    <a:pt x="41" y="5"/>
                  </a:lnTo>
                  <a:lnTo>
                    <a:pt x="75" y="9"/>
                  </a:lnTo>
                  <a:lnTo>
                    <a:pt x="77" y="9"/>
                  </a:lnTo>
                  <a:lnTo>
                    <a:pt x="81" y="11"/>
                  </a:lnTo>
                  <a:lnTo>
                    <a:pt x="83" y="11"/>
                  </a:lnTo>
                  <a:lnTo>
                    <a:pt x="140" y="34"/>
                  </a:lnTo>
                  <a:lnTo>
                    <a:pt x="162" y="28"/>
                  </a:lnTo>
                  <a:lnTo>
                    <a:pt x="181" y="66"/>
                  </a:lnTo>
                  <a:lnTo>
                    <a:pt x="168" y="92"/>
                  </a:lnTo>
                  <a:lnTo>
                    <a:pt x="168" y="94"/>
                  </a:lnTo>
                  <a:lnTo>
                    <a:pt x="185" y="115"/>
                  </a:lnTo>
                  <a:lnTo>
                    <a:pt x="132" y="158"/>
                  </a:lnTo>
                  <a:lnTo>
                    <a:pt x="145" y="173"/>
                  </a:lnTo>
                  <a:lnTo>
                    <a:pt x="134" y="194"/>
                  </a:lnTo>
                  <a:lnTo>
                    <a:pt x="115" y="192"/>
                  </a:lnTo>
                  <a:lnTo>
                    <a:pt x="126" y="202"/>
                  </a:lnTo>
                  <a:lnTo>
                    <a:pt x="109" y="226"/>
                  </a:lnTo>
                  <a:lnTo>
                    <a:pt x="111" y="230"/>
                  </a:lnTo>
                  <a:lnTo>
                    <a:pt x="83" y="226"/>
                  </a:lnTo>
                  <a:lnTo>
                    <a:pt x="77" y="194"/>
                  </a:lnTo>
                  <a:lnTo>
                    <a:pt x="34" y="154"/>
                  </a:lnTo>
                  <a:lnTo>
                    <a:pt x="34" y="90"/>
                  </a:lnTo>
                  <a:lnTo>
                    <a:pt x="13" y="51"/>
                  </a:lnTo>
                  <a:lnTo>
                    <a:pt x="0" y="11"/>
                  </a:lnTo>
                  <a:lnTo>
                    <a:pt x="0" y="9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2" name="Freeform 75">
              <a:extLst>
                <a:ext uri="{FF2B5EF4-FFF2-40B4-BE49-F238E27FC236}">
                  <a16:creationId xmlns:a16="http://schemas.microsoft.com/office/drawing/2014/main" id="{AFBACD53-A5CA-4098-8476-0BB357828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4140" y="5312720"/>
              <a:ext cx="565042" cy="460632"/>
            </a:xfrm>
            <a:custGeom>
              <a:avLst/>
              <a:gdLst>
                <a:gd name="T0" fmla="*/ 0 w 368"/>
                <a:gd name="T1" fmla="*/ 90 h 300"/>
                <a:gd name="T2" fmla="*/ 4 w 368"/>
                <a:gd name="T3" fmla="*/ 102 h 300"/>
                <a:gd name="T4" fmla="*/ 13 w 368"/>
                <a:gd name="T5" fmla="*/ 139 h 300"/>
                <a:gd name="T6" fmla="*/ 42 w 368"/>
                <a:gd name="T7" fmla="*/ 175 h 300"/>
                <a:gd name="T8" fmla="*/ 32 w 368"/>
                <a:gd name="T9" fmla="*/ 183 h 300"/>
                <a:gd name="T10" fmla="*/ 49 w 368"/>
                <a:gd name="T11" fmla="*/ 194 h 300"/>
                <a:gd name="T12" fmla="*/ 38 w 368"/>
                <a:gd name="T13" fmla="*/ 209 h 300"/>
                <a:gd name="T14" fmla="*/ 96 w 368"/>
                <a:gd name="T15" fmla="*/ 256 h 300"/>
                <a:gd name="T16" fmla="*/ 132 w 368"/>
                <a:gd name="T17" fmla="*/ 256 h 300"/>
                <a:gd name="T18" fmla="*/ 127 w 368"/>
                <a:gd name="T19" fmla="*/ 281 h 300"/>
                <a:gd name="T20" fmla="*/ 174 w 368"/>
                <a:gd name="T21" fmla="*/ 300 h 300"/>
                <a:gd name="T22" fmla="*/ 187 w 368"/>
                <a:gd name="T23" fmla="*/ 273 h 300"/>
                <a:gd name="T24" fmla="*/ 270 w 368"/>
                <a:gd name="T25" fmla="*/ 287 h 300"/>
                <a:gd name="T26" fmla="*/ 297 w 368"/>
                <a:gd name="T27" fmla="*/ 270 h 300"/>
                <a:gd name="T28" fmla="*/ 283 w 368"/>
                <a:gd name="T29" fmla="*/ 234 h 300"/>
                <a:gd name="T30" fmla="*/ 291 w 368"/>
                <a:gd name="T31" fmla="*/ 202 h 300"/>
                <a:gd name="T32" fmla="*/ 319 w 368"/>
                <a:gd name="T33" fmla="*/ 217 h 300"/>
                <a:gd name="T34" fmla="*/ 368 w 368"/>
                <a:gd name="T35" fmla="*/ 187 h 300"/>
                <a:gd name="T36" fmla="*/ 359 w 368"/>
                <a:gd name="T37" fmla="*/ 170 h 300"/>
                <a:gd name="T38" fmla="*/ 317 w 368"/>
                <a:gd name="T39" fmla="*/ 175 h 300"/>
                <a:gd name="T40" fmla="*/ 287 w 368"/>
                <a:gd name="T41" fmla="*/ 156 h 300"/>
                <a:gd name="T42" fmla="*/ 253 w 368"/>
                <a:gd name="T43" fmla="*/ 71 h 300"/>
                <a:gd name="T44" fmla="*/ 210 w 368"/>
                <a:gd name="T45" fmla="*/ 28 h 300"/>
                <a:gd name="T46" fmla="*/ 172 w 368"/>
                <a:gd name="T47" fmla="*/ 24 h 300"/>
                <a:gd name="T48" fmla="*/ 183 w 368"/>
                <a:gd name="T49" fmla="*/ 15 h 300"/>
                <a:gd name="T50" fmla="*/ 161 w 368"/>
                <a:gd name="T51" fmla="*/ 0 h 300"/>
                <a:gd name="T52" fmla="*/ 121 w 368"/>
                <a:gd name="T53" fmla="*/ 17 h 300"/>
                <a:gd name="T54" fmla="*/ 102 w 368"/>
                <a:gd name="T55" fmla="*/ 13 h 300"/>
                <a:gd name="T56" fmla="*/ 64 w 368"/>
                <a:gd name="T57" fmla="*/ 37 h 300"/>
                <a:gd name="T58" fmla="*/ 32 w 368"/>
                <a:gd name="T59" fmla="*/ 30 h 300"/>
                <a:gd name="T60" fmla="*/ 45 w 368"/>
                <a:gd name="T61" fmla="*/ 56 h 300"/>
                <a:gd name="T62" fmla="*/ 21 w 368"/>
                <a:gd name="T63" fmla="*/ 85 h 300"/>
                <a:gd name="T64" fmla="*/ 0 w 368"/>
                <a:gd name="T65" fmla="*/ 88 h 300"/>
                <a:gd name="T66" fmla="*/ 0 w 368"/>
                <a:gd name="T67" fmla="*/ 9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68" h="300">
                  <a:moveTo>
                    <a:pt x="0" y="90"/>
                  </a:moveTo>
                  <a:lnTo>
                    <a:pt x="4" y="102"/>
                  </a:lnTo>
                  <a:lnTo>
                    <a:pt x="13" y="139"/>
                  </a:lnTo>
                  <a:lnTo>
                    <a:pt x="42" y="175"/>
                  </a:lnTo>
                  <a:lnTo>
                    <a:pt x="32" y="183"/>
                  </a:lnTo>
                  <a:lnTo>
                    <a:pt x="49" y="194"/>
                  </a:lnTo>
                  <a:lnTo>
                    <a:pt x="38" y="209"/>
                  </a:lnTo>
                  <a:lnTo>
                    <a:pt x="96" y="256"/>
                  </a:lnTo>
                  <a:lnTo>
                    <a:pt x="132" y="256"/>
                  </a:lnTo>
                  <a:lnTo>
                    <a:pt x="127" y="281"/>
                  </a:lnTo>
                  <a:lnTo>
                    <a:pt x="174" y="300"/>
                  </a:lnTo>
                  <a:lnTo>
                    <a:pt x="187" y="273"/>
                  </a:lnTo>
                  <a:lnTo>
                    <a:pt x="270" y="287"/>
                  </a:lnTo>
                  <a:lnTo>
                    <a:pt x="297" y="270"/>
                  </a:lnTo>
                  <a:lnTo>
                    <a:pt x="283" y="234"/>
                  </a:lnTo>
                  <a:lnTo>
                    <a:pt x="291" y="202"/>
                  </a:lnTo>
                  <a:lnTo>
                    <a:pt x="319" y="217"/>
                  </a:lnTo>
                  <a:lnTo>
                    <a:pt x="368" y="187"/>
                  </a:lnTo>
                  <a:lnTo>
                    <a:pt x="359" y="170"/>
                  </a:lnTo>
                  <a:lnTo>
                    <a:pt x="317" y="175"/>
                  </a:lnTo>
                  <a:lnTo>
                    <a:pt x="287" y="156"/>
                  </a:lnTo>
                  <a:lnTo>
                    <a:pt x="253" y="71"/>
                  </a:lnTo>
                  <a:lnTo>
                    <a:pt x="210" y="28"/>
                  </a:lnTo>
                  <a:lnTo>
                    <a:pt x="172" y="24"/>
                  </a:lnTo>
                  <a:lnTo>
                    <a:pt x="183" y="15"/>
                  </a:lnTo>
                  <a:lnTo>
                    <a:pt x="161" y="0"/>
                  </a:lnTo>
                  <a:lnTo>
                    <a:pt x="121" y="17"/>
                  </a:lnTo>
                  <a:lnTo>
                    <a:pt x="102" y="13"/>
                  </a:lnTo>
                  <a:lnTo>
                    <a:pt x="64" y="37"/>
                  </a:lnTo>
                  <a:lnTo>
                    <a:pt x="32" y="30"/>
                  </a:lnTo>
                  <a:lnTo>
                    <a:pt x="45" y="56"/>
                  </a:lnTo>
                  <a:lnTo>
                    <a:pt x="21" y="85"/>
                  </a:lnTo>
                  <a:lnTo>
                    <a:pt x="0" y="88"/>
                  </a:lnTo>
                  <a:lnTo>
                    <a:pt x="0" y="9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3" name="Freeform 76">
              <a:extLst>
                <a:ext uri="{FF2B5EF4-FFF2-40B4-BE49-F238E27FC236}">
                  <a16:creationId xmlns:a16="http://schemas.microsoft.com/office/drawing/2014/main" id="{E36DC752-9D48-45D3-9CD7-3F5F42DA461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4769" y="5199097"/>
              <a:ext cx="505160" cy="345475"/>
            </a:xfrm>
            <a:custGeom>
              <a:avLst/>
              <a:gdLst>
                <a:gd name="T0" fmla="*/ 0 w 329"/>
                <a:gd name="T1" fmla="*/ 106 h 225"/>
                <a:gd name="T2" fmla="*/ 12 w 329"/>
                <a:gd name="T3" fmla="*/ 87 h 225"/>
                <a:gd name="T4" fmla="*/ 36 w 329"/>
                <a:gd name="T5" fmla="*/ 91 h 225"/>
                <a:gd name="T6" fmla="*/ 29 w 329"/>
                <a:gd name="T7" fmla="*/ 74 h 225"/>
                <a:gd name="T8" fmla="*/ 55 w 329"/>
                <a:gd name="T9" fmla="*/ 40 h 225"/>
                <a:gd name="T10" fmla="*/ 36 w 329"/>
                <a:gd name="T11" fmla="*/ 26 h 225"/>
                <a:gd name="T12" fmla="*/ 42 w 329"/>
                <a:gd name="T13" fmla="*/ 4 h 225"/>
                <a:gd name="T14" fmla="*/ 87 w 329"/>
                <a:gd name="T15" fmla="*/ 2 h 225"/>
                <a:gd name="T16" fmla="*/ 104 w 329"/>
                <a:gd name="T17" fmla="*/ 0 h 225"/>
                <a:gd name="T18" fmla="*/ 91 w 329"/>
                <a:gd name="T19" fmla="*/ 13 h 225"/>
                <a:gd name="T20" fmla="*/ 125 w 329"/>
                <a:gd name="T21" fmla="*/ 43 h 225"/>
                <a:gd name="T22" fmla="*/ 146 w 329"/>
                <a:gd name="T23" fmla="*/ 36 h 225"/>
                <a:gd name="T24" fmla="*/ 144 w 329"/>
                <a:gd name="T25" fmla="*/ 55 h 225"/>
                <a:gd name="T26" fmla="*/ 161 w 329"/>
                <a:gd name="T27" fmla="*/ 68 h 225"/>
                <a:gd name="T28" fmla="*/ 193 w 329"/>
                <a:gd name="T29" fmla="*/ 40 h 225"/>
                <a:gd name="T30" fmla="*/ 212 w 329"/>
                <a:gd name="T31" fmla="*/ 60 h 225"/>
                <a:gd name="T32" fmla="*/ 221 w 329"/>
                <a:gd name="T33" fmla="*/ 34 h 225"/>
                <a:gd name="T34" fmla="*/ 236 w 329"/>
                <a:gd name="T35" fmla="*/ 47 h 225"/>
                <a:gd name="T36" fmla="*/ 299 w 329"/>
                <a:gd name="T37" fmla="*/ 23 h 225"/>
                <a:gd name="T38" fmla="*/ 297 w 329"/>
                <a:gd name="T39" fmla="*/ 40 h 225"/>
                <a:gd name="T40" fmla="*/ 323 w 329"/>
                <a:gd name="T41" fmla="*/ 45 h 225"/>
                <a:gd name="T42" fmla="*/ 301 w 329"/>
                <a:gd name="T43" fmla="*/ 70 h 225"/>
                <a:gd name="T44" fmla="*/ 329 w 329"/>
                <a:gd name="T45" fmla="*/ 91 h 225"/>
                <a:gd name="T46" fmla="*/ 310 w 329"/>
                <a:gd name="T47" fmla="*/ 87 h 225"/>
                <a:gd name="T48" fmla="*/ 272 w 329"/>
                <a:gd name="T49" fmla="*/ 111 h 225"/>
                <a:gd name="T50" fmla="*/ 240 w 329"/>
                <a:gd name="T51" fmla="*/ 104 h 225"/>
                <a:gd name="T52" fmla="*/ 253 w 329"/>
                <a:gd name="T53" fmla="*/ 130 h 225"/>
                <a:gd name="T54" fmla="*/ 229 w 329"/>
                <a:gd name="T55" fmla="*/ 159 h 225"/>
                <a:gd name="T56" fmla="*/ 208 w 329"/>
                <a:gd name="T57" fmla="*/ 162 h 225"/>
                <a:gd name="T58" fmla="*/ 208 w 329"/>
                <a:gd name="T59" fmla="*/ 164 h 225"/>
                <a:gd name="T60" fmla="*/ 212 w 329"/>
                <a:gd name="T61" fmla="*/ 176 h 225"/>
                <a:gd name="T62" fmla="*/ 161 w 329"/>
                <a:gd name="T63" fmla="*/ 183 h 225"/>
                <a:gd name="T64" fmla="*/ 144 w 329"/>
                <a:gd name="T65" fmla="*/ 198 h 225"/>
                <a:gd name="T66" fmla="*/ 159 w 329"/>
                <a:gd name="T67" fmla="*/ 208 h 225"/>
                <a:gd name="T68" fmla="*/ 121 w 329"/>
                <a:gd name="T69" fmla="*/ 225 h 225"/>
                <a:gd name="T70" fmla="*/ 104 w 329"/>
                <a:gd name="T71" fmla="*/ 206 h 225"/>
                <a:gd name="T72" fmla="*/ 51 w 329"/>
                <a:gd name="T73" fmla="*/ 217 h 225"/>
                <a:gd name="T74" fmla="*/ 38 w 329"/>
                <a:gd name="T75" fmla="*/ 217 h 225"/>
                <a:gd name="T76" fmla="*/ 36 w 329"/>
                <a:gd name="T77" fmla="*/ 172 h 225"/>
                <a:gd name="T78" fmla="*/ 2 w 329"/>
                <a:gd name="T79" fmla="*/ 159 h 225"/>
                <a:gd name="T80" fmla="*/ 29 w 329"/>
                <a:gd name="T81" fmla="*/ 123 h 225"/>
                <a:gd name="T82" fmla="*/ 0 w 329"/>
                <a:gd name="T83" fmla="*/ 115 h 225"/>
                <a:gd name="T84" fmla="*/ 0 w 329"/>
                <a:gd name="T85" fmla="*/ 106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9" h="225">
                  <a:moveTo>
                    <a:pt x="0" y="106"/>
                  </a:moveTo>
                  <a:lnTo>
                    <a:pt x="12" y="87"/>
                  </a:lnTo>
                  <a:lnTo>
                    <a:pt x="36" y="91"/>
                  </a:lnTo>
                  <a:lnTo>
                    <a:pt x="29" y="74"/>
                  </a:lnTo>
                  <a:lnTo>
                    <a:pt x="55" y="40"/>
                  </a:lnTo>
                  <a:lnTo>
                    <a:pt x="36" y="26"/>
                  </a:lnTo>
                  <a:lnTo>
                    <a:pt x="42" y="4"/>
                  </a:lnTo>
                  <a:lnTo>
                    <a:pt x="87" y="2"/>
                  </a:lnTo>
                  <a:lnTo>
                    <a:pt x="104" y="0"/>
                  </a:lnTo>
                  <a:lnTo>
                    <a:pt x="91" y="13"/>
                  </a:lnTo>
                  <a:lnTo>
                    <a:pt x="125" y="43"/>
                  </a:lnTo>
                  <a:lnTo>
                    <a:pt x="146" y="36"/>
                  </a:lnTo>
                  <a:lnTo>
                    <a:pt x="144" y="55"/>
                  </a:lnTo>
                  <a:lnTo>
                    <a:pt x="161" y="68"/>
                  </a:lnTo>
                  <a:lnTo>
                    <a:pt x="193" y="40"/>
                  </a:lnTo>
                  <a:lnTo>
                    <a:pt x="212" y="60"/>
                  </a:lnTo>
                  <a:lnTo>
                    <a:pt x="221" y="34"/>
                  </a:lnTo>
                  <a:lnTo>
                    <a:pt x="236" y="47"/>
                  </a:lnTo>
                  <a:lnTo>
                    <a:pt x="299" y="23"/>
                  </a:lnTo>
                  <a:lnTo>
                    <a:pt x="297" y="40"/>
                  </a:lnTo>
                  <a:lnTo>
                    <a:pt x="323" y="45"/>
                  </a:lnTo>
                  <a:lnTo>
                    <a:pt x="301" y="70"/>
                  </a:lnTo>
                  <a:lnTo>
                    <a:pt x="329" y="91"/>
                  </a:lnTo>
                  <a:lnTo>
                    <a:pt x="310" y="87"/>
                  </a:lnTo>
                  <a:lnTo>
                    <a:pt x="272" y="111"/>
                  </a:lnTo>
                  <a:lnTo>
                    <a:pt x="240" y="104"/>
                  </a:lnTo>
                  <a:lnTo>
                    <a:pt x="253" y="130"/>
                  </a:lnTo>
                  <a:lnTo>
                    <a:pt x="229" y="159"/>
                  </a:lnTo>
                  <a:lnTo>
                    <a:pt x="208" y="162"/>
                  </a:lnTo>
                  <a:lnTo>
                    <a:pt x="208" y="164"/>
                  </a:lnTo>
                  <a:lnTo>
                    <a:pt x="212" y="176"/>
                  </a:lnTo>
                  <a:lnTo>
                    <a:pt x="161" y="183"/>
                  </a:lnTo>
                  <a:lnTo>
                    <a:pt x="144" y="198"/>
                  </a:lnTo>
                  <a:lnTo>
                    <a:pt x="159" y="208"/>
                  </a:lnTo>
                  <a:lnTo>
                    <a:pt x="121" y="225"/>
                  </a:lnTo>
                  <a:lnTo>
                    <a:pt x="104" y="206"/>
                  </a:lnTo>
                  <a:lnTo>
                    <a:pt x="51" y="217"/>
                  </a:lnTo>
                  <a:lnTo>
                    <a:pt x="38" y="217"/>
                  </a:lnTo>
                  <a:lnTo>
                    <a:pt x="36" y="172"/>
                  </a:lnTo>
                  <a:lnTo>
                    <a:pt x="2" y="159"/>
                  </a:lnTo>
                  <a:lnTo>
                    <a:pt x="29" y="123"/>
                  </a:lnTo>
                  <a:lnTo>
                    <a:pt x="0" y="115"/>
                  </a:lnTo>
                  <a:lnTo>
                    <a:pt x="0" y="10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4" name="Freeform 77">
              <a:extLst>
                <a:ext uri="{FF2B5EF4-FFF2-40B4-BE49-F238E27FC236}">
                  <a16:creationId xmlns:a16="http://schemas.microsoft.com/office/drawing/2014/main" id="{372A1DFA-96D1-4B81-B045-70AA6D63CD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949" y="4069013"/>
              <a:ext cx="495948" cy="535869"/>
            </a:xfrm>
            <a:custGeom>
              <a:avLst/>
              <a:gdLst>
                <a:gd name="T0" fmla="*/ 6 w 323"/>
                <a:gd name="T1" fmla="*/ 243 h 349"/>
                <a:gd name="T2" fmla="*/ 23 w 323"/>
                <a:gd name="T3" fmla="*/ 213 h 349"/>
                <a:gd name="T4" fmla="*/ 40 w 323"/>
                <a:gd name="T5" fmla="*/ 217 h 349"/>
                <a:gd name="T6" fmla="*/ 49 w 323"/>
                <a:gd name="T7" fmla="*/ 168 h 349"/>
                <a:gd name="T8" fmla="*/ 83 w 323"/>
                <a:gd name="T9" fmla="*/ 153 h 349"/>
                <a:gd name="T10" fmla="*/ 51 w 323"/>
                <a:gd name="T11" fmla="*/ 124 h 349"/>
                <a:gd name="T12" fmla="*/ 55 w 323"/>
                <a:gd name="T13" fmla="*/ 96 h 349"/>
                <a:gd name="T14" fmla="*/ 53 w 323"/>
                <a:gd name="T15" fmla="*/ 60 h 349"/>
                <a:gd name="T16" fmla="*/ 147 w 323"/>
                <a:gd name="T17" fmla="*/ 5 h 349"/>
                <a:gd name="T18" fmla="*/ 191 w 323"/>
                <a:gd name="T19" fmla="*/ 0 h 349"/>
                <a:gd name="T20" fmla="*/ 208 w 323"/>
                <a:gd name="T21" fmla="*/ 20 h 349"/>
                <a:gd name="T22" fmla="*/ 211 w 323"/>
                <a:gd name="T23" fmla="*/ 49 h 349"/>
                <a:gd name="T24" fmla="*/ 196 w 323"/>
                <a:gd name="T25" fmla="*/ 68 h 349"/>
                <a:gd name="T26" fmla="*/ 198 w 323"/>
                <a:gd name="T27" fmla="*/ 75 h 349"/>
                <a:gd name="T28" fmla="*/ 223 w 323"/>
                <a:gd name="T29" fmla="*/ 96 h 349"/>
                <a:gd name="T30" fmla="*/ 242 w 323"/>
                <a:gd name="T31" fmla="*/ 153 h 349"/>
                <a:gd name="T32" fmla="*/ 223 w 323"/>
                <a:gd name="T33" fmla="*/ 170 h 349"/>
                <a:gd name="T34" fmla="*/ 257 w 323"/>
                <a:gd name="T35" fmla="*/ 177 h 349"/>
                <a:gd name="T36" fmla="*/ 253 w 323"/>
                <a:gd name="T37" fmla="*/ 204 h 349"/>
                <a:gd name="T38" fmla="*/ 291 w 323"/>
                <a:gd name="T39" fmla="*/ 198 h 349"/>
                <a:gd name="T40" fmla="*/ 319 w 323"/>
                <a:gd name="T41" fmla="*/ 226 h 349"/>
                <a:gd name="T42" fmla="*/ 323 w 323"/>
                <a:gd name="T43" fmla="*/ 260 h 349"/>
                <a:gd name="T44" fmla="*/ 157 w 323"/>
                <a:gd name="T45" fmla="*/ 349 h 349"/>
                <a:gd name="T46" fmla="*/ 121 w 323"/>
                <a:gd name="T47" fmla="*/ 334 h 349"/>
                <a:gd name="T48" fmla="*/ 136 w 323"/>
                <a:gd name="T49" fmla="*/ 319 h 349"/>
                <a:gd name="T50" fmla="*/ 115 w 323"/>
                <a:gd name="T51" fmla="*/ 315 h 349"/>
                <a:gd name="T52" fmla="*/ 100 w 323"/>
                <a:gd name="T53" fmla="*/ 287 h 349"/>
                <a:gd name="T54" fmla="*/ 60 w 323"/>
                <a:gd name="T55" fmla="*/ 283 h 349"/>
                <a:gd name="T56" fmla="*/ 45 w 323"/>
                <a:gd name="T57" fmla="*/ 298 h 349"/>
                <a:gd name="T58" fmla="*/ 28 w 323"/>
                <a:gd name="T59" fmla="*/ 258 h 349"/>
                <a:gd name="T60" fmla="*/ 0 w 323"/>
                <a:gd name="T61" fmla="*/ 247 h 349"/>
                <a:gd name="T62" fmla="*/ 6 w 323"/>
                <a:gd name="T63" fmla="*/ 243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3" h="349">
                  <a:moveTo>
                    <a:pt x="6" y="243"/>
                  </a:moveTo>
                  <a:lnTo>
                    <a:pt x="23" y="213"/>
                  </a:lnTo>
                  <a:lnTo>
                    <a:pt x="40" y="217"/>
                  </a:lnTo>
                  <a:lnTo>
                    <a:pt x="49" y="168"/>
                  </a:lnTo>
                  <a:lnTo>
                    <a:pt x="83" y="153"/>
                  </a:lnTo>
                  <a:lnTo>
                    <a:pt x="51" y="124"/>
                  </a:lnTo>
                  <a:lnTo>
                    <a:pt x="55" y="96"/>
                  </a:lnTo>
                  <a:lnTo>
                    <a:pt x="53" y="60"/>
                  </a:lnTo>
                  <a:lnTo>
                    <a:pt x="147" y="5"/>
                  </a:lnTo>
                  <a:lnTo>
                    <a:pt x="191" y="0"/>
                  </a:lnTo>
                  <a:lnTo>
                    <a:pt x="208" y="20"/>
                  </a:lnTo>
                  <a:lnTo>
                    <a:pt x="211" y="49"/>
                  </a:lnTo>
                  <a:lnTo>
                    <a:pt x="196" y="68"/>
                  </a:lnTo>
                  <a:lnTo>
                    <a:pt x="198" y="75"/>
                  </a:lnTo>
                  <a:lnTo>
                    <a:pt x="223" y="96"/>
                  </a:lnTo>
                  <a:lnTo>
                    <a:pt x="242" y="153"/>
                  </a:lnTo>
                  <a:lnTo>
                    <a:pt x="223" y="170"/>
                  </a:lnTo>
                  <a:lnTo>
                    <a:pt x="257" y="177"/>
                  </a:lnTo>
                  <a:lnTo>
                    <a:pt x="253" y="204"/>
                  </a:lnTo>
                  <a:lnTo>
                    <a:pt x="291" y="198"/>
                  </a:lnTo>
                  <a:lnTo>
                    <a:pt x="319" y="226"/>
                  </a:lnTo>
                  <a:lnTo>
                    <a:pt x="323" y="260"/>
                  </a:lnTo>
                  <a:lnTo>
                    <a:pt x="157" y="349"/>
                  </a:lnTo>
                  <a:lnTo>
                    <a:pt x="121" y="334"/>
                  </a:lnTo>
                  <a:lnTo>
                    <a:pt x="136" y="319"/>
                  </a:lnTo>
                  <a:lnTo>
                    <a:pt x="115" y="315"/>
                  </a:lnTo>
                  <a:lnTo>
                    <a:pt x="100" y="287"/>
                  </a:lnTo>
                  <a:lnTo>
                    <a:pt x="60" y="283"/>
                  </a:lnTo>
                  <a:lnTo>
                    <a:pt x="45" y="298"/>
                  </a:lnTo>
                  <a:lnTo>
                    <a:pt x="28" y="258"/>
                  </a:lnTo>
                  <a:lnTo>
                    <a:pt x="0" y="247"/>
                  </a:lnTo>
                  <a:lnTo>
                    <a:pt x="6" y="24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5" name="Freeform 78">
              <a:extLst>
                <a:ext uri="{FF2B5EF4-FFF2-40B4-BE49-F238E27FC236}">
                  <a16:creationId xmlns:a16="http://schemas.microsoft.com/office/drawing/2014/main" id="{CD1AF834-8739-4C14-B58B-41F86F113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2730" y="2865227"/>
              <a:ext cx="675594" cy="394609"/>
            </a:xfrm>
            <a:custGeom>
              <a:avLst/>
              <a:gdLst>
                <a:gd name="T0" fmla="*/ 0 w 440"/>
                <a:gd name="T1" fmla="*/ 62 h 257"/>
                <a:gd name="T2" fmla="*/ 78 w 440"/>
                <a:gd name="T3" fmla="*/ 119 h 257"/>
                <a:gd name="T4" fmla="*/ 61 w 440"/>
                <a:gd name="T5" fmla="*/ 170 h 257"/>
                <a:gd name="T6" fmla="*/ 125 w 440"/>
                <a:gd name="T7" fmla="*/ 225 h 257"/>
                <a:gd name="T8" fmla="*/ 182 w 440"/>
                <a:gd name="T9" fmla="*/ 187 h 257"/>
                <a:gd name="T10" fmla="*/ 204 w 440"/>
                <a:gd name="T11" fmla="*/ 221 h 257"/>
                <a:gd name="T12" fmla="*/ 253 w 440"/>
                <a:gd name="T13" fmla="*/ 215 h 257"/>
                <a:gd name="T14" fmla="*/ 253 w 440"/>
                <a:gd name="T15" fmla="*/ 215 h 257"/>
                <a:gd name="T16" fmla="*/ 270 w 440"/>
                <a:gd name="T17" fmla="*/ 234 h 257"/>
                <a:gd name="T18" fmla="*/ 299 w 440"/>
                <a:gd name="T19" fmla="*/ 213 h 257"/>
                <a:gd name="T20" fmla="*/ 355 w 440"/>
                <a:gd name="T21" fmla="*/ 257 h 257"/>
                <a:gd name="T22" fmla="*/ 361 w 440"/>
                <a:gd name="T23" fmla="*/ 255 h 257"/>
                <a:gd name="T24" fmla="*/ 378 w 440"/>
                <a:gd name="T25" fmla="*/ 244 h 257"/>
                <a:gd name="T26" fmla="*/ 382 w 440"/>
                <a:gd name="T27" fmla="*/ 193 h 257"/>
                <a:gd name="T28" fmla="*/ 440 w 440"/>
                <a:gd name="T29" fmla="*/ 72 h 257"/>
                <a:gd name="T30" fmla="*/ 410 w 440"/>
                <a:gd name="T31" fmla="*/ 59 h 257"/>
                <a:gd name="T32" fmla="*/ 416 w 440"/>
                <a:gd name="T33" fmla="*/ 0 h 257"/>
                <a:gd name="T34" fmla="*/ 335 w 440"/>
                <a:gd name="T35" fmla="*/ 49 h 257"/>
                <a:gd name="T36" fmla="*/ 299 w 440"/>
                <a:gd name="T37" fmla="*/ 21 h 257"/>
                <a:gd name="T38" fmla="*/ 287 w 440"/>
                <a:gd name="T39" fmla="*/ 40 h 257"/>
                <a:gd name="T40" fmla="*/ 246 w 440"/>
                <a:gd name="T41" fmla="*/ 51 h 257"/>
                <a:gd name="T42" fmla="*/ 219 w 440"/>
                <a:gd name="T43" fmla="*/ 36 h 257"/>
                <a:gd name="T44" fmla="*/ 182 w 440"/>
                <a:gd name="T45" fmla="*/ 49 h 257"/>
                <a:gd name="T46" fmla="*/ 174 w 440"/>
                <a:gd name="T47" fmla="*/ 68 h 257"/>
                <a:gd name="T48" fmla="*/ 167 w 440"/>
                <a:gd name="T49" fmla="*/ 57 h 257"/>
                <a:gd name="T50" fmla="*/ 138 w 440"/>
                <a:gd name="T51" fmla="*/ 70 h 257"/>
                <a:gd name="T52" fmla="*/ 129 w 440"/>
                <a:gd name="T53" fmla="*/ 40 h 257"/>
                <a:gd name="T54" fmla="*/ 112 w 440"/>
                <a:gd name="T55" fmla="*/ 49 h 257"/>
                <a:gd name="T56" fmla="*/ 121 w 440"/>
                <a:gd name="T57" fmla="*/ 17 h 257"/>
                <a:gd name="T58" fmla="*/ 87 w 440"/>
                <a:gd name="T59" fmla="*/ 19 h 257"/>
                <a:gd name="T60" fmla="*/ 17 w 440"/>
                <a:gd name="T61" fmla="*/ 47 h 257"/>
                <a:gd name="T62" fmla="*/ 0 w 440"/>
                <a:gd name="T63" fmla="*/ 59 h 257"/>
                <a:gd name="T64" fmla="*/ 0 w 440"/>
                <a:gd name="T65" fmla="*/ 62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0" h="257">
                  <a:moveTo>
                    <a:pt x="0" y="62"/>
                  </a:moveTo>
                  <a:lnTo>
                    <a:pt x="78" y="119"/>
                  </a:lnTo>
                  <a:lnTo>
                    <a:pt x="61" y="170"/>
                  </a:lnTo>
                  <a:lnTo>
                    <a:pt x="125" y="225"/>
                  </a:lnTo>
                  <a:lnTo>
                    <a:pt x="182" y="187"/>
                  </a:lnTo>
                  <a:lnTo>
                    <a:pt x="204" y="221"/>
                  </a:lnTo>
                  <a:lnTo>
                    <a:pt x="253" y="215"/>
                  </a:lnTo>
                  <a:lnTo>
                    <a:pt x="253" y="215"/>
                  </a:lnTo>
                  <a:lnTo>
                    <a:pt x="270" y="234"/>
                  </a:lnTo>
                  <a:lnTo>
                    <a:pt x="299" y="213"/>
                  </a:lnTo>
                  <a:lnTo>
                    <a:pt x="355" y="257"/>
                  </a:lnTo>
                  <a:lnTo>
                    <a:pt x="361" y="255"/>
                  </a:lnTo>
                  <a:lnTo>
                    <a:pt x="378" y="244"/>
                  </a:lnTo>
                  <a:lnTo>
                    <a:pt x="382" y="193"/>
                  </a:lnTo>
                  <a:lnTo>
                    <a:pt x="440" y="72"/>
                  </a:lnTo>
                  <a:lnTo>
                    <a:pt x="410" y="59"/>
                  </a:lnTo>
                  <a:lnTo>
                    <a:pt x="416" y="0"/>
                  </a:lnTo>
                  <a:lnTo>
                    <a:pt x="335" y="49"/>
                  </a:lnTo>
                  <a:lnTo>
                    <a:pt x="299" y="21"/>
                  </a:lnTo>
                  <a:lnTo>
                    <a:pt x="287" y="40"/>
                  </a:lnTo>
                  <a:lnTo>
                    <a:pt x="246" y="51"/>
                  </a:lnTo>
                  <a:lnTo>
                    <a:pt x="219" y="36"/>
                  </a:lnTo>
                  <a:lnTo>
                    <a:pt x="182" y="49"/>
                  </a:lnTo>
                  <a:lnTo>
                    <a:pt x="174" y="68"/>
                  </a:lnTo>
                  <a:lnTo>
                    <a:pt x="167" y="57"/>
                  </a:lnTo>
                  <a:lnTo>
                    <a:pt x="138" y="70"/>
                  </a:lnTo>
                  <a:lnTo>
                    <a:pt x="129" y="40"/>
                  </a:lnTo>
                  <a:lnTo>
                    <a:pt x="112" y="49"/>
                  </a:lnTo>
                  <a:lnTo>
                    <a:pt x="121" y="17"/>
                  </a:lnTo>
                  <a:lnTo>
                    <a:pt x="87" y="19"/>
                  </a:lnTo>
                  <a:lnTo>
                    <a:pt x="17" y="47"/>
                  </a:lnTo>
                  <a:lnTo>
                    <a:pt x="0" y="59"/>
                  </a:lnTo>
                  <a:lnTo>
                    <a:pt x="0" y="62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6" name="Freeform 79">
              <a:extLst>
                <a:ext uri="{FF2B5EF4-FFF2-40B4-BE49-F238E27FC236}">
                  <a16:creationId xmlns:a16="http://schemas.microsoft.com/office/drawing/2014/main" id="{A0EBAE1D-14E1-47D1-9DD4-60C19E776A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3747" y="2743927"/>
              <a:ext cx="247206" cy="274844"/>
            </a:xfrm>
            <a:custGeom>
              <a:avLst/>
              <a:gdLst>
                <a:gd name="T0" fmla="*/ 2 w 161"/>
                <a:gd name="T1" fmla="*/ 115 h 179"/>
                <a:gd name="T2" fmla="*/ 17 w 161"/>
                <a:gd name="T3" fmla="*/ 179 h 179"/>
                <a:gd name="T4" fmla="*/ 70 w 161"/>
                <a:gd name="T5" fmla="*/ 160 h 179"/>
                <a:gd name="T6" fmla="*/ 78 w 161"/>
                <a:gd name="T7" fmla="*/ 175 h 179"/>
                <a:gd name="T8" fmla="*/ 116 w 161"/>
                <a:gd name="T9" fmla="*/ 168 h 179"/>
                <a:gd name="T10" fmla="*/ 116 w 161"/>
                <a:gd name="T11" fmla="*/ 162 h 179"/>
                <a:gd name="T12" fmla="*/ 150 w 161"/>
                <a:gd name="T13" fmla="*/ 136 h 179"/>
                <a:gd name="T14" fmla="*/ 142 w 161"/>
                <a:gd name="T15" fmla="*/ 96 h 179"/>
                <a:gd name="T16" fmla="*/ 161 w 161"/>
                <a:gd name="T17" fmla="*/ 32 h 179"/>
                <a:gd name="T18" fmla="*/ 99 w 161"/>
                <a:gd name="T19" fmla="*/ 11 h 179"/>
                <a:gd name="T20" fmla="*/ 76 w 161"/>
                <a:gd name="T21" fmla="*/ 0 h 179"/>
                <a:gd name="T22" fmla="*/ 23 w 161"/>
                <a:gd name="T23" fmla="*/ 43 h 179"/>
                <a:gd name="T24" fmla="*/ 36 w 161"/>
                <a:gd name="T25" fmla="*/ 58 h 179"/>
                <a:gd name="T26" fmla="*/ 25 w 161"/>
                <a:gd name="T27" fmla="*/ 79 h 179"/>
                <a:gd name="T28" fmla="*/ 6 w 161"/>
                <a:gd name="T29" fmla="*/ 77 h 179"/>
                <a:gd name="T30" fmla="*/ 17 w 161"/>
                <a:gd name="T31" fmla="*/ 87 h 179"/>
                <a:gd name="T32" fmla="*/ 0 w 161"/>
                <a:gd name="T33" fmla="*/ 111 h 179"/>
                <a:gd name="T34" fmla="*/ 2 w 161"/>
                <a:gd name="T35" fmla="*/ 11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1" h="179">
                  <a:moveTo>
                    <a:pt x="2" y="115"/>
                  </a:moveTo>
                  <a:lnTo>
                    <a:pt x="17" y="179"/>
                  </a:lnTo>
                  <a:lnTo>
                    <a:pt x="70" y="160"/>
                  </a:lnTo>
                  <a:lnTo>
                    <a:pt x="78" y="175"/>
                  </a:lnTo>
                  <a:lnTo>
                    <a:pt x="116" y="168"/>
                  </a:lnTo>
                  <a:lnTo>
                    <a:pt x="116" y="162"/>
                  </a:lnTo>
                  <a:lnTo>
                    <a:pt x="150" y="136"/>
                  </a:lnTo>
                  <a:lnTo>
                    <a:pt x="142" y="96"/>
                  </a:lnTo>
                  <a:lnTo>
                    <a:pt x="161" y="32"/>
                  </a:lnTo>
                  <a:lnTo>
                    <a:pt x="99" y="11"/>
                  </a:lnTo>
                  <a:lnTo>
                    <a:pt x="76" y="0"/>
                  </a:lnTo>
                  <a:lnTo>
                    <a:pt x="23" y="43"/>
                  </a:lnTo>
                  <a:lnTo>
                    <a:pt x="36" y="58"/>
                  </a:lnTo>
                  <a:lnTo>
                    <a:pt x="25" y="79"/>
                  </a:lnTo>
                  <a:lnTo>
                    <a:pt x="6" y="77"/>
                  </a:lnTo>
                  <a:lnTo>
                    <a:pt x="17" y="87"/>
                  </a:lnTo>
                  <a:lnTo>
                    <a:pt x="0" y="111"/>
                  </a:lnTo>
                  <a:lnTo>
                    <a:pt x="2" y="115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7" name="Freeform 80">
              <a:extLst>
                <a:ext uri="{FF2B5EF4-FFF2-40B4-BE49-F238E27FC236}">
                  <a16:creationId xmlns:a16="http://schemas.microsoft.com/office/drawing/2014/main" id="{EC08C440-5D41-4A9A-B8C1-C24BCD7C2F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6543" y="2613415"/>
              <a:ext cx="110552" cy="115159"/>
            </a:xfrm>
            <a:custGeom>
              <a:avLst/>
              <a:gdLst>
                <a:gd name="T0" fmla="*/ 0 w 72"/>
                <a:gd name="T1" fmla="*/ 21 h 75"/>
                <a:gd name="T2" fmla="*/ 0 w 72"/>
                <a:gd name="T3" fmla="*/ 21 h 75"/>
                <a:gd name="T4" fmla="*/ 6 w 72"/>
                <a:gd name="T5" fmla="*/ 41 h 75"/>
                <a:gd name="T6" fmla="*/ 30 w 72"/>
                <a:gd name="T7" fmla="*/ 60 h 75"/>
                <a:gd name="T8" fmla="*/ 72 w 72"/>
                <a:gd name="T9" fmla="*/ 75 h 75"/>
                <a:gd name="T10" fmla="*/ 64 w 72"/>
                <a:gd name="T11" fmla="*/ 0 h 75"/>
                <a:gd name="T12" fmla="*/ 40 w 72"/>
                <a:gd name="T13" fmla="*/ 19 h 75"/>
                <a:gd name="T14" fmla="*/ 0 w 72"/>
                <a:gd name="T15" fmla="*/ 19 h 75"/>
                <a:gd name="T16" fmla="*/ 0 w 72"/>
                <a:gd name="T17" fmla="*/ 2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5">
                  <a:moveTo>
                    <a:pt x="0" y="21"/>
                  </a:moveTo>
                  <a:lnTo>
                    <a:pt x="0" y="21"/>
                  </a:lnTo>
                  <a:lnTo>
                    <a:pt x="6" y="41"/>
                  </a:lnTo>
                  <a:lnTo>
                    <a:pt x="30" y="60"/>
                  </a:lnTo>
                  <a:lnTo>
                    <a:pt x="72" y="75"/>
                  </a:lnTo>
                  <a:lnTo>
                    <a:pt x="64" y="0"/>
                  </a:lnTo>
                  <a:lnTo>
                    <a:pt x="40" y="19"/>
                  </a:lnTo>
                  <a:lnTo>
                    <a:pt x="0" y="19"/>
                  </a:lnTo>
                  <a:lnTo>
                    <a:pt x="0" y="21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8" name="Freeform 81">
              <a:extLst>
                <a:ext uri="{FF2B5EF4-FFF2-40B4-BE49-F238E27FC236}">
                  <a16:creationId xmlns:a16="http://schemas.microsoft.com/office/drawing/2014/main" id="{E7039037-F81E-451F-82F2-56CBC7CA7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2685" y="2705541"/>
              <a:ext cx="104410" cy="87521"/>
            </a:xfrm>
            <a:custGeom>
              <a:avLst/>
              <a:gdLst>
                <a:gd name="T0" fmla="*/ 2 w 68"/>
                <a:gd name="T1" fmla="*/ 30 h 57"/>
                <a:gd name="T2" fmla="*/ 5 w 68"/>
                <a:gd name="T3" fmla="*/ 10 h 57"/>
                <a:gd name="T4" fmla="*/ 36 w 68"/>
                <a:gd name="T5" fmla="*/ 10 h 57"/>
                <a:gd name="T6" fmla="*/ 26 w 68"/>
                <a:gd name="T7" fmla="*/ 0 h 57"/>
                <a:gd name="T8" fmla="*/ 68 w 68"/>
                <a:gd name="T9" fmla="*/ 15 h 57"/>
                <a:gd name="T10" fmla="*/ 64 w 68"/>
                <a:gd name="T11" fmla="*/ 57 h 57"/>
                <a:gd name="T12" fmla="*/ 2 w 68"/>
                <a:gd name="T13" fmla="*/ 36 h 57"/>
                <a:gd name="T14" fmla="*/ 0 w 68"/>
                <a:gd name="T15" fmla="*/ 34 h 57"/>
                <a:gd name="T16" fmla="*/ 2 w 68"/>
                <a:gd name="T17" fmla="*/ 3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57">
                  <a:moveTo>
                    <a:pt x="2" y="30"/>
                  </a:moveTo>
                  <a:lnTo>
                    <a:pt x="5" y="10"/>
                  </a:lnTo>
                  <a:lnTo>
                    <a:pt x="36" y="10"/>
                  </a:lnTo>
                  <a:lnTo>
                    <a:pt x="26" y="0"/>
                  </a:lnTo>
                  <a:lnTo>
                    <a:pt x="68" y="15"/>
                  </a:lnTo>
                  <a:lnTo>
                    <a:pt x="64" y="57"/>
                  </a:lnTo>
                  <a:lnTo>
                    <a:pt x="2" y="36"/>
                  </a:lnTo>
                  <a:lnTo>
                    <a:pt x="0" y="34"/>
                  </a:lnTo>
                  <a:lnTo>
                    <a:pt x="2" y="30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9" name="Freeform 82">
              <a:extLst>
                <a:ext uri="{FF2B5EF4-FFF2-40B4-BE49-F238E27FC236}">
                  <a16:creationId xmlns:a16="http://schemas.microsoft.com/office/drawing/2014/main" id="{11736917-4193-423C-B873-0AE1E90E68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0441" y="2676368"/>
              <a:ext cx="87521" cy="44528"/>
            </a:xfrm>
            <a:custGeom>
              <a:avLst/>
              <a:gdLst>
                <a:gd name="T0" fmla="*/ 2 w 57"/>
                <a:gd name="T1" fmla="*/ 17 h 29"/>
                <a:gd name="T2" fmla="*/ 26 w 57"/>
                <a:gd name="T3" fmla="*/ 29 h 29"/>
                <a:gd name="T4" fmla="*/ 57 w 57"/>
                <a:gd name="T5" fmla="*/ 29 h 29"/>
                <a:gd name="T6" fmla="*/ 47 w 57"/>
                <a:gd name="T7" fmla="*/ 19 h 29"/>
                <a:gd name="T8" fmla="*/ 23 w 57"/>
                <a:gd name="T9" fmla="*/ 0 h 29"/>
                <a:gd name="T10" fmla="*/ 0 w 57"/>
                <a:gd name="T11" fmla="*/ 14 h 29"/>
                <a:gd name="T12" fmla="*/ 2 w 57"/>
                <a:gd name="T13" fmla="*/ 1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29">
                  <a:moveTo>
                    <a:pt x="2" y="17"/>
                  </a:moveTo>
                  <a:lnTo>
                    <a:pt x="26" y="29"/>
                  </a:lnTo>
                  <a:lnTo>
                    <a:pt x="57" y="29"/>
                  </a:lnTo>
                  <a:lnTo>
                    <a:pt x="47" y="19"/>
                  </a:lnTo>
                  <a:lnTo>
                    <a:pt x="23" y="0"/>
                  </a:lnTo>
                  <a:lnTo>
                    <a:pt x="0" y="14"/>
                  </a:lnTo>
                  <a:lnTo>
                    <a:pt x="2" y="17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0" name="Freeform 83">
              <a:extLst>
                <a:ext uri="{FF2B5EF4-FFF2-40B4-BE49-F238E27FC236}">
                  <a16:creationId xmlns:a16="http://schemas.microsoft.com/office/drawing/2014/main" id="{29124F2D-AC9C-486B-83E5-B6479E905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0090" y="4007595"/>
              <a:ext cx="551224" cy="502090"/>
            </a:xfrm>
            <a:custGeom>
              <a:avLst/>
              <a:gdLst>
                <a:gd name="T0" fmla="*/ 0 w 359"/>
                <a:gd name="T1" fmla="*/ 215 h 327"/>
                <a:gd name="T2" fmla="*/ 36 w 359"/>
                <a:gd name="T3" fmla="*/ 227 h 327"/>
                <a:gd name="T4" fmla="*/ 47 w 359"/>
                <a:gd name="T5" fmla="*/ 262 h 327"/>
                <a:gd name="T6" fmla="*/ 94 w 359"/>
                <a:gd name="T7" fmla="*/ 259 h 327"/>
                <a:gd name="T8" fmla="*/ 130 w 359"/>
                <a:gd name="T9" fmla="*/ 272 h 327"/>
                <a:gd name="T10" fmla="*/ 159 w 359"/>
                <a:gd name="T11" fmla="*/ 232 h 327"/>
                <a:gd name="T12" fmla="*/ 230 w 359"/>
                <a:gd name="T13" fmla="*/ 327 h 327"/>
                <a:gd name="T14" fmla="*/ 266 w 359"/>
                <a:gd name="T15" fmla="*/ 289 h 327"/>
                <a:gd name="T16" fmla="*/ 278 w 359"/>
                <a:gd name="T17" fmla="*/ 208 h 327"/>
                <a:gd name="T18" fmla="*/ 272 w 359"/>
                <a:gd name="T19" fmla="*/ 174 h 327"/>
                <a:gd name="T20" fmla="*/ 270 w 359"/>
                <a:gd name="T21" fmla="*/ 170 h 327"/>
                <a:gd name="T22" fmla="*/ 274 w 359"/>
                <a:gd name="T23" fmla="*/ 149 h 327"/>
                <a:gd name="T24" fmla="*/ 308 w 359"/>
                <a:gd name="T25" fmla="*/ 136 h 327"/>
                <a:gd name="T26" fmla="*/ 310 w 359"/>
                <a:gd name="T27" fmla="*/ 106 h 327"/>
                <a:gd name="T28" fmla="*/ 349 w 359"/>
                <a:gd name="T29" fmla="*/ 91 h 327"/>
                <a:gd name="T30" fmla="*/ 359 w 359"/>
                <a:gd name="T31" fmla="*/ 47 h 327"/>
                <a:gd name="T32" fmla="*/ 332 w 359"/>
                <a:gd name="T33" fmla="*/ 32 h 327"/>
                <a:gd name="T34" fmla="*/ 285 w 359"/>
                <a:gd name="T35" fmla="*/ 89 h 327"/>
                <a:gd name="T36" fmla="*/ 249 w 359"/>
                <a:gd name="T37" fmla="*/ 91 h 327"/>
                <a:gd name="T38" fmla="*/ 227 w 359"/>
                <a:gd name="T39" fmla="*/ 64 h 327"/>
                <a:gd name="T40" fmla="*/ 193 w 359"/>
                <a:gd name="T41" fmla="*/ 91 h 327"/>
                <a:gd name="T42" fmla="*/ 172 w 359"/>
                <a:gd name="T43" fmla="*/ 62 h 327"/>
                <a:gd name="T44" fmla="*/ 166 w 359"/>
                <a:gd name="T45" fmla="*/ 74 h 327"/>
                <a:gd name="T46" fmla="*/ 142 w 359"/>
                <a:gd name="T47" fmla="*/ 26 h 327"/>
                <a:gd name="T48" fmla="*/ 106 w 359"/>
                <a:gd name="T49" fmla="*/ 0 h 327"/>
                <a:gd name="T50" fmla="*/ 77 w 359"/>
                <a:gd name="T51" fmla="*/ 15 h 327"/>
                <a:gd name="T52" fmla="*/ 47 w 359"/>
                <a:gd name="T53" fmla="*/ 4 h 327"/>
                <a:gd name="T54" fmla="*/ 9 w 359"/>
                <a:gd name="T55" fmla="*/ 128 h 327"/>
                <a:gd name="T56" fmla="*/ 0 w 359"/>
                <a:gd name="T57" fmla="*/ 215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9" h="327">
                  <a:moveTo>
                    <a:pt x="0" y="215"/>
                  </a:moveTo>
                  <a:lnTo>
                    <a:pt x="36" y="227"/>
                  </a:lnTo>
                  <a:lnTo>
                    <a:pt x="47" y="262"/>
                  </a:lnTo>
                  <a:lnTo>
                    <a:pt x="94" y="259"/>
                  </a:lnTo>
                  <a:lnTo>
                    <a:pt x="130" y="272"/>
                  </a:lnTo>
                  <a:lnTo>
                    <a:pt x="159" y="232"/>
                  </a:lnTo>
                  <a:lnTo>
                    <a:pt x="230" y="327"/>
                  </a:lnTo>
                  <a:lnTo>
                    <a:pt x="266" y="289"/>
                  </a:lnTo>
                  <a:lnTo>
                    <a:pt x="278" y="208"/>
                  </a:lnTo>
                  <a:lnTo>
                    <a:pt x="272" y="174"/>
                  </a:lnTo>
                  <a:lnTo>
                    <a:pt x="270" y="170"/>
                  </a:lnTo>
                  <a:lnTo>
                    <a:pt x="274" y="149"/>
                  </a:lnTo>
                  <a:lnTo>
                    <a:pt x="308" y="136"/>
                  </a:lnTo>
                  <a:lnTo>
                    <a:pt x="310" y="106"/>
                  </a:lnTo>
                  <a:lnTo>
                    <a:pt x="349" y="91"/>
                  </a:lnTo>
                  <a:lnTo>
                    <a:pt x="359" y="47"/>
                  </a:lnTo>
                  <a:lnTo>
                    <a:pt x="332" y="32"/>
                  </a:lnTo>
                  <a:lnTo>
                    <a:pt x="285" y="89"/>
                  </a:lnTo>
                  <a:lnTo>
                    <a:pt x="249" y="91"/>
                  </a:lnTo>
                  <a:lnTo>
                    <a:pt x="227" y="64"/>
                  </a:lnTo>
                  <a:lnTo>
                    <a:pt x="193" y="91"/>
                  </a:lnTo>
                  <a:lnTo>
                    <a:pt x="172" y="62"/>
                  </a:lnTo>
                  <a:lnTo>
                    <a:pt x="166" y="74"/>
                  </a:lnTo>
                  <a:lnTo>
                    <a:pt x="142" y="26"/>
                  </a:lnTo>
                  <a:lnTo>
                    <a:pt x="106" y="0"/>
                  </a:lnTo>
                  <a:lnTo>
                    <a:pt x="77" y="15"/>
                  </a:lnTo>
                  <a:lnTo>
                    <a:pt x="47" y="4"/>
                  </a:lnTo>
                  <a:lnTo>
                    <a:pt x="9" y="128"/>
                  </a:lnTo>
                  <a:lnTo>
                    <a:pt x="0" y="21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1" name="Freeform 84">
              <a:extLst>
                <a:ext uri="{FF2B5EF4-FFF2-40B4-BE49-F238E27FC236}">
                  <a16:creationId xmlns:a16="http://schemas.microsoft.com/office/drawing/2014/main" id="{CFA4557F-DD09-4549-8D3A-3BE803ACC5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0759" y="4660157"/>
              <a:ext cx="408427" cy="620318"/>
            </a:xfrm>
            <a:custGeom>
              <a:avLst/>
              <a:gdLst>
                <a:gd name="T0" fmla="*/ 2 w 266"/>
                <a:gd name="T1" fmla="*/ 247 h 404"/>
                <a:gd name="T2" fmla="*/ 38 w 266"/>
                <a:gd name="T3" fmla="*/ 332 h 404"/>
                <a:gd name="T4" fmla="*/ 57 w 266"/>
                <a:gd name="T5" fmla="*/ 353 h 404"/>
                <a:gd name="T6" fmla="*/ 53 w 266"/>
                <a:gd name="T7" fmla="*/ 385 h 404"/>
                <a:gd name="T8" fmla="*/ 72 w 266"/>
                <a:gd name="T9" fmla="*/ 379 h 404"/>
                <a:gd name="T10" fmla="*/ 108 w 266"/>
                <a:gd name="T11" fmla="*/ 404 h 404"/>
                <a:gd name="T12" fmla="*/ 125 w 266"/>
                <a:gd name="T13" fmla="*/ 377 h 404"/>
                <a:gd name="T14" fmla="*/ 140 w 266"/>
                <a:gd name="T15" fmla="*/ 372 h 404"/>
                <a:gd name="T16" fmla="*/ 155 w 266"/>
                <a:gd name="T17" fmla="*/ 396 h 404"/>
                <a:gd name="T18" fmla="*/ 170 w 266"/>
                <a:gd name="T19" fmla="*/ 374 h 404"/>
                <a:gd name="T20" fmla="*/ 208 w 266"/>
                <a:gd name="T21" fmla="*/ 398 h 404"/>
                <a:gd name="T22" fmla="*/ 210 w 266"/>
                <a:gd name="T23" fmla="*/ 396 h 404"/>
                <a:gd name="T24" fmla="*/ 210 w 266"/>
                <a:gd name="T25" fmla="*/ 379 h 404"/>
                <a:gd name="T26" fmla="*/ 208 w 266"/>
                <a:gd name="T27" fmla="*/ 377 h 404"/>
                <a:gd name="T28" fmla="*/ 208 w 266"/>
                <a:gd name="T29" fmla="*/ 370 h 404"/>
                <a:gd name="T30" fmla="*/ 221 w 266"/>
                <a:gd name="T31" fmla="*/ 291 h 404"/>
                <a:gd name="T32" fmla="*/ 242 w 266"/>
                <a:gd name="T33" fmla="*/ 260 h 404"/>
                <a:gd name="T34" fmla="*/ 236 w 266"/>
                <a:gd name="T35" fmla="*/ 217 h 404"/>
                <a:gd name="T36" fmla="*/ 266 w 266"/>
                <a:gd name="T37" fmla="*/ 155 h 404"/>
                <a:gd name="T38" fmla="*/ 242 w 266"/>
                <a:gd name="T39" fmla="*/ 24 h 404"/>
                <a:gd name="T40" fmla="*/ 230 w 266"/>
                <a:gd name="T41" fmla="*/ 0 h 404"/>
                <a:gd name="T42" fmla="*/ 193 w 266"/>
                <a:gd name="T43" fmla="*/ 19 h 404"/>
                <a:gd name="T44" fmla="*/ 187 w 266"/>
                <a:gd name="T45" fmla="*/ 45 h 404"/>
                <a:gd name="T46" fmla="*/ 162 w 266"/>
                <a:gd name="T47" fmla="*/ 49 h 404"/>
                <a:gd name="T48" fmla="*/ 153 w 266"/>
                <a:gd name="T49" fmla="*/ 92 h 404"/>
                <a:gd name="T50" fmla="*/ 132 w 266"/>
                <a:gd name="T51" fmla="*/ 83 h 404"/>
                <a:gd name="T52" fmla="*/ 134 w 266"/>
                <a:gd name="T53" fmla="*/ 121 h 404"/>
                <a:gd name="T54" fmla="*/ 113 w 266"/>
                <a:gd name="T55" fmla="*/ 128 h 404"/>
                <a:gd name="T56" fmla="*/ 115 w 266"/>
                <a:gd name="T57" fmla="*/ 145 h 404"/>
                <a:gd name="T58" fmla="*/ 93 w 266"/>
                <a:gd name="T59" fmla="*/ 147 h 404"/>
                <a:gd name="T60" fmla="*/ 76 w 266"/>
                <a:gd name="T61" fmla="*/ 181 h 404"/>
                <a:gd name="T62" fmla="*/ 45 w 266"/>
                <a:gd name="T63" fmla="*/ 183 h 404"/>
                <a:gd name="T64" fmla="*/ 0 w 266"/>
                <a:gd name="T65" fmla="*/ 230 h 404"/>
                <a:gd name="T66" fmla="*/ 0 w 266"/>
                <a:gd name="T67" fmla="*/ 240 h 404"/>
                <a:gd name="T68" fmla="*/ 2 w 266"/>
                <a:gd name="T69" fmla="*/ 247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66" h="404">
                  <a:moveTo>
                    <a:pt x="2" y="247"/>
                  </a:moveTo>
                  <a:lnTo>
                    <a:pt x="38" y="332"/>
                  </a:lnTo>
                  <a:lnTo>
                    <a:pt x="57" y="353"/>
                  </a:lnTo>
                  <a:lnTo>
                    <a:pt x="53" y="385"/>
                  </a:lnTo>
                  <a:lnTo>
                    <a:pt x="72" y="379"/>
                  </a:lnTo>
                  <a:lnTo>
                    <a:pt x="108" y="404"/>
                  </a:lnTo>
                  <a:lnTo>
                    <a:pt x="125" y="377"/>
                  </a:lnTo>
                  <a:lnTo>
                    <a:pt x="140" y="372"/>
                  </a:lnTo>
                  <a:lnTo>
                    <a:pt x="155" y="396"/>
                  </a:lnTo>
                  <a:lnTo>
                    <a:pt x="170" y="374"/>
                  </a:lnTo>
                  <a:lnTo>
                    <a:pt x="208" y="398"/>
                  </a:lnTo>
                  <a:lnTo>
                    <a:pt x="210" y="396"/>
                  </a:lnTo>
                  <a:lnTo>
                    <a:pt x="210" y="379"/>
                  </a:lnTo>
                  <a:lnTo>
                    <a:pt x="208" y="377"/>
                  </a:lnTo>
                  <a:lnTo>
                    <a:pt x="208" y="370"/>
                  </a:lnTo>
                  <a:lnTo>
                    <a:pt x="221" y="291"/>
                  </a:lnTo>
                  <a:lnTo>
                    <a:pt x="242" y="260"/>
                  </a:lnTo>
                  <a:lnTo>
                    <a:pt x="236" y="217"/>
                  </a:lnTo>
                  <a:lnTo>
                    <a:pt x="266" y="155"/>
                  </a:lnTo>
                  <a:lnTo>
                    <a:pt x="242" y="24"/>
                  </a:lnTo>
                  <a:lnTo>
                    <a:pt x="230" y="0"/>
                  </a:lnTo>
                  <a:lnTo>
                    <a:pt x="193" y="19"/>
                  </a:lnTo>
                  <a:lnTo>
                    <a:pt x="187" y="45"/>
                  </a:lnTo>
                  <a:lnTo>
                    <a:pt x="162" y="49"/>
                  </a:lnTo>
                  <a:lnTo>
                    <a:pt x="153" y="92"/>
                  </a:lnTo>
                  <a:lnTo>
                    <a:pt x="132" y="83"/>
                  </a:lnTo>
                  <a:lnTo>
                    <a:pt x="134" y="121"/>
                  </a:lnTo>
                  <a:lnTo>
                    <a:pt x="113" y="128"/>
                  </a:lnTo>
                  <a:lnTo>
                    <a:pt x="115" y="145"/>
                  </a:lnTo>
                  <a:lnTo>
                    <a:pt x="93" y="147"/>
                  </a:lnTo>
                  <a:lnTo>
                    <a:pt x="76" y="181"/>
                  </a:lnTo>
                  <a:lnTo>
                    <a:pt x="45" y="183"/>
                  </a:lnTo>
                  <a:lnTo>
                    <a:pt x="0" y="230"/>
                  </a:lnTo>
                  <a:lnTo>
                    <a:pt x="0" y="240"/>
                  </a:lnTo>
                  <a:lnTo>
                    <a:pt x="2" y="24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2" name="Freeform 85">
              <a:extLst>
                <a:ext uri="{FF2B5EF4-FFF2-40B4-BE49-F238E27FC236}">
                  <a16:creationId xmlns:a16="http://schemas.microsoft.com/office/drawing/2014/main" id="{AAE2A271-98DA-4ADC-8E6D-4CD1389ADE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8127" y="5845517"/>
              <a:ext cx="353151" cy="574255"/>
            </a:xfrm>
            <a:custGeom>
              <a:avLst/>
              <a:gdLst>
                <a:gd name="T0" fmla="*/ 41 w 230"/>
                <a:gd name="T1" fmla="*/ 40 h 374"/>
                <a:gd name="T2" fmla="*/ 17 w 230"/>
                <a:gd name="T3" fmla="*/ 11 h 374"/>
                <a:gd name="T4" fmla="*/ 5 w 230"/>
                <a:gd name="T5" fmla="*/ 15 h 374"/>
                <a:gd name="T6" fmla="*/ 13 w 230"/>
                <a:gd name="T7" fmla="*/ 0 h 374"/>
                <a:gd name="T8" fmla="*/ 17 w 230"/>
                <a:gd name="T9" fmla="*/ 4 h 374"/>
                <a:gd name="T10" fmla="*/ 85 w 230"/>
                <a:gd name="T11" fmla="*/ 21 h 374"/>
                <a:gd name="T12" fmla="*/ 98 w 230"/>
                <a:gd name="T13" fmla="*/ 47 h 374"/>
                <a:gd name="T14" fmla="*/ 137 w 230"/>
                <a:gd name="T15" fmla="*/ 66 h 374"/>
                <a:gd name="T16" fmla="*/ 166 w 230"/>
                <a:gd name="T17" fmla="*/ 134 h 374"/>
                <a:gd name="T18" fmla="*/ 183 w 230"/>
                <a:gd name="T19" fmla="*/ 134 h 374"/>
                <a:gd name="T20" fmla="*/ 183 w 230"/>
                <a:gd name="T21" fmla="*/ 196 h 374"/>
                <a:gd name="T22" fmla="*/ 207 w 230"/>
                <a:gd name="T23" fmla="*/ 206 h 374"/>
                <a:gd name="T24" fmla="*/ 230 w 230"/>
                <a:gd name="T25" fmla="*/ 193 h 374"/>
                <a:gd name="T26" fmla="*/ 230 w 230"/>
                <a:gd name="T27" fmla="*/ 264 h 374"/>
                <a:gd name="T28" fmla="*/ 179 w 230"/>
                <a:gd name="T29" fmla="*/ 374 h 374"/>
                <a:gd name="T30" fmla="*/ 145 w 230"/>
                <a:gd name="T31" fmla="*/ 366 h 374"/>
                <a:gd name="T32" fmla="*/ 149 w 230"/>
                <a:gd name="T33" fmla="*/ 349 h 374"/>
                <a:gd name="T34" fmla="*/ 60 w 230"/>
                <a:gd name="T35" fmla="*/ 300 h 374"/>
                <a:gd name="T36" fmla="*/ 66 w 230"/>
                <a:gd name="T37" fmla="*/ 272 h 374"/>
                <a:gd name="T38" fmla="*/ 98 w 230"/>
                <a:gd name="T39" fmla="*/ 257 h 374"/>
                <a:gd name="T40" fmla="*/ 28 w 230"/>
                <a:gd name="T41" fmla="*/ 236 h 374"/>
                <a:gd name="T42" fmla="*/ 68 w 230"/>
                <a:gd name="T43" fmla="*/ 179 h 374"/>
                <a:gd name="T44" fmla="*/ 54 w 230"/>
                <a:gd name="T45" fmla="*/ 166 h 374"/>
                <a:gd name="T46" fmla="*/ 15 w 230"/>
                <a:gd name="T47" fmla="*/ 174 h 374"/>
                <a:gd name="T48" fmla="*/ 13 w 230"/>
                <a:gd name="T49" fmla="*/ 151 h 374"/>
                <a:gd name="T50" fmla="*/ 54 w 230"/>
                <a:gd name="T51" fmla="*/ 121 h 374"/>
                <a:gd name="T52" fmla="*/ 5 w 230"/>
                <a:gd name="T53" fmla="*/ 85 h 374"/>
                <a:gd name="T54" fmla="*/ 0 w 230"/>
                <a:gd name="T55" fmla="*/ 53 h 374"/>
                <a:gd name="T56" fmla="*/ 41 w 230"/>
                <a:gd name="T57" fmla="*/ 4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0" h="374">
                  <a:moveTo>
                    <a:pt x="41" y="40"/>
                  </a:moveTo>
                  <a:lnTo>
                    <a:pt x="17" y="11"/>
                  </a:lnTo>
                  <a:lnTo>
                    <a:pt x="5" y="15"/>
                  </a:lnTo>
                  <a:lnTo>
                    <a:pt x="13" y="0"/>
                  </a:lnTo>
                  <a:lnTo>
                    <a:pt x="17" y="4"/>
                  </a:lnTo>
                  <a:lnTo>
                    <a:pt x="85" y="21"/>
                  </a:lnTo>
                  <a:lnTo>
                    <a:pt x="98" y="47"/>
                  </a:lnTo>
                  <a:lnTo>
                    <a:pt x="137" y="66"/>
                  </a:lnTo>
                  <a:lnTo>
                    <a:pt x="166" y="134"/>
                  </a:lnTo>
                  <a:lnTo>
                    <a:pt x="183" y="134"/>
                  </a:lnTo>
                  <a:lnTo>
                    <a:pt x="183" y="196"/>
                  </a:lnTo>
                  <a:lnTo>
                    <a:pt x="207" y="206"/>
                  </a:lnTo>
                  <a:lnTo>
                    <a:pt x="230" y="193"/>
                  </a:lnTo>
                  <a:lnTo>
                    <a:pt x="230" y="264"/>
                  </a:lnTo>
                  <a:lnTo>
                    <a:pt x="179" y="374"/>
                  </a:lnTo>
                  <a:lnTo>
                    <a:pt x="145" y="366"/>
                  </a:lnTo>
                  <a:lnTo>
                    <a:pt x="149" y="349"/>
                  </a:lnTo>
                  <a:lnTo>
                    <a:pt x="60" y="300"/>
                  </a:lnTo>
                  <a:lnTo>
                    <a:pt x="66" y="272"/>
                  </a:lnTo>
                  <a:lnTo>
                    <a:pt x="98" y="257"/>
                  </a:lnTo>
                  <a:lnTo>
                    <a:pt x="28" y="236"/>
                  </a:lnTo>
                  <a:lnTo>
                    <a:pt x="68" y="179"/>
                  </a:lnTo>
                  <a:lnTo>
                    <a:pt x="54" y="166"/>
                  </a:lnTo>
                  <a:lnTo>
                    <a:pt x="15" y="174"/>
                  </a:lnTo>
                  <a:lnTo>
                    <a:pt x="13" y="151"/>
                  </a:lnTo>
                  <a:lnTo>
                    <a:pt x="54" y="121"/>
                  </a:lnTo>
                  <a:lnTo>
                    <a:pt x="5" y="85"/>
                  </a:lnTo>
                  <a:lnTo>
                    <a:pt x="0" y="53"/>
                  </a:lnTo>
                  <a:lnTo>
                    <a:pt x="41" y="4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3" name="Freeform 86">
              <a:extLst>
                <a:ext uri="{FF2B5EF4-FFF2-40B4-BE49-F238E27FC236}">
                  <a16:creationId xmlns:a16="http://schemas.microsoft.com/office/drawing/2014/main" id="{BDFD9214-0094-469F-ADDE-6C5F0E58F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6313" y="3396490"/>
              <a:ext cx="515908" cy="581933"/>
            </a:xfrm>
            <a:custGeom>
              <a:avLst/>
              <a:gdLst>
                <a:gd name="T0" fmla="*/ 2 w 336"/>
                <a:gd name="T1" fmla="*/ 120 h 379"/>
                <a:gd name="T2" fmla="*/ 132 w 336"/>
                <a:gd name="T3" fmla="*/ 64 h 379"/>
                <a:gd name="T4" fmla="*/ 153 w 336"/>
                <a:gd name="T5" fmla="*/ 30 h 379"/>
                <a:gd name="T6" fmla="*/ 208 w 336"/>
                <a:gd name="T7" fmla="*/ 32 h 379"/>
                <a:gd name="T8" fmla="*/ 234 w 336"/>
                <a:gd name="T9" fmla="*/ 0 h 379"/>
                <a:gd name="T10" fmla="*/ 270 w 336"/>
                <a:gd name="T11" fmla="*/ 5 h 379"/>
                <a:gd name="T12" fmla="*/ 304 w 336"/>
                <a:gd name="T13" fmla="*/ 22 h 379"/>
                <a:gd name="T14" fmla="*/ 293 w 336"/>
                <a:gd name="T15" fmla="*/ 28 h 379"/>
                <a:gd name="T16" fmla="*/ 304 w 336"/>
                <a:gd name="T17" fmla="*/ 49 h 379"/>
                <a:gd name="T18" fmla="*/ 291 w 336"/>
                <a:gd name="T19" fmla="*/ 79 h 379"/>
                <a:gd name="T20" fmla="*/ 336 w 336"/>
                <a:gd name="T21" fmla="*/ 81 h 379"/>
                <a:gd name="T22" fmla="*/ 251 w 336"/>
                <a:gd name="T23" fmla="*/ 196 h 379"/>
                <a:gd name="T24" fmla="*/ 187 w 336"/>
                <a:gd name="T25" fmla="*/ 241 h 379"/>
                <a:gd name="T26" fmla="*/ 189 w 336"/>
                <a:gd name="T27" fmla="*/ 300 h 379"/>
                <a:gd name="T28" fmla="*/ 117 w 336"/>
                <a:gd name="T29" fmla="*/ 379 h 379"/>
                <a:gd name="T30" fmla="*/ 93 w 336"/>
                <a:gd name="T31" fmla="*/ 362 h 379"/>
                <a:gd name="T32" fmla="*/ 100 w 336"/>
                <a:gd name="T33" fmla="*/ 330 h 379"/>
                <a:gd name="T34" fmla="*/ 132 w 336"/>
                <a:gd name="T35" fmla="*/ 298 h 379"/>
                <a:gd name="T36" fmla="*/ 85 w 336"/>
                <a:gd name="T37" fmla="*/ 270 h 379"/>
                <a:gd name="T38" fmla="*/ 55 w 336"/>
                <a:gd name="T39" fmla="*/ 211 h 379"/>
                <a:gd name="T40" fmla="*/ 29 w 336"/>
                <a:gd name="T41" fmla="*/ 200 h 379"/>
                <a:gd name="T42" fmla="*/ 15 w 336"/>
                <a:gd name="T43" fmla="*/ 211 h 379"/>
                <a:gd name="T44" fmla="*/ 32 w 336"/>
                <a:gd name="T45" fmla="*/ 166 h 379"/>
                <a:gd name="T46" fmla="*/ 0 w 336"/>
                <a:gd name="T47" fmla="*/ 122 h 379"/>
                <a:gd name="T48" fmla="*/ 2 w 336"/>
                <a:gd name="T49" fmla="*/ 120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36" h="379">
                  <a:moveTo>
                    <a:pt x="2" y="120"/>
                  </a:moveTo>
                  <a:lnTo>
                    <a:pt x="132" y="64"/>
                  </a:lnTo>
                  <a:lnTo>
                    <a:pt x="153" y="30"/>
                  </a:lnTo>
                  <a:lnTo>
                    <a:pt x="208" y="32"/>
                  </a:lnTo>
                  <a:lnTo>
                    <a:pt x="234" y="0"/>
                  </a:lnTo>
                  <a:lnTo>
                    <a:pt x="270" y="5"/>
                  </a:lnTo>
                  <a:lnTo>
                    <a:pt x="304" y="22"/>
                  </a:lnTo>
                  <a:lnTo>
                    <a:pt x="293" y="28"/>
                  </a:lnTo>
                  <a:lnTo>
                    <a:pt x="304" y="49"/>
                  </a:lnTo>
                  <a:lnTo>
                    <a:pt x="291" y="79"/>
                  </a:lnTo>
                  <a:lnTo>
                    <a:pt x="336" y="81"/>
                  </a:lnTo>
                  <a:lnTo>
                    <a:pt x="251" y="196"/>
                  </a:lnTo>
                  <a:lnTo>
                    <a:pt x="187" y="241"/>
                  </a:lnTo>
                  <a:lnTo>
                    <a:pt x="189" y="300"/>
                  </a:lnTo>
                  <a:lnTo>
                    <a:pt x="117" y="379"/>
                  </a:lnTo>
                  <a:lnTo>
                    <a:pt x="93" y="362"/>
                  </a:lnTo>
                  <a:lnTo>
                    <a:pt x="100" y="330"/>
                  </a:lnTo>
                  <a:lnTo>
                    <a:pt x="132" y="298"/>
                  </a:lnTo>
                  <a:lnTo>
                    <a:pt x="85" y="270"/>
                  </a:lnTo>
                  <a:lnTo>
                    <a:pt x="55" y="211"/>
                  </a:lnTo>
                  <a:lnTo>
                    <a:pt x="29" y="200"/>
                  </a:lnTo>
                  <a:lnTo>
                    <a:pt x="15" y="211"/>
                  </a:lnTo>
                  <a:lnTo>
                    <a:pt x="32" y="166"/>
                  </a:lnTo>
                  <a:lnTo>
                    <a:pt x="0" y="122"/>
                  </a:lnTo>
                  <a:lnTo>
                    <a:pt x="2" y="12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4" name="Freeform 87">
              <a:extLst>
                <a:ext uri="{FF2B5EF4-FFF2-40B4-BE49-F238E27FC236}">
                  <a16:creationId xmlns:a16="http://schemas.microsoft.com/office/drawing/2014/main" id="{49B5F059-6173-4FF6-BA02-736D0945B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1815" y="2329358"/>
              <a:ext cx="548153" cy="460632"/>
            </a:xfrm>
            <a:custGeom>
              <a:avLst/>
              <a:gdLst>
                <a:gd name="T0" fmla="*/ 0 w 357"/>
                <a:gd name="T1" fmla="*/ 58 h 300"/>
                <a:gd name="T2" fmla="*/ 0 w 357"/>
                <a:gd name="T3" fmla="*/ 15 h 300"/>
                <a:gd name="T4" fmla="*/ 21 w 357"/>
                <a:gd name="T5" fmla="*/ 13 h 300"/>
                <a:gd name="T6" fmla="*/ 49 w 357"/>
                <a:gd name="T7" fmla="*/ 0 h 300"/>
                <a:gd name="T8" fmla="*/ 85 w 357"/>
                <a:gd name="T9" fmla="*/ 30 h 300"/>
                <a:gd name="T10" fmla="*/ 119 w 357"/>
                <a:gd name="T11" fmla="*/ 24 h 300"/>
                <a:gd name="T12" fmla="*/ 147 w 357"/>
                <a:gd name="T13" fmla="*/ 43 h 300"/>
                <a:gd name="T14" fmla="*/ 149 w 357"/>
                <a:gd name="T15" fmla="*/ 56 h 300"/>
                <a:gd name="T16" fmla="*/ 128 w 357"/>
                <a:gd name="T17" fmla="*/ 60 h 300"/>
                <a:gd name="T18" fmla="*/ 166 w 357"/>
                <a:gd name="T19" fmla="*/ 90 h 300"/>
                <a:gd name="T20" fmla="*/ 232 w 357"/>
                <a:gd name="T21" fmla="*/ 53 h 300"/>
                <a:gd name="T22" fmla="*/ 260 w 357"/>
                <a:gd name="T23" fmla="*/ 15 h 300"/>
                <a:gd name="T24" fmla="*/ 336 w 357"/>
                <a:gd name="T25" fmla="*/ 36 h 300"/>
                <a:gd name="T26" fmla="*/ 357 w 357"/>
                <a:gd name="T27" fmla="*/ 87 h 300"/>
                <a:gd name="T28" fmla="*/ 334 w 357"/>
                <a:gd name="T29" fmla="*/ 96 h 300"/>
                <a:gd name="T30" fmla="*/ 334 w 357"/>
                <a:gd name="T31" fmla="*/ 98 h 300"/>
                <a:gd name="T32" fmla="*/ 334 w 357"/>
                <a:gd name="T33" fmla="*/ 100 h 300"/>
                <a:gd name="T34" fmla="*/ 311 w 357"/>
                <a:gd name="T35" fmla="*/ 155 h 300"/>
                <a:gd name="T36" fmla="*/ 270 w 357"/>
                <a:gd name="T37" fmla="*/ 164 h 300"/>
                <a:gd name="T38" fmla="*/ 270 w 357"/>
                <a:gd name="T39" fmla="*/ 166 h 300"/>
                <a:gd name="T40" fmla="*/ 283 w 357"/>
                <a:gd name="T41" fmla="*/ 206 h 300"/>
                <a:gd name="T42" fmla="*/ 240 w 357"/>
                <a:gd name="T43" fmla="*/ 270 h 300"/>
                <a:gd name="T44" fmla="*/ 189 w 357"/>
                <a:gd name="T45" fmla="*/ 260 h 300"/>
                <a:gd name="T46" fmla="*/ 113 w 357"/>
                <a:gd name="T47" fmla="*/ 300 h 300"/>
                <a:gd name="T48" fmla="*/ 64 w 357"/>
                <a:gd name="T49" fmla="*/ 217 h 300"/>
                <a:gd name="T50" fmla="*/ 24 w 357"/>
                <a:gd name="T51" fmla="*/ 217 h 300"/>
                <a:gd name="T52" fmla="*/ 19 w 357"/>
                <a:gd name="T53" fmla="*/ 196 h 300"/>
                <a:gd name="T54" fmla="*/ 30 w 357"/>
                <a:gd name="T55" fmla="*/ 170 h 300"/>
                <a:gd name="T56" fmla="*/ 13 w 357"/>
                <a:gd name="T57" fmla="*/ 155 h 300"/>
                <a:gd name="T58" fmla="*/ 28 w 357"/>
                <a:gd name="T59" fmla="*/ 126 h 300"/>
                <a:gd name="T60" fmla="*/ 4 w 357"/>
                <a:gd name="T61" fmla="*/ 83 h 300"/>
                <a:gd name="T62" fmla="*/ 17 w 357"/>
                <a:gd name="T63" fmla="*/ 73 h 300"/>
                <a:gd name="T64" fmla="*/ 0 w 357"/>
                <a:gd name="T65" fmla="*/ 60 h 300"/>
                <a:gd name="T66" fmla="*/ 0 w 357"/>
                <a:gd name="T67" fmla="*/ 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7" h="300">
                  <a:moveTo>
                    <a:pt x="0" y="58"/>
                  </a:moveTo>
                  <a:lnTo>
                    <a:pt x="0" y="15"/>
                  </a:lnTo>
                  <a:lnTo>
                    <a:pt x="21" y="13"/>
                  </a:lnTo>
                  <a:lnTo>
                    <a:pt x="49" y="0"/>
                  </a:lnTo>
                  <a:lnTo>
                    <a:pt x="85" y="30"/>
                  </a:lnTo>
                  <a:lnTo>
                    <a:pt x="119" y="24"/>
                  </a:lnTo>
                  <a:lnTo>
                    <a:pt x="147" y="43"/>
                  </a:lnTo>
                  <a:lnTo>
                    <a:pt x="149" y="56"/>
                  </a:lnTo>
                  <a:lnTo>
                    <a:pt x="128" y="60"/>
                  </a:lnTo>
                  <a:lnTo>
                    <a:pt x="166" y="90"/>
                  </a:lnTo>
                  <a:lnTo>
                    <a:pt x="232" y="53"/>
                  </a:lnTo>
                  <a:lnTo>
                    <a:pt x="260" y="15"/>
                  </a:lnTo>
                  <a:lnTo>
                    <a:pt x="336" y="36"/>
                  </a:lnTo>
                  <a:lnTo>
                    <a:pt x="357" y="87"/>
                  </a:lnTo>
                  <a:lnTo>
                    <a:pt x="334" y="96"/>
                  </a:lnTo>
                  <a:lnTo>
                    <a:pt x="334" y="98"/>
                  </a:lnTo>
                  <a:lnTo>
                    <a:pt x="334" y="100"/>
                  </a:lnTo>
                  <a:lnTo>
                    <a:pt x="311" y="155"/>
                  </a:lnTo>
                  <a:lnTo>
                    <a:pt x="270" y="164"/>
                  </a:lnTo>
                  <a:lnTo>
                    <a:pt x="270" y="166"/>
                  </a:lnTo>
                  <a:lnTo>
                    <a:pt x="283" y="206"/>
                  </a:lnTo>
                  <a:lnTo>
                    <a:pt x="240" y="270"/>
                  </a:lnTo>
                  <a:lnTo>
                    <a:pt x="189" y="260"/>
                  </a:lnTo>
                  <a:lnTo>
                    <a:pt x="113" y="300"/>
                  </a:lnTo>
                  <a:lnTo>
                    <a:pt x="64" y="217"/>
                  </a:lnTo>
                  <a:lnTo>
                    <a:pt x="24" y="217"/>
                  </a:lnTo>
                  <a:lnTo>
                    <a:pt x="19" y="196"/>
                  </a:lnTo>
                  <a:lnTo>
                    <a:pt x="30" y="170"/>
                  </a:lnTo>
                  <a:lnTo>
                    <a:pt x="13" y="155"/>
                  </a:lnTo>
                  <a:lnTo>
                    <a:pt x="28" y="126"/>
                  </a:lnTo>
                  <a:lnTo>
                    <a:pt x="4" y="83"/>
                  </a:lnTo>
                  <a:lnTo>
                    <a:pt x="17" y="73"/>
                  </a:lnTo>
                  <a:lnTo>
                    <a:pt x="0" y="60"/>
                  </a:lnTo>
                  <a:lnTo>
                    <a:pt x="0" y="58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5" name="Freeform 88">
              <a:extLst>
                <a:ext uri="{FF2B5EF4-FFF2-40B4-BE49-F238E27FC236}">
                  <a16:creationId xmlns:a16="http://schemas.microsoft.com/office/drawing/2014/main" id="{9D88A5E3-7905-4E42-AFD0-681FE07BF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2765" y="5169923"/>
              <a:ext cx="638743" cy="565042"/>
            </a:xfrm>
            <a:custGeom>
              <a:avLst/>
              <a:gdLst>
                <a:gd name="T0" fmla="*/ 2 w 416"/>
                <a:gd name="T1" fmla="*/ 134 h 368"/>
                <a:gd name="T2" fmla="*/ 27 w 416"/>
                <a:gd name="T3" fmla="*/ 108 h 368"/>
                <a:gd name="T4" fmla="*/ 74 w 416"/>
                <a:gd name="T5" fmla="*/ 127 h 368"/>
                <a:gd name="T6" fmla="*/ 95 w 416"/>
                <a:gd name="T7" fmla="*/ 125 h 368"/>
                <a:gd name="T8" fmla="*/ 108 w 416"/>
                <a:gd name="T9" fmla="*/ 102 h 368"/>
                <a:gd name="T10" fmla="*/ 140 w 416"/>
                <a:gd name="T11" fmla="*/ 123 h 368"/>
                <a:gd name="T12" fmla="*/ 185 w 416"/>
                <a:gd name="T13" fmla="*/ 108 h 368"/>
                <a:gd name="T14" fmla="*/ 180 w 416"/>
                <a:gd name="T15" fmla="*/ 47 h 368"/>
                <a:gd name="T16" fmla="*/ 163 w 416"/>
                <a:gd name="T17" fmla="*/ 27 h 368"/>
                <a:gd name="T18" fmla="*/ 193 w 416"/>
                <a:gd name="T19" fmla="*/ 0 h 368"/>
                <a:gd name="T20" fmla="*/ 212 w 416"/>
                <a:gd name="T21" fmla="*/ 21 h 368"/>
                <a:gd name="T22" fmla="*/ 208 w 416"/>
                <a:gd name="T23" fmla="*/ 53 h 368"/>
                <a:gd name="T24" fmla="*/ 227 w 416"/>
                <a:gd name="T25" fmla="*/ 47 h 368"/>
                <a:gd name="T26" fmla="*/ 263 w 416"/>
                <a:gd name="T27" fmla="*/ 72 h 368"/>
                <a:gd name="T28" fmla="*/ 280 w 416"/>
                <a:gd name="T29" fmla="*/ 45 h 368"/>
                <a:gd name="T30" fmla="*/ 295 w 416"/>
                <a:gd name="T31" fmla="*/ 40 h 368"/>
                <a:gd name="T32" fmla="*/ 310 w 416"/>
                <a:gd name="T33" fmla="*/ 64 h 368"/>
                <a:gd name="T34" fmla="*/ 325 w 416"/>
                <a:gd name="T35" fmla="*/ 42 h 368"/>
                <a:gd name="T36" fmla="*/ 363 w 416"/>
                <a:gd name="T37" fmla="*/ 66 h 368"/>
                <a:gd name="T38" fmla="*/ 385 w 416"/>
                <a:gd name="T39" fmla="*/ 98 h 368"/>
                <a:gd name="T40" fmla="*/ 380 w 416"/>
                <a:gd name="T41" fmla="*/ 127 h 368"/>
                <a:gd name="T42" fmla="*/ 416 w 416"/>
                <a:gd name="T43" fmla="*/ 161 h 368"/>
                <a:gd name="T44" fmla="*/ 391 w 416"/>
                <a:gd name="T45" fmla="*/ 195 h 368"/>
                <a:gd name="T46" fmla="*/ 365 w 416"/>
                <a:gd name="T47" fmla="*/ 215 h 368"/>
                <a:gd name="T48" fmla="*/ 361 w 416"/>
                <a:gd name="T49" fmla="*/ 280 h 368"/>
                <a:gd name="T50" fmla="*/ 325 w 416"/>
                <a:gd name="T51" fmla="*/ 278 h 368"/>
                <a:gd name="T52" fmla="*/ 310 w 416"/>
                <a:gd name="T53" fmla="*/ 306 h 368"/>
                <a:gd name="T54" fmla="*/ 321 w 416"/>
                <a:gd name="T55" fmla="*/ 317 h 368"/>
                <a:gd name="T56" fmla="*/ 259 w 416"/>
                <a:gd name="T57" fmla="*/ 355 h 368"/>
                <a:gd name="T58" fmla="*/ 257 w 416"/>
                <a:gd name="T59" fmla="*/ 368 h 368"/>
                <a:gd name="T60" fmla="*/ 231 w 416"/>
                <a:gd name="T61" fmla="*/ 357 h 368"/>
                <a:gd name="T62" fmla="*/ 223 w 416"/>
                <a:gd name="T63" fmla="*/ 332 h 368"/>
                <a:gd name="T64" fmla="*/ 221 w 416"/>
                <a:gd name="T65" fmla="*/ 323 h 368"/>
                <a:gd name="T66" fmla="*/ 221 w 416"/>
                <a:gd name="T67" fmla="*/ 319 h 368"/>
                <a:gd name="T68" fmla="*/ 248 w 416"/>
                <a:gd name="T69" fmla="*/ 300 h 368"/>
                <a:gd name="T70" fmla="*/ 234 w 416"/>
                <a:gd name="T71" fmla="*/ 268 h 368"/>
                <a:gd name="T72" fmla="*/ 183 w 416"/>
                <a:gd name="T73" fmla="*/ 240 h 368"/>
                <a:gd name="T74" fmla="*/ 172 w 416"/>
                <a:gd name="T75" fmla="*/ 212 h 368"/>
                <a:gd name="T76" fmla="*/ 140 w 416"/>
                <a:gd name="T77" fmla="*/ 210 h 368"/>
                <a:gd name="T78" fmla="*/ 138 w 416"/>
                <a:gd name="T79" fmla="*/ 183 h 368"/>
                <a:gd name="T80" fmla="*/ 110 w 416"/>
                <a:gd name="T81" fmla="*/ 187 h 368"/>
                <a:gd name="T82" fmla="*/ 83 w 416"/>
                <a:gd name="T83" fmla="*/ 225 h 368"/>
                <a:gd name="T84" fmla="*/ 25 w 416"/>
                <a:gd name="T85" fmla="*/ 202 h 368"/>
                <a:gd name="T86" fmla="*/ 49 w 416"/>
                <a:gd name="T87" fmla="*/ 164 h 368"/>
                <a:gd name="T88" fmla="*/ 0 w 416"/>
                <a:gd name="T89" fmla="*/ 136 h 368"/>
                <a:gd name="T90" fmla="*/ 2 w 416"/>
                <a:gd name="T91" fmla="*/ 134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16" h="368">
                  <a:moveTo>
                    <a:pt x="2" y="134"/>
                  </a:moveTo>
                  <a:lnTo>
                    <a:pt x="27" y="108"/>
                  </a:lnTo>
                  <a:lnTo>
                    <a:pt x="74" y="127"/>
                  </a:lnTo>
                  <a:lnTo>
                    <a:pt x="95" y="125"/>
                  </a:lnTo>
                  <a:lnTo>
                    <a:pt x="108" y="102"/>
                  </a:lnTo>
                  <a:lnTo>
                    <a:pt x="140" y="123"/>
                  </a:lnTo>
                  <a:lnTo>
                    <a:pt x="185" y="108"/>
                  </a:lnTo>
                  <a:lnTo>
                    <a:pt x="180" y="47"/>
                  </a:lnTo>
                  <a:lnTo>
                    <a:pt x="163" y="27"/>
                  </a:lnTo>
                  <a:lnTo>
                    <a:pt x="193" y="0"/>
                  </a:lnTo>
                  <a:lnTo>
                    <a:pt x="212" y="21"/>
                  </a:lnTo>
                  <a:lnTo>
                    <a:pt x="208" y="53"/>
                  </a:lnTo>
                  <a:lnTo>
                    <a:pt x="227" y="47"/>
                  </a:lnTo>
                  <a:lnTo>
                    <a:pt x="263" y="72"/>
                  </a:lnTo>
                  <a:lnTo>
                    <a:pt x="280" y="45"/>
                  </a:lnTo>
                  <a:lnTo>
                    <a:pt x="295" y="40"/>
                  </a:lnTo>
                  <a:lnTo>
                    <a:pt x="310" y="64"/>
                  </a:lnTo>
                  <a:lnTo>
                    <a:pt x="325" y="42"/>
                  </a:lnTo>
                  <a:lnTo>
                    <a:pt x="363" y="66"/>
                  </a:lnTo>
                  <a:lnTo>
                    <a:pt x="385" y="98"/>
                  </a:lnTo>
                  <a:lnTo>
                    <a:pt x="380" y="127"/>
                  </a:lnTo>
                  <a:lnTo>
                    <a:pt x="416" y="161"/>
                  </a:lnTo>
                  <a:lnTo>
                    <a:pt x="391" y="195"/>
                  </a:lnTo>
                  <a:lnTo>
                    <a:pt x="365" y="215"/>
                  </a:lnTo>
                  <a:lnTo>
                    <a:pt x="361" y="280"/>
                  </a:lnTo>
                  <a:lnTo>
                    <a:pt x="325" y="278"/>
                  </a:lnTo>
                  <a:lnTo>
                    <a:pt x="310" y="306"/>
                  </a:lnTo>
                  <a:lnTo>
                    <a:pt x="321" y="317"/>
                  </a:lnTo>
                  <a:lnTo>
                    <a:pt x="259" y="355"/>
                  </a:lnTo>
                  <a:lnTo>
                    <a:pt x="257" y="368"/>
                  </a:lnTo>
                  <a:lnTo>
                    <a:pt x="231" y="357"/>
                  </a:lnTo>
                  <a:lnTo>
                    <a:pt x="223" y="332"/>
                  </a:lnTo>
                  <a:lnTo>
                    <a:pt x="221" y="323"/>
                  </a:lnTo>
                  <a:lnTo>
                    <a:pt x="221" y="319"/>
                  </a:lnTo>
                  <a:lnTo>
                    <a:pt x="248" y="300"/>
                  </a:lnTo>
                  <a:lnTo>
                    <a:pt x="234" y="268"/>
                  </a:lnTo>
                  <a:lnTo>
                    <a:pt x="183" y="240"/>
                  </a:lnTo>
                  <a:lnTo>
                    <a:pt x="172" y="212"/>
                  </a:lnTo>
                  <a:lnTo>
                    <a:pt x="140" y="210"/>
                  </a:lnTo>
                  <a:lnTo>
                    <a:pt x="138" y="183"/>
                  </a:lnTo>
                  <a:lnTo>
                    <a:pt x="110" y="187"/>
                  </a:lnTo>
                  <a:lnTo>
                    <a:pt x="83" y="225"/>
                  </a:lnTo>
                  <a:lnTo>
                    <a:pt x="25" y="202"/>
                  </a:lnTo>
                  <a:lnTo>
                    <a:pt x="49" y="164"/>
                  </a:lnTo>
                  <a:lnTo>
                    <a:pt x="0" y="136"/>
                  </a:lnTo>
                  <a:lnTo>
                    <a:pt x="2" y="13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6" name="Freeform 89">
              <a:extLst>
                <a:ext uri="{FF2B5EF4-FFF2-40B4-BE49-F238E27FC236}">
                  <a16:creationId xmlns:a16="http://schemas.microsoft.com/office/drawing/2014/main" id="{9F1D05EA-2717-4AD3-985F-68BA3AE115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7366" y="5469335"/>
              <a:ext cx="669452" cy="677130"/>
            </a:xfrm>
            <a:custGeom>
              <a:avLst/>
              <a:gdLst>
                <a:gd name="T0" fmla="*/ 2 w 436"/>
                <a:gd name="T1" fmla="*/ 417 h 441"/>
                <a:gd name="T2" fmla="*/ 11 w 436"/>
                <a:gd name="T3" fmla="*/ 370 h 441"/>
                <a:gd name="T4" fmla="*/ 32 w 436"/>
                <a:gd name="T5" fmla="*/ 377 h 441"/>
                <a:gd name="T6" fmla="*/ 57 w 436"/>
                <a:gd name="T7" fmla="*/ 341 h 441"/>
                <a:gd name="T8" fmla="*/ 47 w 436"/>
                <a:gd name="T9" fmla="*/ 315 h 441"/>
                <a:gd name="T10" fmla="*/ 23 w 436"/>
                <a:gd name="T11" fmla="*/ 324 h 441"/>
                <a:gd name="T12" fmla="*/ 34 w 436"/>
                <a:gd name="T13" fmla="*/ 298 h 441"/>
                <a:gd name="T14" fmla="*/ 4 w 436"/>
                <a:gd name="T15" fmla="*/ 277 h 441"/>
                <a:gd name="T16" fmla="*/ 51 w 436"/>
                <a:gd name="T17" fmla="*/ 213 h 441"/>
                <a:gd name="T18" fmla="*/ 91 w 436"/>
                <a:gd name="T19" fmla="*/ 177 h 441"/>
                <a:gd name="T20" fmla="*/ 155 w 436"/>
                <a:gd name="T21" fmla="*/ 196 h 441"/>
                <a:gd name="T22" fmla="*/ 172 w 436"/>
                <a:gd name="T23" fmla="*/ 132 h 441"/>
                <a:gd name="T24" fmla="*/ 210 w 436"/>
                <a:gd name="T25" fmla="*/ 124 h 441"/>
                <a:gd name="T26" fmla="*/ 147 w 436"/>
                <a:gd name="T27" fmla="*/ 41 h 441"/>
                <a:gd name="T28" fmla="*/ 200 w 436"/>
                <a:gd name="T29" fmla="*/ 30 h 441"/>
                <a:gd name="T30" fmla="*/ 217 w 436"/>
                <a:gd name="T31" fmla="*/ 49 h 441"/>
                <a:gd name="T32" fmla="*/ 255 w 436"/>
                <a:gd name="T33" fmla="*/ 32 h 441"/>
                <a:gd name="T34" fmla="*/ 240 w 436"/>
                <a:gd name="T35" fmla="*/ 22 h 441"/>
                <a:gd name="T36" fmla="*/ 257 w 436"/>
                <a:gd name="T37" fmla="*/ 7 h 441"/>
                <a:gd name="T38" fmla="*/ 308 w 436"/>
                <a:gd name="T39" fmla="*/ 0 h 441"/>
                <a:gd name="T40" fmla="*/ 317 w 436"/>
                <a:gd name="T41" fmla="*/ 37 h 441"/>
                <a:gd name="T42" fmla="*/ 346 w 436"/>
                <a:gd name="T43" fmla="*/ 73 h 441"/>
                <a:gd name="T44" fmla="*/ 336 w 436"/>
                <a:gd name="T45" fmla="*/ 81 h 441"/>
                <a:gd name="T46" fmla="*/ 353 w 436"/>
                <a:gd name="T47" fmla="*/ 92 h 441"/>
                <a:gd name="T48" fmla="*/ 342 w 436"/>
                <a:gd name="T49" fmla="*/ 107 h 441"/>
                <a:gd name="T50" fmla="*/ 400 w 436"/>
                <a:gd name="T51" fmla="*/ 154 h 441"/>
                <a:gd name="T52" fmla="*/ 436 w 436"/>
                <a:gd name="T53" fmla="*/ 154 h 441"/>
                <a:gd name="T54" fmla="*/ 431 w 436"/>
                <a:gd name="T55" fmla="*/ 179 h 441"/>
                <a:gd name="T56" fmla="*/ 397 w 436"/>
                <a:gd name="T57" fmla="*/ 192 h 441"/>
                <a:gd name="T58" fmla="*/ 383 w 436"/>
                <a:gd name="T59" fmla="*/ 175 h 441"/>
                <a:gd name="T60" fmla="*/ 372 w 436"/>
                <a:gd name="T61" fmla="*/ 211 h 441"/>
                <a:gd name="T62" fmla="*/ 351 w 436"/>
                <a:gd name="T63" fmla="*/ 213 h 441"/>
                <a:gd name="T64" fmla="*/ 342 w 436"/>
                <a:gd name="T65" fmla="*/ 232 h 441"/>
                <a:gd name="T66" fmla="*/ 338 w 436"/>
                <a:gd name="T67" fmla="*/ 236 h 441"/>
                <a:gd name="T68" fmla="*/ 325 w 436"/>
                <a:gd name="T69" fmla="*/ 249 h 441"/>
                <a:gd name="T70" fmla="*/ 287 w 436"/>
                <a:gd name="T71" fmla="*/ 228 h 441"/>
                <a:gd name="T72" fmla="*/ 278 w 436"/>
                <a:gd name="T73" fmla="*/ 258 h 441"/>
                <a:gd name="T74" fmla="*/ 240 w 436"/>
                <a:gd name="T75" fmla="*/ 222 h 441"/>
                <a:gd name="T76" fmla="*/ 232 w 436"/>
                <a:gd name="T77" fmla="*/ 234 h 441"/>
                <a:gd name="T78" fmla="*/ 255 w 436"/>
                <a:gd name="T79" fmla="*/ 251 h 441"/>
                <a:gd name="T80" fmla="*/ 215 w 436"/>
                <a:gd name="T81" fmla="*/ 264 h 441"/>
                <a:gd name="T82" fmla="*/ 234 w 436"/>
                <a:gd name="T83" fmla="*/ 287 h 441"/>
                <a:gd name="T84" fmla="*/ 223 w 436"/>
                <a:gd name="T85" fmla="*/ 298 h 441"/>
                <a:gd name="T86" fmla="*/ 168 w 436"/>
                <a:gd name="T87" fmla="*/ 279 h 441"/>
                <a:gd name="T88" fmla="*/ 149 w 436"/>
                <a:gd name="T89" fmla="*/ 294 h 441"/>
                <a:gd name="T90" fmla="*/ 144 w 436"/>
                <a:gd name="T91" fmla="*/ 341 h 441"/>
                <a:gd name="T92" fmla="*/ 104 w 436"/>
                <a:gd name="T93" fmla="*/ 362 h 441"/>
                <a:gd name="T94" fmla="*/ 104 w 436"/>
                <a:gd name="T95" fmla="*/ 364 h 441"/>
                <a:gd name="T96" fmla="*/ 110 w 436"/>
                <a:gd name="T97" fmla="*/ 392 h 441"/>
                <a:gd name="T98" fmla="*/ 64 w 436"/>
                <a:gd name="T99" fmla="*/ 379 h 441"/>
                <a:gd name="T100" fmla="*/ 59 w 436"/>
                <a:gd name="T101" fmla="*/ 441 h 441"/>
                <a:gd name="T102" fmla="*/ 8 w 436"/>
                <a:gd name="T103" fmla="*/ 436 h 441"/>
                <a:gd name="T104" fmla="*/ 0 w 436"/>
                <a:gd name="T105" fmla="*/ 424 h 441"/>
                <a:gd name="T106" fmla="*/ 2 w 436"/>
                <a:gd name="T107" fmla="*/ 417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36" h="441">
                  <a:moveTo>
                    <a:pt x="2" y="417"/>
                  </a:moveTo>
                  <a:lnTo>
                    <a:pt x="11" y="370"/>
                  </a:lnTo>
                  <a:lnTo>
                    <a:pt x="32" y="377"/>
                  </a:lnTo>
                  <a:lnTo>
                    <a:pt x="57" y="341"/>
                  </a:lnTo>
                  <a:lnTo>
                    <a:pt x="47" y="315"/>
                  </a:lnTo>
                  <a:lnTo>
                    <a:pt x="23" y="324"/>
                  </a:lnTo>
                  <a:lnTo>
                    <a:pt x="34" y="298"/>
                  </a:lnTo>
                  <a:lnTo>
                    <a:pt x="4" y="277"/>
                  </a:lnTo>
                  <a:lnTo>
                    <a:pt x="51" y="213"/>
                  </a:lnTo>
                  <a:lnTo>
                    <a:pt x="91" y="177"/>
                  </a:lnTo>
                  <a:lnTo>
                    <a:pt x="155" y="196"/>
                  </a:lnTo>
                  <a:lnTo>
                    <a:pt x="172" y="132"/>
                  </a:lnTo>
                  <a:lnTo>
                    <a:pt x="210" y="124"/>
                  </a:lnTo>
                  <a:lnTo>
                    <a:pt x="147" y="41"/>
                  </a:lnTo>
                  <a:lnTo>
                    <a:pt x="200" y="30"/>
                  </a:lnTo>
                  <a:lnTo>
                    <a:pt x="217" y="49"/>
                  </a:lnTo>
                  <a:lnTo>
                    <a:pt x="255" y="32"/>
                  </a:lnTo>
                  <a:lnTo>
                    <a:pt x="240" y="22"/>
                  </a:lnTo>
                  <a:lnTo>
                    <a:pt x="257" y="7"/>
                  </a:lnTo>
                  <a:lnTo>
                    <a:pt x="308" y="0"/>
                  </a:lnTo>
                  <a:lnTo>
                    <a:pt x="317" y="37"/>
                  </a:lnTo>
                  <a:lnTo>
                    <a:pt x="346" y="73"/>
                  </a:lnTo>
                  <a:lnTo>
                    <a:pt x="336" y="81"/>
                  </a:lnTo>
                  <a:lnTo>
                    <a:pt x="353" y="92"/>
                  </a:lnTo>
                  <a:lnTo>
                    <a:pt x="342" y="107"/>
                  </a:lnTo>
                  <a:lnTo>
                    <a:pt x="400" y="154"/>
                  </a:lnTo>
                  <a:lnTo>
                    <a:pt x="436" y="154"/>
                  </a:lnTo>
                  <a:lnTo>
                    <a:pt x="431" y="179"/>
                  </a:lnTo>
                  <a:lnTo>
                    <a:pt x="397" y="192"/>
                  </a:lnTo>
                  <a:lnTo>
                    <a:pt x="383" y="175"/>
                  </a:lnTo>
                  <a:lnTo>
                    <a:pt x="372" y="211"/>
                  </a:lnTo>
                  <a:lnTo>
                    <a:pt x="351" y="213"/>
                  </a:lnTo>
                  <a:lnTo>
                    <a:pt x="342" y="232"/>
                  </a:lnTo>
                  <a:lnTo>
                    <a:pt x="338" y="236"/>
                  </a:lnTo>
                  <a:lnTo>
                    <a:pt x="325" y="249"/>
                  </a:lnTo>
                  <a:lnTo>
                    <a:pt x="287" y="228"/>
                  </a:lnTo>
                  <a:lnTo>
                    <a:pt x="278" y="258"/>
                  </a:lnTo>
                  <a:lnTo>
                    <a:pt x="240" y="222"/>
                  </a:lnTo>
                  <a:lnTo>
                    <a:pt x="232" y="234"/>
                  </a:lnTo>
                  <a:lnTo>
                    <a:pt x="255" y="251"/>
                  </a:lnTo>
                  <a:lnTo>
                    <a:pt x="215" y="264"/>
                  </a:lnTo>
                  <a:lnTo>
                    <a:pt x="234" y="287"/>
                  </a:lnTo>
                  <a:lnTo>
                    <a:pt x="223" y="298"/>
                  </a:lnTo>
                  <a:lnTo>
                    <a:pt x="168" y="279"/>
                  </a:lnTo>
                  <a:lnTo>
                    <a:pt x="149" y="294"/>
                  </a:lnTo>
                  <a:lnTo>
                    <a:pt x="144" y="341"/>
                  </a:lnTo>
                  <a:lnTo>
                    <a:pt x="104" y="362"/>
                  </a:lnTo>
                  <a:lnTo>
                    <a:pt x="104" y="364"/>
                  </a:lnTo>
                  <a:lnTo>
                    <a:pt x="110" y="392"/>
                  </a:lnTo>
                  <a:lnTo>
                    <a:pt x="64" y="379"/>
                  </a:lnTo>
                  <a:lnTo>
                    <a:pt x="59" y="441"/>
                  </a:lnTo>
                  <a:lnTo>
                    <a:pt x="8" y="436"/>
                  </a:lnTo>
                  <a:lnTo>
                    <a:pt x="0" y="424"/>
                  </a:lnTo>
                  <a:lnTo>
                    <a:pt x="2" y="41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7" name="Freeform 90">
              <a:extLst>
                <a:ext uri="{FF2B5EF4-FFF2-40B4-BE49-F238E27FC236}">
                  <a16:creationId xmlns:a16="http://schemas.microsoft.com/office/drawing/2014/main" id="{595B8E3C-2645-4316-A355-40DC2D138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4890" y="5450909"/>
              <a:ext cx="678665" cy="420711"/>
            </a:xfrm>
            <a:custGeom>
              <a:avLst/>
              <a:gdLst>
                <a:gd name="T0" fmla="*/ 2 w 442"/>
                <a:gd name="T1" fmla="*/ 223 h 274"/>
                <a:gd name="T2" fmla="*/ 9 w 442"/>
                <a:gd name="T3" fmla="*/ 197 h 274"/>
                <a:gd name="T4" fmla="*/ 36 w 442"/>
                <a:gd name="T5" fmla="*/ 180 h 274"/>
                <a:gd name="T6" fmla="*/ 22 w 442"/>
                <a:gd name="T7" fmla="*/ 144 h 274"/>
                <a:gd name="T8" fmla="*/ 30 w 442"/>
                <a:gd name="T9" fmla="*/ 112 h 274"/>
                <a:gd name="T10" fmla="*/ 58 w 442"/>
                <a:gd name="T11" fmla="*/ 127 h 274"/>
                <a:gd name="T12" fmla="*/ 107 w 442"/>
                <a:gd name="T13" fmla="*/ 97 h 274"/>
                <a:gd name="T14" fmla="*/ 139 w 442"/>
                <a:gd name="T15" fmla="*/ 97 h 274"/>
                <a:gd name="T16" fmla="*/ 141 w 442"/>
                <a:gd name="T17" fmla="*/ 46 h 274"/>
                <a:gd name="T18" fmla="*/ 183 w 442"/>
                <a:gd name="T19" fmla="*/ 53 h 274"/>
                <a:gd name="T20" fmla="*/ 194 w 442"/>
                <a:gd name="T21" fmla="*/ 25 h 274"/>
                <a:gd name="T22" fmla="*/ 219 w 442"/>
                <a:gd name="T23" fmla="*/ 19 h 274"/>
                <a:gd name="T24" fmla="*/ 277 w 442"/>
                <a:gd name="T25" fmla="*/ 42 h 274"/>
                <a:gd name="T26" fmla="*/ 304 w 442"/>
                <a:gd name="T27" fmla="*/ 4 h 274"/>
                <a:gd name="T28" fmla="*/ 332 w 442"/>
                <a:gd name="T29" fmla="*/ 0 h 274"/>
                <a:gd name="T30" fmla="*/ 334 w 442"/>
                <a:gd name="T31" fmla="*/ 27 h 274"/>
                <a:gd name="T32" fmla="*/ 366 w 442"/>
                <a:gd name="T33" fmla="*/ 29 h 274"/>
                <a:gd name="T34" fmla="*/ 377 w 442"/>
                <a:gd name="T35" fmla="*/ 57 h 274"/>
                <a:gd name="T36" fmla="*/ 428 w 442"/>
                <a:gd name="T37" fmla="*/ 85 h 274"/>
                <a:gd name="T38" fmla="*/ 442 w 442"/>
                <a:gd name="T39" fmla="*/ 117 h 274"/>
                <a:gd name="T40" fmla="*/ 415 w 442"/>
                <a:gd name="T41" fmla="*/ 136 h 274"/>
                <a:gd name="T42" fmla="*/ 415 w 442"/>
                <a:gd name="T43" fmla="*/ 140 h 274"/>
                <a:gd name="T44" fmla="*/ 417 w 442"/>
                <a:gd name="T45" fmla="*/ 149 h 274"/>
                <a:gd name="T46" fmla="*/ 366 w 442"/>
                <a:gd name="T47" fmla="*/ 163 h 274"/>
                <a:gd name="T48" fmla="*/ 260 w 442"/>
                <a:gd name="T49" fmla="*/ 255 h 274"/>
                <a:gd name="T50" fmla="*/ 238 w 442"/>
                <a:gd name="T51" fmla="*/ 248 h 274"/>
                <a:gd name="T52" fmla="*/ 187 w 442"/>
                <a:gd name="T53" fmla="*/ 274 h 274"/>
                <a:gd name="T54" fmla="*/ 96 w 442"/>
                <a:gd name="T55" fmla="*/ 234 h 274"/>
                <a:gd name="T56" fmla="*/ 90 w 442"/>
                <a:gd name="T57" fmla="*/ 214 h 274"/>
                <a:gd name="T58" fmla="*/ 58 w 442"/>
                <a:gd name="T59" fmla="*/ 259 h 274"/>
                <a:gd name="T60" fmla="*/ 41 w 442"/>
                <a:gd name="T61" fmla="*/ 236 h 274"/>
                <a:gd name="T62" fmla="*/ 22 w 442"/>
                <a:gd name="T63" fmla="*/ 246 h 274"/>
                <a:gd name="T64" fmla="*/ 0 w 442"/>
                <a:gd name="T65" fmla="*/ 225 h 274"/>
                <a:gd name="T66" fmla="*/ 2 w 442"/>
                <a:gd name="T67" fmla="*/ 2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42" h="274">
                  <a:moveTo>
                    <a:pt x="2" y="223"/>
                  </a:moveTo>
                  <a:lnTo>
                    <a:pt x="9" y="197"/>
                  </a:lnTo>
                  <a:lnTo>
                    <a:pt x="36" y="180"/>
                  </a:lnTo>
                  <a:lnTo>
                    <a:pt x="22" y="144"/>
                  </a:lnTo>
                  <a:lnTo>
                    <a:pt x="30" y="112"/>
                  </a:lnTo>
                  <a:lnTo>
                    <a:pt x="58" y="127"/>
                  </a:lnTo>
                  <a:lnTo>
                    <a:pt x="107" y="97"/>
                  </a:lnTo>
                  <a:lnTo>
                    <a:pt x="139" y="97"/>
                  </a:lnTo>
                  <a:lnTo>
                    <a:pt x="141" y="46"/>
                  </a:lnTo>
                  <a:lnTo>
                    <a:pt x="183" y="53"/>
                  </a:lnTo>
                  <a:lnTo>
                    <a:pt x="194" y="25"/>
                  </a:lnTo>
                  <a:lnTo>
                    <a:pt x="219" y="19"/>
                  </a:lnTo>
                  <a:lnTo>
                    <a:pt x="277" y="42"/>
                  </a:lnTo>
                  <a:lnTo>
                    <a:pt x="304" y="4"/>
                  </a:lnTo>
                  <a:lnTo>
                    <a:pt x="332" y="0"/>
                  </a:lnTo>
                  <a:lnTo>
                    <a:pt x="334" y="27"/>
                  </a:lnTo>
                  <a:lnTo>
                    <a:pt x="366" y="29"/>
                  </a:lnTo>
                  <a:lnTo>
                    <a:pt x="377" y="57"/>
                  </a:lnTo>
                  <a:lnTo>
                    <a:pt x="428" y="85"/>
                  </a:lnTo>
                  <a:lnTo>
                    <a:pt x="442" y="117"/>
                  </a:lnTo>
                  <a:lnTo>
                    <a:pt x="415" y="136"/>
                  </a:lnTo>
                  <a:lnTo>
                    <a:pt x="415" y="140"/>
                  </a:lnTo>
                  <a:lnTo>
                    <a:pt x="417" y="149"/>
                  </a:lnTo>
                  <a:lnTo>
                    <a:pt x="366" y="163"/>
                  </a:lnTo>
                  <a:lnTo>
                    <a:pt x="260" y="255"/>
                  </a:lnTo>
                  <a:lnTo>
                    <a:pt x="238" y="248"/>
                  </a:lnTo>
                  <a:lnTo>
                    <a:pt x="187" y="274"/>
                  </a:lnTo>
                  <a:lnTo>
                    <a:pt x="96" y="234"/>
                  </a:lnTo>
                  <a:lnTo>
                    <a:pt x="90" y="214"/>
                  </a:lnTo>
                  <a:lnTo>
                    <a:pt x="58" y="259"/>
                  </a:lnTo>
                  <a:lnTo>
                    <a:pt x="41" y="236"/>
                  </a:lnTo>
                  <a:lnTo>
                    <a:pt x="22" y="246"/>
                  </a:lnTo>
                  <a:lnTo>
                    <a:pt x="0" y="225"/>
                  </a:lnTo>
                  <a:lnTo>
                    <a:pt x="2" y="22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8" name="Freeform 91">
              <a:extLst>
                <a:ext uri="{FF2B5EF4-FFF2-40B4-BE49-F238E27FC236}">
                  <a16:creationId xmlns:a16="http://schemas.microsoft.com/office/drawing/2014/main" id="{7245D374-8466-413F-B1E1-9AB2B950B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0708" y="2717825"/>
              <a:ext cx="475986" cy="597287"/>
            </a:xfrm>
            <a:custGeom>
              <a:avLst/>
              <a:gdLst>
                <a:gd name="T0" fmla="*/ 2 w 310"/>
                <a:gd name="T1" fmla="*/ 247 h 389"/>
                <a:gd name="T2" fmla="*/ 29 w 310"/>
                <a:gd name="T3" fmla="*/ 226 h 389"/>
                <a:gd name="T4" fmla="*/ 8 w 310"/>
                <a:gd name="T5" fmla="*/ 230 h 389"/>
                <a:gd name="T6" fmla="*/ 2 w 310"/>
                <a:gd name="T7" fmla="*/ 204 h 389"/>
                <a:gd name="T8" fmla="*/ 29 w 310"/>
                <a:gd name="T9" fmla="*/ 162 h 389"/>
                <a:gd name="T10" fmla="*/ 87 w 310"/>
                <a:gd name="T11" fmla="*/ 153 h 389"/>
                <a:gd name="T12" fmla="*/ 95 w 310"/>
                <a:gd name="T13" fmla="*/ 130 h 389"/>
                <a:gd name="T14" fmla="*/ 102 w 310"/>
                <a:gd name="T15" fmla="*/ 62 h 389"/>
                <a:gd name="T16" fmla="*/ 53 w 310"/>
                <a:gd name="T17" fmla="*/ 36 h 389"/>
                <a:gd name="T18" fmla="*/ 49 w 310"/>
                <a:gd name="T19" fmla="*/ 24 h 389"/>
                <a:gd name="T20" fmla="*/ 123 w 310"/>
                <a:gd name="T21" fmla="*/ 0 h 389"/>
                <a:gd name="T22" fmla="*/ 121 w 310"/>
                <a:gd name="T23" fmla="*/ 34 h 389"/>
                <a:gd name="T24" fmla="*/ 189 w 310"/>
                <a:gd name="T25" fmla="*/ 34 h 389"/>
                <a:gd name="T26" fmla="*/ 219 w 310"/>
                <a:gd name="T27" fmla="*/ 98 h 389"/>
                <a:gd name="T28" fmla="*/ 265 w 310"/>
                <a:gd name="T29" fmla="*/ 70 h 389"/>
                <a:gd name="T30" fmla="*/ 306 w 310"/>
                <a:gd name="T31" fmla="*/ 87 h 389"/>
                <a:gd name="T32" fmla="*/ 308 w 310"/>
                <a:gd name="T33" fmla="*/ 153 h 389"/>
                <a:gd name="T34" fmla="*/ 295 w 310"/>
                <a:gd name="T35" fmla="*/ 175 h 389"/>
                <a:gd name="T36" fmla="*/ 310 w 310"/>
                <a:gd name="T37" fmla="*/ 266 h 389"/>
                <a:gd name="T38" fmla="*/ 276 w 310"/>
                <a:gd name="T39" fmla="*/ 281 h 389"/>
                <a:gd name="T40" fmla="*/ 250 w 310"/>
                <a:gd name="T41" fmla="*/ 336 h 389"/>
                <a:gd name="T42" fmla="*/ 250 w 310"/>
                <a:gd name="T43" fmla="*/ 338 h 389"/>
                <a:gd name="T44" fmla="*/ 246 w 310"/>
                <a:gd name="T45" fmla="*/ 351 h 389"/>
                <a:gd name="T46" fmla="*/ 195 w 310"/>
                <a:gd name="T47" fmla="*/ 326 h 389"/>
                <a:gd name="T48" fmla="*/ 144 w 310"/>
                <a:gd name="T49" fmla="*/ 366 h 389"/>
                <a:gd name="T50" fmla="*/ 68 w 310"/>
                <a:gd name="T51" fmla="*/ 370 h 389"/>
                <a:gd name="T52" fmla="*/ 34 w 310"/>
                <a:gd name="T53" fmla="*/ 389 h 389"/>
                <a:gd name="T54" fmla="*/ 29 w 310"/>
                <a:gd name="T55" fmla="*/ 355 h 389"/>
                <a:gd name="T56" fmla="*/ 49 w 310"/>
                <a:gd name="T57" fmla="*/ 347 h 389"/>
                <a:gd name="T58" fmla="*/ 32 w 310"/>
                <a:gd name="T59" fmla="*/ 338 h 389"/>
                <a:gd name="T60" fmla="*/ 53 w 310"/>
                <a:gd name="T61" fmla="*/ 309 h 389"/>
                <a:gd name="T62" fmla="*/ 36 w 310"/>
                <a:gd name="T63" fmla="*/ 309 h 389"/>
                <a:gd name="T64" fmla="*/ 46 w 310"/>
                <a:gd name="T65" fmla="*/ 283 h 389"/>
                <a:gd name="T66" fmla="*/ 34 w 310"/>
                <a:gd name="T67" fmla="*/ 260 h 389"/>
                <a:gd name="T68" fmla="*/ 0 w 310"/>
                <a:gd name="T69" fmla="*/ 253 h 389"/>
                <a:gd name="T70" fmla="*/ 2 w 310"/>
                <a:gd name="T71" fmla="*/ 247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10" h="389">
                  <a:moveTo>
                    <a:pt x="2" y="247"/>
                  </a:moveTo>
                  <a:lnTo>
                    <a:pt x="29" y="226"/>
                  </a:lnTo>
                  <a:lnTo>
                    <a:pt x="8" y="230"/>
                  </a:lnTo>
                  <a:lnTo>
                    <a:pt x="2" y="204"/>
                  </a:lnTo>
                  <a:lnTo>
                    <a:pt x="29" y="162"/>
                  </a:lnTo>
                  <a:lnTo>
                    <a:pt x="87" y="153"/>
                  </a:lnTo>
                  <a:lnTo>
                    <a:pt x="95" y="130"/>
                  </a:lnTo>
                  <a:lnTo>
                    <a:pt x="102" y="62"/>
                  </a:lnTo>
                  <a:lnTo>
                    <a:pt x="53" y="36"/>
                  </a:lnTo>
                  <a:lnTo>
                    <a:pt x="49" y="24"/>
                  </a:lnTo>
                  <a:lnTo>
                    <a:pt x="123" y="0"/>
                  </a:lnTo>
                  <a:lnTo>
                    <a:pt x="121" y="34"/>
                  </a:lnTo>
                  <a:lnTo>
                    <a:pt x="189" y="34"/>
                  </a:lnTo>
                  <a:lnTo>
                    <a:pt x="219" y="98"/>
                  </a:lnTo>
                  <a:lnTo>
                    <a:pt x="265" y="70"/>
                  </a:lnTo>
                  <a:lnTo>
                    <a:pt x="306" y="87"/>
                  </a:lnTo>
                  <a:lnTo>
                    <a:pt x="308" y="153"/>
                  </a:lnTo>
                  <a:lnTo>
                    <a:pt x="295" y="175"/>
                  </a:lnTo>
                  <a:lnTo>
                    <a:pt x="310" y="266"/>
                  </a:lnTo>
                  <a:lnTo>
                    <a:pt x="276" y="281"/>
                  </a:lnTo>
                  <a:lnTo>
                    <a:pt x="250" y="336"/>
                  </a:lnTo>
                  <a:lnTo>
                    <a:pt x="250" y="338"/>
                  </a:lnTo>
                  <a:lnTo>
                    <a:pt x="246" y="351"/>
                  </a:lnTo>
                  <a:lnTo>
                    <a:pt x="195" y="326"/>
                  </a:lnTo>
                  <a:lnTo>
                    <a:pt x="144" y="366"/>
                  </a:lnTo>
                  <a:lnTo>
                    <a:pt x="68" y="370"/>
                  </a:lnTo>
                  <a:lnTo>
                    <a:pt x="34" y="389"/>
                  </a:lnTo>
                  <a:lnTo>
                    <a:pt x="29" y="355"/>
                  </a:lnTo>
                  <a:lnTo>
                    <a:pt x="49" y="347"/>
                  </a:lnTo>
                  <a:lnTo>
                    <a:pt x="32" y="338"/>
                  </a:lnTo>
                  <a:lnTo>
                    <a:pt x="53" y="309"/>
                  </a:lnTo>
                  <a:lnTo>
                    <a:pt x="36" y="309"/>
                  </a:lnTo>
                  <a:lnTo>
                    <a:pt x="46" y="283"/>
                  </a:lnTo>
                  <a:lnTo>
                    <a:pt x="34" y="260"/>
                  </a:lnTo>
                  <a:lnTo>
                    <a:pt x="0" y="253"/>
                  </a:lnTo>
                  <a:lnTo>
                    <a:pt x="2" y="24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9" name="Freeform 92">
              <a:extLst>
                <a:ext uri="{FF2B5EF4-FFF2-40B4-BE49-F238E27FC236}">
                  <a16:creationId xmlns:a16="http://schemas.microsoft.com/office/drawing/2014/main" id="{87FF827C-0591-4E43-8EC0-BE1FBCA267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0203" y="2989597"/>
              <a:ext cx="603428" cy="482128"/>
            </a:xfrm>
            <a:custGeom>
              <a:avLst/>
              <a:gdLst>
                <a:gd name="T0" fmla="*/ 2 w 393"/>
                <a:gd name="T1" fmla="*/ 117 h 314"/>
                <a:gd name="T2" fmla="*/ 32 w 393"/>
                <a:gd name="T3" fmla="*/ 93 h 314"/>
                <a:gd name="T4" fmla="*/ 85 w 393"/>
                <a:gd name="T5" fmla="*/ 91 h 314"/>
                <a:gd name="T6" fmla="*/ 110 w 393"/>
                <a:gd name="T7" fmla="*/ 59 h 314"/>
                <a:gd name="T8" fmla="*/ 117 w 393"/>
                <a:gd name="T9" fmla="*/ 19 h 314"/>
                <a:gd name="T10" fmla="*/ 170 w 393"/>
                <a:gd name="T11" fmla="*/ 0 h 314"/>
                <a:gd name="T12" fmla="*/ 178 w 393"/>
                <a:gd name="T13" fmla="*/ 15 h 314"/>
                <a:gd name="T14" fmla="*/ 216 w 393"/>
                <a:gd name="T15" fmla="*/ 8 h 314"/>
                <a:gd name="T16" fmla="*/ 246 w 393"/>
                <a:gd name="T17" fmla="*/ 53 h 314"/>
                <a:gd name="T18" fmla="*/ 231 w 393"/>
                <a:gd name="T19" fmla="*/ 78 h 314"/>
                <a:gd name="T20" fmla="*/ 348 w 393"/>
                <a:gd name="T21" fmla="*/ 66 h 314"/>
                <a:gd name="T22" fmla="*/ 370 w 393"/>
                <a:gd name="T23" fmla="*/ 76 h 314"/>
                <a:gd name="T24" fmla="*/ 393 w 393"/>
                <a:gd name="T25" fmla="*/ 138 h 314"/>
                <a:gd name="T26" fmla="*/ 363 w 393"/>
                <a:gd name="T27" fmla="*/ 166 h 314"/>
                <a:gd name="T28" fmla="*/ 367 w 393"/>
                <a:gd name="T29" fmla="*/ 204 h 314"/>
                <a:gd name="T30" fmla="*/ 325 w 393"/>
                <a:gd name="T31" fmla="*/ 225 h 314"/>
                <a:gd name="T32" fmla="*/ 325 w 393"/>
                <a:gd name="T33" fmla="*/ 229 h 314"/>
                <a:gd name="T34" fmla="*/ 355 w 393"/>
                <a:gd name="T35" fmla="*/ 282 h 314"/>
                <a:gd name="T36" fmla="*/ 327 w 393"/>
                <a:gd name="T37" fmla="*/ 291 h 314"/>
                <a:gd name="T38" fmla="*/ 323 w 393"/>
                <a:gd name="T39" fmla="*/ 291 h 314"/>
                <a:gd name="T40" fmla="*/ 329 w 393"/>
                <a:gd name="T41" fmla="*/ 302 h 314"/>
                <a:gd name="T42" fmla="*/ 314 w 393"/>
                <a:gd name="T43" fmla="*/ 310 h 314"/>
                <a:gd name="T44" fmla="*/ 295 w 393"/>
                <a:gd name="T45" fmla="*/ 295 h 314"/>
                <a:gd name="T46" fmla="*/ 278 w 393"/>
                <a:gd name="T47" fmla="*/ 314 h 314"/>
                <a:gd name="T48" fmla="*/ 248 w 393"/>
                <a:gd name="T49" fmla="*/ 280 h 314"/>
                <a:gd name="T50" fmla="*/ 174 w 393"/>
                <a:gd name="T51" fmla="*/ 261 h 314"/>
                <a:gd name="T52" fmla="*/ 165 w 393"/>
                <a:gd name="T53" fmla="*/ 242 h 314"/>
                <a:gd name="T54" fmla="*/ 134 w 393"/>
                <a:gd name="T55" fmla="*/ 240 h 314"/>
                <a:gd name="T56" fmla="*/ 78 w 393"/>
                <a:gd name="T57" fmla="*/ 236 h 314"/>
                <a:gd name="T58" fmla="*/ 63 w 393"/>
                <a:gd name="T59" fmla="*/ 255 h 314"/>
                <a:gd name="T60" fmla="*/ 44 w 393"/>
                <a:gd name="T61" fmla="*/ 219 h 314"/>
                <a:gd name="T62" fmla="*/ 25 w 393"/>
                <a:gd name="T63" fmla="*/ 208 h 314"/>
                <a:gd name="T64" fmla="*/ 12 w 393"/>
                <a:gd name="T65" fmla="*/ 221 h 314"/>
                <a:gd name="T66" fmla="*/ 2 w 393"/>
                <a:gd name="T67" fmla="*/ 183 h 314"/>
                <a:gd name="T68" fmla="*/ 17 w 393"/>
                <a:gd name="T69" fmla="*/ 163 h 314"/>
                <a:gd name="T70" fmla="*/ 0 w 393"/>
                <a:gd name="T71" fmla="*/ 125 h 314"/>
                <a:gd name="T72" fmla="*/ 2 w 393"/>
                <a:gd name="T73" fmla="*/ 117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3" h="314">
                  <a:moveTo>
                    <a:pt x="2" y="117"/>
                  </a:moveTo>
                  <a:lnTo>
                    <a:pt x="32" y="93"/>
                  </a:lnTo>
                  <a:lnTo>
                    <a:pt x="85" y="91"/>
                  </a:lnTo>
                  <a:lnTo>
                    <a:pt x="110" y="59"/>
                  </a:lnTo>
                  <a:lnTo>
                    <a:pt x="117" y="19"/>
                  </a:lnTo>
                  <a:lnTo>
                    <a:pt x="170" y="0"/>
                  </a:lnTo>
                  <a:lnTo>
                    <a:pt x="178" y="15"/>
                  </a:lnTo>
                  <a:lnTo>
                    <a:pt x="216" y="8"/>
                  </a:lnTo>
                  <a:lnTo>
                    <a:pt x="246" y="53"/>
                  </a:lnTo>
                  <a:lnTo>
                    <a:pt x="231" y="78"/>
                  </a:lnTo>
                  <a:lnTo>
                    <a:pt x="348" y="66"/>
                  </a:lnTo>
                  <a:lnTo>
                    <a:pt x="370" y="76"/>
                  </a:lnTo>
                  <a:lnTo>
                    <a:pt x="393" y="138"/>
                  </a:lnTo>
                  <a:lnTo>
                    <a:pt x="363" y="166"/>
                  </a:lnTo>
                  <a:lnTo>
                    <a:pt x="367" y="204"/>
                  </a:lnTo>
                  <a:lnTo>
                    <a:pt x="325" y="225"/>
                  </a:lnTo>
                  <a:lnTo>
                    <a:pt x="325" y="229"/>
                  </a:lnTo>
                  <a:lnTo>
                    <a:pt x="355" y="282"/>
                  </a:lnTo>
                  <a:lnTo>
                    <a:pt x="327" y="291"/>
                  </a:lnTo>
                  <a:lnTo>
                    <a:pt x="323" y="291"/>
                  </a:lnTo>
                  <a:lnTo>
                    <a:pt x="329" y="302"/>
                  </a:lnTo>
                  <a:lnTo>
                    <a:pt x="314" y="310"/>
                  </a:lnTo>
                  <a:lnTo>
                    <a:pt x="295" y="295"/>
                  </a:lnTo>
                  <a:lnTo>
                    <a:pt x="278" y="314"/>
                  </a:lnTo>
                  <a:lnTo>
                    <a:pt x="248" y="280"/>
                  </a:lnTo>
                  <a:lnTo>
                    <a:pt x="174" y="261"/>
                  </a:lnTo>
                  <a:lnTo>
                    <a:pt x="165" y="242"/>
                  </a:lnTo>
                  <a:lnTo>
                    <a:pt x="134" y="240"/>
                  </a:lnTo>
                  <a:lnTo>
                    <a:pt x="78" y="236"/>
                  </a:lnTo>
                  <a:lnTo>
                    <a:pt x="63" y="255"/>
                  </a:lnTo>
                  <a:lnTo>
                    <a:pt x="44" y="219"/>
                  </a:lnTo>
                  <a:lnTo>
                    <a:pt x="25" y="208"/>
                  </a:lnTo>
                  <a:lnTo>
                    <a:pt x="12" y="221"/>
                  </a:lnTo>
                  <a:lnTo>
                    <a:pt x="2" y="183"/>
                  </a:lnTo>
                  <a:lnTo>
                    <a:pt x="17" y="163"/>
                  </a:lnTo>
                  <a:lnTo>
                    <a:pt x="0" y="125"/>
                  </a:lnTo>
                  <a:lnTo>
                    <a:pt x="2" y="11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0" name="Freeform 93">
              <a:extLst>
                <a:ext uri="{FF2B5EF4-FFF2-40B4-BE49-F238E27FC236}">
                  <a16:creationId xmlns:a16="http://schemas.microsoft.com/office/drawing/2014/main" id="{C2777DE8-DC52-4506-8174-5B8FB830E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9179" y="4839804"/>
              <a:ext cx="492877" cy="463703"/>
            </a:xfrm>
            <a:custGeom>
              <a:avLst/>
              <a:gdLst>
                <a:gd name="T0" fmla="*/ 2 w 321"/>
                <a:gd name="T1" fmla="*/ 174 h 302"/>
                <a:gd name="T2" fmla="*/ 23 w 321"/>
                <a:gd name="T3" fmla="*/ 166 h 302"/>
                <a:gd name="T4" fmla="*/ 123 w 321"/>
                <a:gd name="T5" fmla="*/ 58 h 302"/>
                <a:gd name="T6" fmla="*/ 125 w 321"/>
                <a:gd name="T7" fmla="*/ 4 h 302"/>
                <a:gd name="T8" fmla="*/ 172 w 321"/>
                <a:gd name="T9" fmla="*/ 0 h 302"/>
                <a:gd name="T10" fmla="*/ 208 w 321"/>
                <a:gd name="T11" fmla="*/ 41 h 302"/>
                <a:gd name="T12" fmla="*/ 284 w 321"/>
                <a:gd name="T13" fmla="*/ 24 h 302"/>
                <a:gd name="T14" fmla="*/ 287 w 321"/>
                <a:gd name="T15" fmla="*/ 32 h 302"/>
                <a:gd name="T16" fmla="*/ 312 w 321"/>
                <a:gd name="T17" fmla="*/ 92 h 302"/>
                <a:gd name="T18" fmla="*/ 299 w 321"/>
                <a:gd name="T19" fmla="*/ 126 h 302"/>
                <a:gd name="T20" fmla="*/ 321 w 321"/>
                <a:gd name="T21" fmla="*/ 155 h 302"/>
                <a:gd name="T22" fmla="*/ 225 w 321"/>
                <a:gd name="T23" fmla="*/ 204 h 302"/>
                <a:gd name="T24" fmla="*/ 225 w 321"/>
                <a:gd name="T25" fmla="*/ 211 h 302"/>
                <a:gd name="T26" fmla="*/ 231 w 321"/>
                <a:gd name="T27" fmla="*/ 257 h 302"/>
                <a:gd name="T28" fmla="*/ 168 w 321"/>
                <a:gd name="T29" fmla="*/ 281 h 302"/>
                <a:gd name="T30" fmla="*/ 153 w 321"/>
                <a:gd name="T31" fmla="*/ 268 h 302"/>
                <a:gd name="T32" fmla="*/ 144 w 321"/>
                <a:gd name="T33" fmla="*/ 294 h 302"/>
                <a:gd name="T34" fmla="*/ 125 w 321"/>
                <a:gd name="T35" fmla="*/ 274 h 302"/>
                <a:gd name="T36" fmla="*/ 93 w 321"/>
                <a:gd name="T37" fmla="*/ 302 h 302"/>
                <a:gd name="T38" fmla="*/ 76 w 321"/>
                <a:gd name="T39" fmla="*/ 289 h 302"/>
                <a:gd name="T40" fmla="*/ 78 w 321"/>
                <a:gd name="T41" fmla="*/ 270 h 302"/>
                <a:gd name="T42" fmla="*/ 57 w 321"/>
                <a:gd name="T43" fmla="*/ 277 h 302"/>
                <a:gd name="T44" fmla="*/ 23 w 321"/>
                <a:gd name="T45" fmla="*/ 247 h 302"/>
                <a:gd name="T46" fmla="*/ 36 w 321"/>
                <a:gd name="T47" fmla="*/ 234 h 302"/>
                <a:gd name="T48" fmla="*/ 19 w 321"/>
                <a:gd name="T49" fmla="*/ 236 h 302"/>
                <a:gd name="T50" fmla="*/ 0 w 321"/>
                <a:gd name="T51" fmla="*/ 177 h 302"/>
                <a:gd name="T52" fmla="*/ 2 w 321"/>
                <a:gd name="T53" fmla="*/ 174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302">
                  <a:moveTo>
                    <a:pt x="2" y="174"/>
                  </a:moveTo>
                  <a:lnTo>
                    <a:pt x="23" y="166"/>
                  </a:lnTo>
                  <a:lnTo>
                    <a:pt x="123" y="58"/>
                  </a:lnTo>
                  <a:lnTo>
                    <a:pt x="125" y="4"/>
                  </a:lnTo>
                  <a:lnTo>
                    <a:pt x="172" y="0"/>
                  </a:lnTo>
                  <a:lnTo>
                    <a:pt x="208" y="41"/>
                  </a:lnTo>
                  <a:lnTo>
                    <a:pt x="284" y="24"/>
                  </a:lnTo>
                  <a:lnTo>
                    <a:pt x="287" y="32"/>
                  </a:lnTo>
                  <a:lnTo>
                    <a:pt x="312" y="92"/>
                  </a:lnTo>
                  <a:lnTo>
                    <a:pt x="299" y="126"/>
                  </a:lnTo>
                  <a:lnTo>
                    <a:pt x="321" y="155"/>
                  </a:lnTo>
                  <a:lnTo>
                    <a:pt x="225" y="204"/>
                  </a:lnTo>
                  <a:lnTo>
                    <a:pt x="225" y="211"/>
                  </a:lnTo>
                  <a:lnTo>
                    <a:pt x="231" y="257"/>
                  </a:lnTo>
                  <a:lnTo>
                    <a:pt x="168" y="281"/>
                  </a:lnTo>
                  <a:lnTo>
                    <a:pt x="153" y="268"/>
                  </a:lnTo>
                  <a:lnTo>
                    <a:pt x="144" y="294"/>
                  </a:lnTo>
                  <a:lnTo>
                    <a:pt x="125" y="274"/>
                  </a:lnTo>
                  <a:lnTo>
                    <a:pt x="93" y="302"/>
                  </a:lnTo>
                  <a:lnTo>
                    <a:pt x="76" y="289"/>
                  </a:lnTo>
                  <a:lnTo>
                    <a:pt x="78" y="270"/>
                  </a:lnTo>
                  <a:lnTo>
                    <a:pt x="57" y="277"/>
                  </a:lnTo>
                  <a:lnTo>
                    <a:pt x="23" y="247"/>
                  </a:lnTo>
                  <a:lnTo>
                    <a:pt x="36" y="234"/>
                  </a:lnTo>
                  <a:lnTo>
                    <a:pt x="19" y="236"/>
                  </a:lnTo>
                  <a:lnTo>
                    <a:pt x="0" y="177"/>
                  </a:lnTo>
                  <a:lnTo>
                    <a:pt x="2" y="17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1" name="Freeform 94">
              <a:extLst>
                <a:ext uri="{FF2B5EF4-FFF2-40B4-BE49-F238E27FC236}">
                  <a16:creationId xmlns:a16="http://schemas.microsoft.com/office/drawing/2014/main" id="{EA81CC28-527B-48EB-967F-85E2721D78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5602" y="2793061"/>
              <a:ext cx="479057" cy="620318"/>
            </a:xfrm>
            <a:custGeom>
              <a:avLst/>
              <a:gdLst>
                <a:gd name="T0" fmla="*/ 2 w 312"/>
                <a:gd name="T1" fmla="*/ 85 h 404"/>
                <a:gd name="T2" fmla="*/ 51 w 312"/>
                <a:gd name="T3" fmla="*/ 128 h 404"/>
                <a:gd name="T4" fmla="*/ 57 w 312"/>
                <a:gd name="T5" fmla="*/ 155 h 404"/>
                <a:gd name="T6" fmla="*/ 53 w 312"/>
                <a:gd name="T7" fmla="*/ 213 h 404"/>
                <a:gd name="T8" fmla="*/ 10 w 312"/>
                <a:gd name="T9" fmla="*/ 223 h 404"/>
                <a:gd name="T10" fmla="*/ 21 w 312"/>
                <a:gd name="T11" fmla="*/ 245 h 404"/>
                <a:gd name="T12" fmla="*/ 48 w 312"/>
                <a:gd name="T13" fmla="*/ 255 h 404"/>
                <a:gd name="T14" fmla="*/ 53 w 312"/>
                <a:gd name="T15" fmla="*/ 283 h 404"/>
                <a:gd name="T16" fmla="*/ 70 w 312"/>
                <a:gd name="T17" fmla="*/ 281 h 404"/>
                <a:gd name="T18" fmla="*/ 93 w 312"/>
                <a:gd name="T19" fmla="*/ 317 h 404"/>
                <a:gd name="T20" fmla="*/ 76 w 312"/>
                <a:gd name="T21" fmla="*/ 332 h 404"/>
                <a:gd name="T22" fmla="*/ 85 w 312"/>
                <a:gd name="T23" fmla="*/ 362 h 404"/>
                <a:gd name="T24" fmla="*/ 102 w 312"/>
                <a:gd name="T25" fmla="*/ 357 h 404"/>
                <a:gd name="T26" fmla="*/ 125 w 312"/>
                <a:gd name="T27" fmla="*/ 379 h 404"/>
                <a:gd name="T28" fmla="*/ 140 w 312"/>
                <a:gd name="T29" fmla="*/ 368 h 404"/>
                <a:gd name="T30" fmla="*/ 161 w 312"/>
                <a:gd name="T31" fmla="*/ 404 h 404"/>
                <a:gd name="T32" fmla="*/ 189 w 312"/>
                <a:gd name="T33" fmla="*/ 393 h 404"/>
                <a:gd name="T34" fmla="*/ 189 w 312"/>
                <a:gd name="T35" fmla="*/ 387 h 404"/>
                <a:gd name="T36" fmla="*/ 201 w 312"/>
                <a:gd name="T37" fmla="*/ 366 h 404"/>
                <a:gd name="T38" fmla="*/ 267 w 312"/>
                <a:gd name="T39" fmla="*/ 362 h 404"/>
                <a:gd name="T40" fmla="*/ 263 w 312"/>
                <a:gd name="T41" fmla="*/ 315 h 404"/>
                <a:gd name="T42" fmla="*/ 297 w 312"/>
                <a:gd name="T43" fmla="*/ 302 h 404"/>
                <a:gd name="T44" fmla="*/ 312 w 312"/>
                <a:gd name="T45" fmla="*/ 272 h 404"/>
                <a:gd name="T46" fmla="*/ 248 w 312"/>
                <a:gd name="T47" fmla="*/ 217 h 404"/>
                <a:gd name="T48" fmla="*/ 265 w 312"/>
                <a:gd name="T49" fmla="*/ 166 h 404"/>
                <a:gd name="T50" fmla="*/ 187 w 312"/>
                <a:gd name="T51" fmla="*/ 109 h 404"/>
                <a:gd name="T52" fmla="*/ 187 w 312"/>
                <a:gd name="T53" fmla="*/ 106 h 404"/>
                <a:gd name="T54" fmla="*/ 204 w 312"/>
                <a:gd name="T55" fmla="*/ 94 h 404"/>
                <a:gd name="T56" fmla="*/ 102 w 312"/>
                <a:gd name="T57" fmla="*/ 21 h 404"/>
                <a:gd name="T58" fmla="*/ 91 w 312"/>
                <a:gd name="T59" fmla="*/ 28 h 404"/>
                <a:gd name="T60" fmla="*/ 85 w 312"/>
                <a:gd name="T61" fmla="*/ 0 h 404"/>
                <a:gd name="T62" fmla="*/ 36 w 312"/>
                <a:gd name="T63" fmla="*/ 7 h 404"/>
                <a:gd name="T64" fmla="*/ 51 w 312"/>
                <a:gd name="T65" fmla="*/ 19 h 404"/>
                <a:gd name="T66" fmla="*/ 34 w 312"/>
                <a:gd name="T67" fmla="*/ 34 h 404"/>
                <a:gd name="T68" fmla="*/ 46 w 312"/>
                <a:gd name="T69" fmla="*/ 51 h 404"/>
                <a:gd name="T70" fmla="*/ 8 w 312"/>
                <a:gd name="T71" fmla="*/ 58 h 404"/>
                <a:gd name="T72" fmla="*/ 0 w 312"/>
                <a:gd name="T73" fmla="*/ 83 h 404"/>
                <a:gd name="T74" fmla="*/ 2 w 312"/>
                <a:gd name="T75" fmla="*/ 85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12" h="404">
                  <a:moveTo>
                    <a:pt x="2" y="85"/>
                  </a:moveTo>
                  <a:lnTo>
                    <a:pt x="51" y="128"/>
                  </a:lnTo>
                  <a:lnTo>
                    <a:pt x="57" y="155"/>
                  </a:lnTo>
                  <a:lnTo>
                    <a:pt x="53" y="213"/>
                  </a:lnTo>
                  <a:lnTo>
                    <a:pt x="10" y="223"/>
                  </a:lnTo>
                  <a:lnTo>
                    <a:pt x="21" y="245"/>
                  </a:lnTo>
                  <a:lnTo>
                    <a:pt x="48" y="255"/>
                  </a:lnTo>
                  <a:lnTo>
                    <a:pt x="53" y="283"/>
                  </a:lnTo>
                  <a:lnTo>
                    <a:pt x="70" y="281"/>
                  </a:lnTo>
                  <a:lnTo>
                    <a:pt x="93" y="317"/>
                  </a:lnTo>
                  <a:lnTo>
                    <a:pt x="76" y="332"/>
                  </a:lnTo>
                  <a:lnTo>
                    <a:pt x="85" y="362"/>
                  </a:lnTo>
                  <a:lnTo>
                    <a:pt x="102" y="357"/>
                  </a:lnTo>
                  <a:lnTo>
                    <a:pt x="125" y="379"/>
                  </a:lnTo>
                  <a:lnTo>
                    <a:pt x="140" y="368"/>
                  </a:lnTo>
                  <a:lnTo>
                    <a:pt x="161" y="404"/>
                  </a:lnTo>
                  <a:lnTo>
                    <a:pt x="189" y="393"/>
                  </a:lnTo>
                  <a:lnTo>
                    <a:pt x="189" y="387"/>
                  </a:lnTo>
                  <a:lnTo>
                    <a:pt x="201" y="366"/>
                  </a:lnTo>
                  <a:lnTo>
                    <a:pt x="267" y="362"/>
                  </a:lnTo>
                  <a:lnTo>
                    <a:pt x="263" y="315"/>
                  </a:lnTo>
                  <a:lnTo>
                    <a:pt x="297" y="302"/>
                  </a:lnTo>
                  <a:lnTo>
                    <a:pt x="312" y="272"/>
                  </a:lnTo>
                  <a:lnTo>
                    <a:pt x="248" y="217"/>
                  </a:lnTo>
                  <a:lnTo>
                    <a:pt x="265" y="166"/>
                  </a:lnTo>
                  <a:lnTo>
                    <a:pt x="187" y="109"/>
                  </a:lnTo>
                  <a:lnTo>
                    <a:pt x="187" y="106"/>
                  </a:lnTo>
                  <a:lnTo>
                    <a:pt x="204" y="94"/>
                  </a:lnTo>
                  <a:lnTo>
                    <a:pt x="102" y="21"/>
                  </a:lnTo>
                  <a:lnTo>
                    <a:pt x="91" y="28"/>
                  </a:lnTo>
                  <a:lnTo>
                    <a:pt x="85" y="0"/>
                  </a:lnTo>
                  <a:lnTo>
                    <a:pt x="36" y="7"/>
                  </a:lnTo>
                  <a:lnTo>
                    <a:pt x="51" y="19"/>
                  </a:lnTo>
                  <a:lnTo>
                    <a:pt x="34" y="34"/>
                  </a:lnTo>
                  <a:lnTo>
                    <a:pt x="46" y="51"/>
                  </a:lnTo>
                  <a:lnTo>
                    <a:pt x="8" y="58"/>
                  </a:lnTo>
                  <a:lnTo>
                    <a:pt x="0" y="83"/>
                  </a:lnTo>
                  <a:lnTo>
                    <a:pt x="2" y="8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2" name="Freeform 95">
              <a:extLst>
                <a:ext uri="{FF2B5EF4-FFF2-40B4-BE49-F238E27FC236}">
                  <a16:creationId xmlns:a16="http://schemas.microsoft.com/office/drawing/2014/main" id="{3A0BAB86-159C-4F08-8764-7EE7C52FCC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1621" y="1494078"/>
              <a:ext cx="568113" cy="554295"/>
            </a:xfrm>
            <a:custGeom>
              <a:avLst/>
              <a:gdLst>
                <a:gd name="T0" fmla="*/ 0 w 370"/>
                <a:gd name="T1" fmla="*/ 227 h 361"/>
                <a:gd name="T2" fmla="*/ 15 w 370"/>
                <a:gd name="T3" fmla="*/ 242 h 361"/>
                <a:gd name="T4" fmla="*/ 38 w 370"/>
                <a:gd name="T5" fmla="*/ 232 h 361"/>
                <a:gd name="T6" fmla="*/ 79 w 370"/>
                <a:gd name="T7" fmla="*/ 244 h 361"/>
                <a:gd name="T8" fmla="*/ 128 w 370"/>
                <a:gd name="T9" fmla="*/ 298 h 361"/>
                <a:gd name="T10" fmla="*/ 198 w 370"/>
                <a:gd name="T11" fmla="*/ 283 h 361"/>
                <a:gd name="T12" fmla="*/ 208 w 370"/>
                <a:gd name="T13" fmla="*/ 296 h 361"/>
                <a:gd name="T14" fmla="*/ 183 w 370"/>
                <a:gd name="T15" fmla="*/ 313 h 361"/>
                <a:gd name="T16" fmla="*/ 191 w 370"/>
                <a:gd name="T17" fmla="*/ 336 h 361"/>
                <a:gd name="T18" fmla="*/ 204 w 370"/>
                <a:gd name="T19" fmla="*/ 317 h 361"/>
                <a:gd name="T20" fmla="*/ 227 w 370"/>
                <a:gd name="T21" fmla="*/ 317 h 361"/>
                <a:gd name="T22" fmla="*/ 255 w 370"/>
                <a:gd name="T23" fmla="*/ 338 h 361"/>
                <a:gd name="T24" fmla="*/ 257 w 370"/>
                <a:gd name="T25" fmla="*/ 323 h 361"/>
                <a:gd name="T26" fmla="*/ 274 w 370"/>
                <a:gd name="T27" fmla="*/ 327 h 361"/>
                <a:gd name="T28" fmla="*/ 268 w 370"/>
                <a:gd name="T29" fmla="*/ 355 h 361"/>
                <a:gd name="T30" fmla="*/ 289 w 370"/>
                <a:gd name="T31" fmla="*/ 340 h 361"/>
                <a:gd name="T32" fmla="*/ 291 w 370"/>
                <a:gd name="T33" fmla="*/ 361 h 361"/>
                <a:gd name="T34" fmla="*/ 347 w 370"/>
                <a:gd name="T35" fmla="*/ 351 h 361"/>
                <a:gd name="T36" fmla="*/ 370 w 370"/>
                <a:gd name="T37" fmla="*/ 285 h 361"/>
                <a:gd name="T38" fmla="*/ 330 w 370"/>
                <a:gd name="T39" fmla="*/ 272 h 361"/>
                <a:gd name="T40" fmla="*/ 347 w 370"/>
                <a:gd name="T41" fmla="*/ 255 h 361"/>
                <a:gd name="T42" fmla="*/ 323 w 370"/>
                <a:gd name="T43" fmla="*/ 221 h 361"/>
                <a:gd name="T44" fmla="*/ 344 w 370"/>
                <a:gd name="T45" fmla="*/ 206 h 361"/>
                <a:gd name="T46" fmla="*/ 319 w 370"/>
                <a:gd name="T47" fmla="*/ 181 h 361"/>
                <a:gd name="T48" fmla="*/ 281 w 370"/>
                <a:gd name="T49" fmla="*/ 174 h 361"/>
                <a:gd name="T50" fmla="*/ 296 w 370"/>
                <a:gd name="T51" fmla="*/ 136 h 361"/>
                <a:gd name="T52" fmla="*/ 283 w 370"/>
                <a:gd name="T53" fmla="*/ 123 h 361"/>
                <a:gd name="T54" fmla="*/ 268 w 370"/>
                <a:gd name="T55" fmla="*/ 147 h 361"/>
                <a:gd name="T56" fmla="*/ 181 w 370"/>
                <a:gd name="T57" fmla="*/ 119 h 361"/>
                <a:gd name="T58" fmla="*/ 174 w 370"/>
                <a:gd name="T59" fmla="*/ 96 h 361"/>
                <a:gd name="T60" fmla="*/ 189 w 370"/>
                <a:gd name="T61" fmla="*/ 85 h 361"/>
                <a:gd name="T62" fmla="*/ 145 w 370"/>
                <a:gd name="T63" fmla="*/ 70 h 361"/>
                <a:gd name="T64" fmla="*/ 119 w 370"/>
                <a:gd name="T65" fmla="*/ 0 h 361"/>
                <a:gd name="T66" fmla="*/ 83 w 370"/>
                <a:gd name="T67" fmla="*/ 2 h 361"/>
                <a:gd name="T68" fmla="*/ 0 w 370"/>
                <a:gd name="T69" fmla="*/ 45 h 361"/>
                <a:gd name="T70" fmla="*/ 0 w 370"/>
                <a:gd name="T71" fmla="*/ 227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70" h="361">
                  <a:moveTo>
                    <a:pt x="0" y="227"/>
                  </a:moveTo>
                  <a:lnTo>
                    <a:pt x="15" y="242"/>
                  </a:lnTo>
                  <a:lnTo>
                    <a:pt x="38" y="232"/>
                  </a:lnTo>
                  <a:lnTo>
                    <a:pt x="79" y="244"/>
                  </a:lnTo>
                  <a:lnTo>
                    <a:pt x="128" y="298"/>
                  </a:lnTo>
                  <a:lnTo>
                    <a:pt x="198" y="283"/>
                  </a:lnTo>
                  <a:lnTo>
                    <a:pt x="208" y="296"/>
                  </a:lnTo>
                  <a:lnTo>
                    <a:pt x="183" y="313"/>
                  </a:lnTo>
                  <a:lnTo>
                    <a:pt x="191" y="336"/>
                  </a:lnTo>
                  <a:lnTo>
                    <a:pt x="204" y="317"/>
                  </a:lnTo>
                  <a:lnTo>
                    <a:pt x="227" y="317"/>
                  </a:lnTo>
                  <a:lnTo>
                    <a:pt x="255" y="338"/>
                  </a:lnTo>
                  <a:lnTo>
                    <a:pt x="257" y="323"/>
                  </a:lnTo>
                  <a:lnTo>
                    <a:pt x="274" y="327"/>
                  </a:lnTo>
                  <a:lnTo>
                    <a:pt x="268" y="355"/>
                  </a:lnTo>
                  <a:lnTo>
                    <a:pt x="289" y="340"/>
                  </a:lnTo>
                  <a:lnTo>
                    <a:pt x="291" y="361"/>
                  </a:lnTo>
                  <a:lnTo>
                    <a:pt x="347" y="351"/>
                  </a:lnTo>
                  <a:lnTo>
                    <a:pt x="370" y="285"/>
                  </a:lnTo>
                  <a:lnTo>
                    <a:pt x="330" y="272"/>
                  </a:lnTo>
                  <a:lnTo>
                    <a:pt x="347" y="255"/>
                  </a:lnTo>
                  <a:lnTo>
                    <a:pt x="323" y="221"/>
                  </a:lnTo>
                  <a:lnTo>
                    <a:pt x="344" y="206"/>
                  </a:lnTo>
                  <a:lnTo>
                    <a:pt x="319" y="181"/>
                  </a:lnTo>
                  <a:lnTo>
                    <a:pt x="281" y="174"/>
                  </a:lnTo>
                  <a:lnTo>
                    <a:pt x="296" y="136"/>
                  </a:lnTo>
                  <a:lnTo>
                    <a:pt x="283" y="123"/>
                  </a:lnTo>
                  <a:lnTo>
                    <a:pt x="268" y="147"/>
                  </a:lnTo>
                  <a:lnTo>
                    <a:pt x="181" y="119"/>
                  </a:lnTo>
                  <a:lnTo>
                    <a:pt x="174" y="96"/>
                  </a:lnTo>
                  <a:lnTo>
                    <a:pt x="189" y="85"/>
                  </a:lnTo>
                  <a:lnTo>
                    <a:pt x="145" y="70"/>
                  </a:lnTo>
                  <a:lnTo>
                    <a:pt x="119" y="0"/>
                  </a:lnTo>
                  <a:lnTo>
                    <a:pt x="83" y="2"/>
                  </a:lnTo>
                  <a:lnTo>
                    <a:pt x="0" y="45"/>
                  </a:lnTo>
                  <a:lnTo>
                    <a:pt x="0" y="227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3" name="Freeform 96">
              <a:extLst>
                <a:ext uri="{FF2B5EF4-FFF2-40B4-BE49-F238E27FC236}">
                  <a16:creationId xmlns:a16="http://schemas.microsoft.com/office/drawing/2014/main" id="{B569611A-2972-4454-9CE8-C29A8525DED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5558" y="6037448"/>
              <a:ext cx="600358" cy="327049"/>
            </a:xfrm>
            <a:custGeom>
              <a:avLst/>
              <a:gdLst>
                <a:gd name="T0" fmla="*/ 0 w 391"/>
                <a:gd name="T1" fmla="*/ 151 h 213"/>
                <a:gd name="T2" fmla="*/ 53 w 391"/>
                <a:gd name="T3" fmla="*/ 168 h 213"/>
                <a:gd name="T4" fmla="*/ 77 w 391"/>
                <a:gd name="T5" fmla="*/ 207 h 213"/>
                <a:gd name="T6" fmla="*/ 143 w 391"/>
                <a:gd name="T7" fmla="*/ 175 h 213"/>
                <a:gd name="T8" fmla="*/ 219 w 391"/>
                <a:gd name="T9" fmla="*/ 213 h 213"/>
                <a:gd name="T10" fmla="*/ 255 w 391"/>
                <a:gd name="T11" fmla="*/ 211 h 213"/>
                <a:gd name="T12" fmla="*/ 257 w 391"/>
                <a:gd name="T13" fmla="*/ 187 h 213"/>
                <a:gd name="T14" fmla="*/ 330 w 391"/>
                <a:gd name="T15" fmla="*/ 162 h 213"/>
                <a:gd name="T16" fmla="*/ 391 w 391"/>
                <a:gd name="T17" fmla="*/ 177 h 213"/>
                <a:gd name="T18" fmla="*/ 381 w 391"/>
                <a:gd name="T19" fmla="*/ 149 h 213"/>
                <a:gd name="T20" fmla="*/ 360 w 391"/>
                <a:gd name="T21" fmla="*/ 139 h 213"/>
                <a:gd name="T22" fmla="*/ 355 w 391"/>
                <a:gd name="T23" fmla="*/ 30 h 213"/>
                <a:gd name="T24" fmla="*/ 351 w 391"/>
                <a:gd name="T25" fmla="*/ 28 h 213"/>
                <a:gd name="T26" fmla="*/ 336 w 391"/>
                <a:gd name="T27" fmla="*/ 20 h 213"/>
                <a:gd name="T28" fmla="*/ 308 w 391"/>
                <a:gd name="T29" fmla="*/ 0 h 213"/>
                <a:gd name="T30" fmla="*/ 272 w 391"/>
                <a:gd name="T31" fmla="*/ 32 h 213"/>
                <a:gd name="T32" fmla="*/ 175 w 391"/>
                <a:gd name="T33" fmla="*/ 26 h 213"/>
                <a:gd name="T34" fmla="*/ 164 w 391"/>
                <a:gd name="T35" fmla="*/ 30 h 213"/>
                <a:gd name="T36" fmla="*/ 172 w 391"/>
                <a:gd name="T37" fmla="*/ 66 h 213"/>
                <a:gd name="T38" fmla="*/ 119 w 391"/>
                <a:gd name="T39" fmla="*/ 92 h 213"/>
                <a:gd name="T40" fmla="*/ 75 w 391"/>
                <a:gd name="T41" fmla="*/ 92 h 213"/>
                <a:gd name="T42" fmla="*/ 15 w 391"/>
                <a:gd name="T43" fmla="*/ 124 h 213"/>
                <a:gd name="T44" fmla="*/ 0 w 391"/>
                <a:gd name="T45" fmla="*/ 151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91" h="213">
                  <a:moveTo>
                    <a:pt x="0" y="151"/>
                  </a:moveTo>
                  <a:lnTo>
                    <a:pt x="53" y="168"/>
                  </a:lnTo>
                  <a:lnTo>
                    <a:pt x="77" y="207"/>
                  </a:lnTo>
                  <a:lnTo>
                    <a:pt x="143" y="175"/>
                  </a:lnTo>
                  <a:lnTo>
                    <a:pt x="219" y="213"/>
                  </a:lnTo>
                  <a:lnTo>
                    <a:pt x="255" y="211"/>
                  </a:lnTo>
                  <a:lnTo>
                    <a:pt x="257" y="187"/>
                  </a:lnTo>
                  <a:lnTo>
                    <a:pt x="330" y="162"/>
                  </a:lnTo>
                  <a:lnTo>
                    <a:pt x="391" y="177"/>
                  </a:lnTo>
                  <a:lnTo>
                    <a:pt x="381" y="149"/>
                  </a:lnTo>
                  <a:lnTo>
                    <a:pt x="360" y="139"/>
                  </a:lnTo>
                  <a:lnTo>
                    <a:pt x="355" y="30"/>
                  </a:lnTo>
                  <a:lnTo>
                    <a:pt x="351" y="28"/>
                  </a:lnTo>
                  <a:lnTo>
                    <a:pt x="336" y="20"/>
                  </a:lnTo>
                  <a:lnTo>
                    <a:pt x="308" y="0"/>
                  </a:lnTo>
                  <a:lnTo>
                    <a:pt x="272" y="32"/>
                  </a:lnTo>
                  <a:lnTo>
                    <a:pt x="175" y="26"/>
                  </a:lnTo>
                  <a:lnTo>
                    <a:pt x="164" y="30"/>
                  </a:lnTo>
                  <a:lnTo>
                    <a:pt x="172" y="66"/>
                  </a:lnTo>
                  <a:lnTo>
                    <a:pt x="119" y="92"/>
                  </a:lnTo>
                  <a:lnTo>
                    <a:pt x="75" y="92"/>
                  </a:lnTo>
                  <a:lnTo>
                    <a:pt x="15" y="124"/>
                  </a:lnTo>
                  <a:lnTo>
                    <a:pt x="0" y="15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4" name="Freeform 97">
              <a:extLst>
                <a:ext uri="{FF2B5EF4-FFF2-40B4-BE49-F238E27FC236}">
                  <a16:creationId xmlns:a16="http://schemas.microsoft.com/office/drawing/2014/main" id="{D7FFFE87-A1FD-465D-B1F4-D61C2BC7A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6236" y="2545856"/>
              <a:ext cx="474451" cy="531262"/>
            </a:xfrm>
            <a:custGeom>
              <a:avLst/>
              <a:gdLst>
                <a:gd name="T0" fmla="*/ 0 w 309"/>
                <a:gd name="T1" fmla="*/ 57 h 346"/>
                <a:gd name="T2" fmla="*/ 19 w 309"/>
                <a:gd name="T3" fmla="*/ 46 h 346"/>
                <a:gd name="T4" fmla="*/ 30 w 309"/>
                <a:gd name="T5" fmla="*/ 4 h 346"/>
                <a:gd name="T6" fmla="*/ 43 w 309"/>
                <a:gd name="T7" fmla="*/ 27 h 346"/>
                <a:gd name="T8" fmla="*/ 90 w 309"/>
                <a:gd name="T9" fmla="*/ 48 h 346"/>
                <a:gd name="T10" fmla="*/ 143 w 309"/>
                <a:gd name="T11" fmla="*/ 48 h 346"/>
                <a:gd name="T12" fmla="*/ 164 w 309"/>
                <a:gd name="T13" fmla="*/ 6 h 346"/>
                <a:gd name="T14" fmla="*/ 234 w 309"/>
                <a:gd name="T15" fmla="*/ 0 h 346"/>
                <a:gd name="T16" fmla="*/ 309 w 309"/>
                <a:gd name="T17" fmla="*/ 27 h 346"/>
                <a:gd name="T18" fmla="*/ 281 w 309"/>
                <a:gd name="T19" fmla="*/ 85 h 346"/>
                <a:gd name="T20" fmla="*/ 221 w 309"/>
                <a:gd name="T21" fmla="*/ 151 h 346"/>
                <a:gd name="T22" fmla="*/ 204 w 309"/>
                <a:gd name="T23" fmla="*/ 267 h 346"/>
                <a:gd name="T24" fmla="*/ 166 w 309"/>
                <a:gd name="T25" fmla="*/ 346 h 346"/>
                <a:gd name="T26" fmla="*/ 73 w 309"/>
                <a:gd name="T27" fmla="*/ 280 h 346"/>
                <a:gd name="T28" fmla="*/ 43 w 309"/>
                <a:gd name="T29" fmla="*/ 267 h 346"/>
                <a:gd name="T30" fmla="*/ 49 w 309"/>
                <a:gd name="T31" fmla="*/ 208 h 346"/>
                <a:gd name="T32" fmla="*/ 36 w 309"/>
                <a:gd name="T33" fmla="*/ 202 h 346"/>
                <a:gd name="T34" fmla="*/ 79 w 309"/>
                <a:gd name="T35" fmla="*/ 182 h 346"/>
                <a:gd name="T36" fmla="*/ 90 w 309"/>
                <a:gd name="T37" fmla="*/ 153 h 346"/>
                <a:gd name="T38" fmla="*/ 75 w 309"/>
                <a:gd name="T39" fmla="*/ 142 h 346"/>
                <a:gd name="T40" fmla="*/ 92 w 309"/>
                <a:gd name="T41" fmla="*/ 112 h 346"/>
                <a:gd name="T42" fmla="*/ 60 w 309"/>
                <a:gd name="T43" fmla="*/ 85 h 346"/>
                <a:gd name="T44" fmla="*/ 34 w 309"/>
                <a:gd name="T45" fmla="*/ 108 h 346"/>
                <a:gd name="T46" fmla="*/ 36 w 309"/>
                <a:gd name="T47" fmla="*/ 80 h 346"/>
                <a:gd name="T48" fmla="*/ 0 w 309"/>
                <a:gd name="T49" fmla="*/ 59 h 346"/>
                <a:gd name="T50" fmla="*/ 0 w 309"/>
                <a:gd name="T51" fmla="*/ 57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9" h="346">
                  <a:moveTo>
                    <a:pt x="0" y="57"/>
                  </a:moveTo>
                  <a:lnTo>
                    <a:pt x="19" y="46"/>
                  </a:lnTo>
                  <a:lnTo>
                    <a:pt x="30" y="4"/>
                  </a:lnTo>
                  <a:lnTo>
                    <a:pt x="43" y="27"/>
                  </a:lnTo>
                  <a:lnTo>
                    <a:pt x="90" y="48"/>
                  </a:lnTo>
                  <a:lnTo>
                    <a:pt x="143" y="48"/>
                  </a:lnTo>
                  <a:lnTo>
                    <a:pt x="164" y="6"/>
                  </a:lnTo>
                  <a:lnTo>
                    <a:pt x="234" y="0"/>
                  </a:lnTo>
                  <a:lnTo>
                    <a:pt x="309" y="27"/>
                  </a:lnTo>
                  <a:lnTo>
                    <a:pt x="281" y="85"/>
                  </a:lnTo>
                  <a:lnTo>
                    <a:pt x="221" y="151"/>
                  </a:lnTo>
                  <a:lnTo>
                    <a:pt x="204" y="267"/>
                  </a:lnTo>
                  <a:lnTo>
                    <a:pt x="166" y="346"/>
                  </a:lnTo>
                  <a:lnTo>
                    <a:pt x="73" y="280"/>
                  </a:lnTo>
                  <a:lnTo>
                    <a:pt x="43" y="267"/>
                  </a:lnTo>
                  <a:lnTo>
                    <a:pt x="49" y="208"/>
                  </a:lnTo>
                  <a:lnTo>
                    <a:pt x="36" y="202"/>
                  </a:lnTo>
                  <a:lnTo>
                    <a:pt x="79" y="182"/>
                  </a:lnTo>
                  <a:lnTo>
                    <a:pt x="90" y="153"/>
                  </a:lnTo>
                  <a:lnTo>
                    <a:pt x="75" y="142"/>
                  </a:lnTo>
                  <a:lnTo>
                    <a:pt x="92" y="112"/>
                  </a:lnTo>
                  <a:lnTo>
                    <a:pt x="60" y="85"/>
                  </a:lnTo>
                  <a:lnTo>
                    <a:pt x="34" y="108"/>
                  </a:lnTo>
                  <a:lnTo>
                    <a:pt x="36" y="80"/>
                  </a:lnTo>
                  <a:lnTo>
                    <a:pt x="0" y="59"/>
                  </a:lnTo>
                  <a:lnTo>
                    <a:pt x="0" y="5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5" name="Freeform 98">
              <a:extLst>
                <a:ext uri="{FF2B5EF4-FFF2-40B4-BE49-F238E27FC236}">
                  <a16:creationId xmlns:a16="http://schemas.microsoft.com/office/drawing/2014/main" id="{D8131A30-111D-4694-B4C5-888F3D243D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4659" y="4059800"/>
              <a:ext cx="486735" cy="405356"/>
            </a:xfrm>
            <a:custGeom>
              <a:avLst/>
              <a:gdLst>
                <a:gd name="T0" fmla="*/ 8 w 317"/>
                <a:gd name="T1" fmla="*/ 174 h 264"/>
                <a:gd name="T2" fmla="*/ 53 w 317"/>
                <a:gd name="T3" fmla="*/ 242 h 264"/>
                <a:gd name="T4" fmla="*/ 96 w 317"/>
                <a:gd name="T5" fmla="*/ 238 h 264"/>
                <a:gd name="T6" fmla="*/ 121 w 317"/>
                <a:gd name="T7" fmla="*/ 264 h 264"/>
                <a:gd name="T8" fmla="*/ 138 w 317"/>
                <a:gd name="T9" fmla="*/ 259 h 264"/>
                <a:gd name="T10" fmla="*/ 183 w 317"/>
                <a:gd name="T11" fmla="*/ 181 h 264"/>
                <a:gd name="T12" fmla="*/ 232 w 317"/>
                <a:gd name="T13" fmla="*/ 242 h 264"/>
                <a:gd name="T14" fmla="*/ 257 w 317"/>
                <a:gd name="T15" fmla="*/ 223 h 264"/>
                <a:gd name="T16" fmla="*/ 261 w 317"/>
                <a:gd name="T17" fmla="*/ 202 h 264"/>
                <a:gd name="T18" fmla="*/ 293 w 317"/>
                <a:gd name="T19" fmla="*/ 198 h 264"/>
                <a:gd name="T20" fmla="*/ 317 w 317"/>
                <a:gd name="T21" fmla="*/ 168 h 264"/>
                <a:gd name="T22" fmla="*/ 289 w 317"/>
                <a:gd name="T23" fmla="*/ 119 h 264"/>
                <a:gd name="T24" fmla="*/ 272 w 317"/>
                <a:gd name="T25" fmla="*/ 123 h 264"/>
                <a:gd name="T26" fmla="*/ 276 w 317"/>
                <a:gd name="T27" fmla="*/ 98 h 264"/>
                <a:gd name="T28" fmla="*/ 251 w 317"/>
                <a:gd name="T29" fmla="*/ 91 h 264"/>
                <a:gd name="T30" fmla="*/ 266 w 317"/>
                <a:gd name="T31" fmla="*/ 38 h 264"/>
                <a:gd name="T32" fmla="*/ 242 w 317"/>
                <a:gd name="T33" fmla="*/ 17 h 264"/>
                <a:gd name="T34" fmla="*/ 249 w 317"/>
                <a:gd name="T35" fmla="*/ 0 h 264"/>
                <a:gd name="T36" fmla="*/ 174 w 317"/>
                <a:gd name="T37" fmla="*/ 0 h 264"/>
                <a:gd name="T38" fmla="*/ 145 w 317"/>
                <a:gd name="T39" fmla="*/ 23 h 264"/>
                <a:gd name="T40" fmla="*/ 128 w 317"/>
                <a:gd name="T41" fmla="*/ 13 h 264"/>
                <a:gd name="T42" fmla="*/ 108 w 317"/>
                <a:gd name="T43" fmla="*/ 47 h 264"/>
                <a:gd name="T44" fmla="*/ 123 w 317"/>
                <a:gd name="T45" fmla="*/ 66 h 264"/>
                <a:gd name="T46" fmla="*/ 83 w 317"/>
                <a:gd name="T47" fmla="*/ 98 h 264"/>
                <a:gd name="T48" fmla="*/ 38 w 317"/>
                <a:gd name="T49" fmla="*/ 102 h 264"/>
                <a:gd name="T50" fmla="*/ 4 w 317"/>
                <a:gd name="T51" fmla="*/ 115 h 264"/>
                <a:gd name="T52" fmla="*/ 0 w 317"/>
                <a:gd name="T53" fmla="*/ 136 h 264"/>
                <a:gd name="T54" fmla="*/ 2 w 317"/>
                <a:gd name="T55" fmla="*/ 14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17" h="264">
                  <a:moveTo>
                    <a:pt x="8" y="174"/>
                  </a:moveTo>
                  <a:lnTo>
                    <a:pt x="53" y="242"/>
                  </a:lnTo>
                  <a:lnTo>
                    <a:pt x="96" y="238"/>
                  </a:lnTo>
                  <a:lnTo>
                    <a:pt x="121" y="264"/>
                  </a:lnTo>
                  <a:lnTo>
                    <a:pt x="138" y="259"/>
                  </a:lnTo>
                  <a:lnTo>
                    <a:pt x="183" y="181"/>
                  </a:lnTo>
                  <a:lnTo>
                    <a:pt x="232" y="242"/>
                  </a:lnTo>
                  <a:lnTo>
                    <a:pt x="257" y="223"/>
                  </a:lnTo>
                  <a:lnTo>
                    <a:pt x="261" y="202"/>
                  </a:lnTo>
                  <a:lnTo>
                    <a:pt x="293" y="198"/>
                  </a:lnTo>
                  <a:lnTo>
                    <a:pt x="317" y="168"/>
                  </a:lnTo>
                  <a:lnTo>
                    <a:pt x="289" y="119"/>
                  </a:lnTo>
                  <a:lnTo>
                    <a:pt x="272" y="123"/>
                  </a:lnTo>
                  <a:lnTo>
                    <a:pt x="276" y="98"/>
                  </a:lnTo>
                  <a:lnTo>
                    <a:pt x="251" y="91"/>
                  </a:lnTo>
                  <a:lnTo>
                    <a:pt x="266" y="38"/>
                  </a:lnTo>
                  <a:lnTo>
                    <a:pt x="242" y="17"/>
                  </a:lnTo>
                  <a:lnTo>
                    <a:pt x="249" y="0"/>
                  </a:lnTo>
                  <a:lnTo>
                    <a:pt x="174" y="0"/>
                  </a:lnTo>
                  <a:lnTo>
                    <a:pt x="145" y="23"/>
                  </a:lnTo>
                  <a:lnTo>
                    <a:pt x="128" y="13"/>
                  </a:lnTo>
                  <a:lnTo>
                    <a:pt x="108" y="47"/>
                  </a:lnTo>
                  <a:lnTo>
                    <a:pt x="123" y="66"/>
                  </a:lnTo>
                  <a:lnTo>
                    <a:pt x="83" y="98"/>
                  </a:lnTo>
                  <a:lnTo>
                    <a:pt x="38" y="102"/>
                  </a:lnTo>
                  <a:lnTo>
                    <a:pt x="4" y="115"/>
                  </a:lnTo>
                  <a:lnTo>
                    <a:pt x="0" y="136"/>
                  </a:lnTo>
                  <a:lnTo>
                    <a:pt x="2" y="14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6" name="Freeform 99">
              <a:extLst>
                <a:ext uri="{FF2B5EF4-FFF2-40B4-BE49-F238E27FC236}">
                  <a16:creationId xmlns:a16="http://schemas.microsoft.com/office/drawing/2014/main" id="{5F37F350-58F5-48DB-99E5-ACA84543AD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1858" y="2558139"/>
              <a:ext cx="431459" cy="551224"/>
            </a:xfrm>
            <a:custGeom>
              <a:avLst/>
              <a:gdLst>
                <a:gd name="T0" fmla="*/ 0 w 281"/>
                <a:gd name="T1" fmla="*/ 289 h 359"/>
                <a:gd name="T2" fmla="*/ 30 w 281"/>
                <a:gd name="T3" fmla="*/ 334 h 359"/>
                <a:gd name="T4" fmla="*/ 15 w 281"/>
                <a:gd name="T5" fmla="*/ 359 h 359"/>
                <a:gd name="T6" fmla="*/ 132 w 281"/>
                <a:gd name="T7" fmla="*/ 347 h 359"/>
                <a:gd name="T8" fmla="*/ 158 w 281"/>
                <a:gd name="T9" fmla="*/ 315 h 359"/>
                <a:gd name="T10" fmla="*/ 158 w 281"/>
                <a:gd name="T11" fmla="*/ 276 h 359"/>
                <a:gd name="T12" fmla="*/ 247 w 281"/>
                <a:gd name="T13" fmla="*/ 264 h 359"/>
                <a:gd name="T14" fmla="*/ 245 w 281"/>
                <a:gd name="T15" fmla="*/ 242 h 359"/>
                <a:gd name="T16" fmla="*/ 241 w 281"/>
                <a:gd name="T17" fmla="*/ 232 h 359"/>
                <a:gd name="T18" fmla="*/ 281 w 281"/>
                <a:gd name="T19" fmla="*/ 183 h 359"/>
                <a:gd name="T20" fmla="*/ 258 w 281"/>
                <a:gd name="T21" fmla="*/ 174 h 359"/>
                <a:gd name="T22" fmla="*/ 260 w 281"/>
                <a:gd name="T23" fmla="*/ 138 h 359"/>
                <a:gd name="T24" fmla="*/ 245 w 281"/>
                <a:gd name="T25" fmla="*/ 132 h 359"/>
                <a:gd name="T26" fmla="*/ 245 w 281"/>
                <a:gd name="T27" fmla="*/ 128 h 359"/>
                <a:gd name="T28" fmla="*/ 264 w 281"/>
                <a:gd name="T29" fmla="*/ 96 h 359"/>
                <a:gd name="T30" fmla="*/ 211 w 281"/>
                <a:gd name="T31" fmla="*/ 64 h 359"/>
                <a:gd name="T32" fmla="*/ 188 w 281"/>
                <a:gd name="T33" fmla="*/ 34 h 359"/>
                <a:gd name="T34" fmla="*/ 188 w 281"/>
                <a:gd name="T35" fmla="*/ 6 h 359"/>
                <a:gd name="T36" fmla="*/ 166 w 281"/>
                <a:gd name="T37" fmla="*/ 0 h 359"/>
                <a:gd name="T38" fmla="*/ 145 w 281"/>
                <a:gd name="T39" fmla="*/ 15 h 359"/>
                <a:gd name="T40" fmla="*/ 49 w 281"/>
                <a:gd name="T41" fmla="*/ 13 h 359"/>
                <a:gd name="T42" fmla="*/ 41 w 281"/>
                <a:gd name="T43" fmla="*/ 36 h 359"/>
                <a:gd name="T44" fmla="*/ 49 w 281"/>
                <a:gd name="T45" fmla="*/ 111 h 359"/>
                <a:gd name="T46" fmla="*/ 45 w 281"/>
                <a:gd name="T47" fmla="*/ 153 h 359"/>
                <a:gd name="T48" fmla="*/ 26 w 281"/>
                <a:gd name="T49" fmla="*/ 217 h 359"/>
                <a:gd name="T50" fmla="*/ 34 w 281"/>
                <a:gd name="T51" fmla="*/ 257 h 359"/>
                <a:gd name="T52" fmla="*/ 0 w 281"/>
                <a:gd name="T53" fmla="*/ 283 h 359"/>
                <a:gd name="T54" fmla="*/ 0 w 281"/>
                <a:gd name="T55" fmla="*/ 289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81" h="359">
                  <a:moveTo>
                    <a:pt x="0" y="289"/>
                  </a:moveTo>
                  <a:lnTo>
                    <a:pt x="30" y="334"/>
                  </a:lnTo>
                  <a:lnTo>
                    <a:pt x="15" y="359"/>
                  </a:lnTo>
                  <a:lnTo>
                    <a:pt x="132" y="347"/>
                  </a:lnTo>
                  <a:lnTo>
                    <a:pt x="158" y="315"/>
                  </a:lnTo>
                  <a:lnTo>
                    <a:pt x="158" y="276"/>
                  </a:lnTo>
                  <a:lnTo>
                    <a:pt x="247" y="264"/>
                  </a:lnTo>
                  <a:lnTo>
                    <a:pt x="245" y="242"/>
                  </a:lnTo>
                  <a:lnTo>
                    <a:pt x="241" y="232"/>
                  </a:lnTo>
                  <a:lnTo>
                    <a:pt x="281" y="183"/>
                  </a:lnTo>
                  <a:lnTo>
                    <a:pt x="258" y="174"/>
                  </a:lnTo>
                  <a:lnTo>
                    <a:pt x="260" y="138"/>
                  </a:lnTo>
                  <a:lnTo>
                    <a:pt x="245" y="132"/>
                  </a:lnTo>
                  <a:lnTo>
                    <a:pt x="245" y="128"/>
                  </a:lnTo>
                  <a:lnTo>
                    <a:pt x="264" y="96"/>
                  </a:lnTo>
                  <a:lnTo>
                    <a:pt x="211" y="64"/>
                  </a:lnTo>
                  <a:lnTo>
                    <a:pt x="188" y="34"/>
                  </a:lnTo>
                  <a:lnTo>
                    <a:pt x="188" y="6"/>
                  </a:lnTo>
                  <a:lnTo>
                    <a:pt x="166" y="0"/>
                  </a:lnTo>
                  <a:lnTo>
                    <a:pt x="145" y="15"/>
                  </a:lnTo>
                  <a:lnTo>
                    <a:pt x="49" y="13"/>
                  </a:lnTo>
                  <a:lnTo>
                    <a:pt x="41" y="36"/>
                  </a:lnTo>
                  <a:lnTo>
                    <a:pt x="49" y="111"/>
                  </a:lnTo>
                  <a:lnTo>
                    <a:pt x="45" y="153"/>
                  </a:lnTo>
                  <a:lnTo>
                    <a:pt x="26" y="217"/>
                  </a:lnTo>
                  <a:lnTo>
                    <a:pt x="34" y="257"/>
                  </a:lnTo>
                  <a:lnTo>
                    <a:pt x="0" y="283"/>
                  </a:lnTo>
                  <a:lnTo>
                    <a:pt x="0" y="289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7" name="Freeform 100">
              <a:extLst>
                <a:ext uri="{FF2B5EF4-FFF2-40B4-BE49-F238E27FC236}">
                  <a16:creationId xmlns:a16="http://schemas.microsoft.com/office/drawing/2014/main" id="{E1F14263-931B-4F56-9F75-E560C9873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0841" y="5518469"/>
              <a:ext cx="518979" cy="437601"/>
            </a:xfrm>
            <a:custGeom>
              <a:avLst/>
              <a:gdLst>
                <a:gd name="T0" fmla="*/ 0 w 338"/>
                <a:gd name="T1" fmla="*/ 92 h 285"/>
                <a:gd name="T2" fmla="*/ 17 w 338"/>
                <a:gd name="T3" fmla="*/ 98 h 285"/>
                <a:gd name="T4" fmla="*/ 11 w 338"/>
                <a:gd name="T5" fmla="*/ 124 h 285"/>
                <a:gd name="T6" fmla="*/ 34 w 338"/>
                <a:gd name="T7" fmla="*/ 145 h 285"/>
                <a:gd name="T8" fmla="*/ 7 w 338"/>
                <a:gd name="T9" fmla="*/ 153 h 285"/>
                <a:gd name="T10" fmla="*/ 7 w 338"/>
                <a:gd name="T11" fmla="*/ 183 h 285"/>
                <a:gd name="T12" fmla="*/ 30 w 338"/>
                <a:gd name="T13" fmla="*/ 202 h 285"/>
                <a:gd name="T14" fmla="*/ 7 w 338"/>
                <a:gd name="T15" fmla="*/ 234 h 285"/>
                <a:gd name="T16" fmla="*/ 43 w 338"/>
                <a:gd name="T17" fmla="*/ 258 h 285"/>
                <a:gd name="T18" fmla="*/ 49 w 338"/>
                <a:gd name="T19" fmla="*/ 279 h 285"/>
                <a:gd name="T20" fmla="*/ 83 w 338"/>
                <a:gd name="T21" fmla="*/ 272 h 285"/>
                <a:gd name="T22" fmla="*/ 73 w 338"/>
                <a:gd name="T23" fmla="*/ 253 h 285"/>
                <a:gd name="T24" fmla="*/ 130 w 338"/>
                <a:gd name="T25" fmla="*/ 266 h 285"/>
                <a:gd name="T26" fmla="*/ 124 w 338"/>
                <a:gd name="T27" fmla="*/ 285 h 285"/>
                <a:gd name="T28" fmla="*/ 137 w 338"/>
                <a:gd name="T29" fmla="*/ 285 h 285"/>
                <a:gd name="T30" fmla="*/ 149 w 338"/>
                <a:gd name="T31" fmla="*/ 253 h 285"/>
                <a:gd name="T32" fmla="*/ 192 w 338"/>
                <a:gd name="T33" fmla="*/ 262 h 285"/>
                <a:gd name="T34" fmla="*/ 194 w 338"/>
                <a:gd name="T35" fmla="*/ 243 h 285"/>
                <a:gd name="T36" fmla="*/ 268 w 338"/>
                <a:gd name="T37" fmla="*/ 226 h 285"/>
                <a:gd name="T38" fmla="*/ 281 w 338"/>
                <a:gd name="T39" fmla="*/ 192 h 285"/>
                <a:gd name="T40" fmla="*/ 251 w 338"/>
                <a:gd name="T41" fmla="*/ 187 h 285"/>
                <a:gd name="T42" fmla="*/ 290 w 338"/>
                <a:gd name="T43" fmla="*/ 136 h 285"/>
                <a:gd name="T44" fmla="*/ 328 w 338"/>
                <a:gd name="T45" fmla="*/ 132 h 285"/>
                <a:gd name="T46" fmla="*/ 338 w 338"/>
                <a:gd name="T47" fmla="*/ 111 h 285"/>
                <a:gd name="T48" fmla="*/ 324 w 338"/>
                <a:gd name="T49" fmla="*/ 94 h 285"/>
                <a:gd name="T50" fmla="*/ 332 w 338"/>
                <a:gd name="T51" fmla="*/ 68 h 285"/>
                <a:gd name="T52" fmla="*/ 302 w 338"/>
                <a:gd name="T53" fmla="*/ 58 h 285"/>
                <a:gd name="T54" fmla="*/ 287 w 338"/>
                <a:gd name="T55" fmla="*/ 19 h 285"/>
                <a:gd name="T56" fmla="*/ 256 w 338"/>
                <a:gd name="T57" fmla="*/ 5 h 285"/>
                <a:gd name="T58" fmla="*/ 256 w 338"/>
                <a:gd name="T59" fmla="*/ 2 h 285"/>
                <a:gd name="T60" fmla="*/ 205 w 338"/>
                <a:gd name="T61" fmla="*/ 0 h 285"/>
                <a:gd name="T62" fmla="*/ 181 w 338"/>
                <a:gd name="T63" fmla="*/ 24 h 285"/>
                <a:gd name="T64" fmla="*/ 145 w 338"/>
                <a:gd name="T65" fmla="*/ 2 h 285"/>
                <a:gd name="T66" fmla="*/ 96 w 338"/>
                <a:gd name="T67" fmla="*/ 51 h 285"/>
                <a:gd name="T68" fmla="*/ 68 w 338"/>
                <a:gd name="T69" fmla="*/ 22 h 285"/>
                <a:gd name="T70" fmla="*/ 24 w 338"/>
                <a:gd name="T71" fmla="*/ 30 h 285"/>
                <a:gd name="T72" fmla="*/ 24 w 338"/>
                <a:gd name="T73" fmla="*/ 34 h 285"/>
                <a:gd name="T74" fmla="*/ 34 w 338"/>
                <a:gd name="T75" fmla="*/ 58 h 285"/>
                <a:gd name="T76" fmla="*/ 15 w 338"/>
                <a:gd name="T77" fmla="*/ 60 h 285"/>
                <a:gd name="T78" fmla="*/ 0 w 338"/>
                <a:gd name="T79" fmla="*/ 88 h 285"/>
                <a:gd name="T80" fmla="*/ 0 w 338"/>
                <a:gd name="T81" fmla="*/ 92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8" h="285">
                  <a:moveTo>
                    <a:pt x="0" y="92"/>
                  </a:moveTo>
                  <a:lnTo>
                    <a:pt x="17" y="98"/>
                  </a:lnTo>
                  <a:lnTo>
                    <a:pt x="11" y="124"/>
                  </a:lnTo>
                  <a:lnTo>
                    <a:pt x="34" y="145"/>
                  </a:lnTo>
                  <a:lnTo>
                    <a:pt x="7" y="153"/>
                  </a:lnTo>
                  <a:lnTo>
                    <a:pt x="7" y="183"/>
                  </a:lnTo>
                  <a:lnTo>
                    <a:pt x="30" y="202"/>
                  </a:lnTo>
                  <a:lnTo>
                    <a:pt x="7" y="234"/>
                  </a:lnTo>
                  <a:lnTo>
                    <a:pt x="43" y="258"/>
                  </a:lnTo>
                  <a:lnTo>
                    <a:pt x="49" y="279"/>
                  </a:lnTo>
                  <a:lnTo>
                    <a:pt x="83" y="272"/>
                  </a:lnTo>
                  <a:lnTo>
                    <a:pt x="73" y="253"/>
                  </a:lnTo>
                  <a:lnTo>
                    <a:pt x="130" y="266"/>
                  </a:lnTo>
                  <a:lnTo>
                    <a:pt x="124" y="285"/>
                  </a:lnTo>
                  <a:lnTo>
                    <a:pt x="137" y="285"/>
                  </a:lnTo>
                  <a:lnTo>
                    <a:pt x="149" y="253"/>
                  </a:lnTo>
                  <a:lnTo>
                    <a:pt x="192" y="262"/>
                  </a:lnTo>
                  <a:lnTo>
                    <a:pt x="194" y="243"/>
                  </a:lnTo>
                  <a:lnTo>
                    <a:pt x="268" y="226"/>
                  </a:lnTo>
                  <a:lnTo>
                    <a:pt x="281" y="192"/>
                  </a:lnTo>
                  <a:lnTo>
                    <a:pt x="251" y="187"/>
                  </a:lnTo>
                  <a:lnTo>
                    <a:pt x="290" y="136"/>
                  </a:lnTo>
                  <a:lnTo>
                    <a:pt x="328" y="132"/>
                  </a:lnTo>
                  <a:lnTo>
                    <a:pt x="338" y="111"/>
                  </a:lnTo>
                  <a:lnTo>
                    <a:pt x="324" y="94"/>
                  </a:lnTo>
                  <a:lnTo>
                    <a:pt x="332" y="68"/>
                  </a:lnTo>
                  <a:lnTo>
                    <a:pt x="302" y="58"/>
                  </a:lnTo>
                  <a:lnTo>
                    <a:pt x="287" y="19"/>
                  </a:lnTo>
                  <a:lnTo>
                    <a:pt x="256" y="5"/>
                  </a:lnTo>
                  <a:lnTo>
                    <a:pt x="256" y="2"/>
                  </a:lnTo>
                  <a:lnTo>
                    <a:pt x="205" y="0"/>
                  </a:lnTo>
                  <a:lnTo>
                    <a:pt x="181" y="24"/>
                  </a:lnTo>
                  <a:lnTo>
                    <a:pt x="145" y="2"/>
                  </a:lnTo>
                  <a:lnTo>
                    <a:pt x="96" y="51"/>
                  </a:lnTo>
                  <a:lnTo>
                    <a:pt x="68" y="22"/>
                  </a:lnTo>
                  <a:lnTo>
                    <a:pt x="24" y="30"/>
                  </a:lnTo>
                  <a:lnTo>
                    <a:pt x="24" y="34"/>
                  </a:lnTo>
                  <a:lnTo>
                    <a:pt x="34" y="58"/>
                  </a:lnTo>
                  <a:lnTo>
                    <a:pt x="15" y="60"/>
                  </a:lnTo>
                  <a:lnTo>
                    <a:pt x="0" y="88"/>
                  </a:lnTo>
                  <a:lnTo>
                    <a:pt x="0" y="92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8" name="Freeform 101">
              <a:extLst>
                <a:ext uri="{FF2B5EF4-FFF2-40B4-BE49-F238E27FC236}">
                  <a16:creationId xmlns:a16="http://schemas.microsoft.com/office/drawing/2014/main" id="{595721FB-498C-4120-B987-2E56E650B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3779" y="3645231"/>
              <a:ext cx="606499" cy="460632"/>
            </a:xfrm>
            <a:custGeom>
              <a:avLst/>
              <a:gdLst>
                <a:gd name="T0" fmla="*/ 49 w 395"/>
                <a:gd name="T1" fmla="*/ 6 h 300"/>
                <a:gd name="T2" fmla="*/ 106 w 395"/>
                <a:gd name="T3" fmla="*/ 62 h 300"/>
                <a:gd name="T4" fmla="*/ 151 w 395"/>
                <a:gd name="T5" fmla="*/ 74 h 300"/>
                <a:gd name="T6" fmla="*/ 163 w 395"/>
                <a:gd name="T7" fmla="*/ 68 h 300"/>
                <a:gd name="T8" fmla="*/ 153 w 395"/>
                <a:gd name="T9" fmla="*/ 17 h 300"/>
                <a:gd name="T10" fmla="*/ 168 w 395"/>
                <a:gd name="T11" fmla="*/ 11 h 300"/>
                <a:gd name="T12" fmla="*/ 174 w 395"/>
                <a:gd name="T13" fmla="*/ 53 h 300"/>
                <a:gd name="T14" fmla="*/ 225 w 395"/>
                <a:gd name="T15" fmla="*/ 0 h 300"/>
                <a:gd name="T16" fmla="*/ 255 w 395"/>
                <a:gd name="T17" fmla="*/ 21 h 300"/>
                <a:gd name="T18" fmla="*/ 319 w 395"/>
                <a:gd name="T19" fmla="*/ 43 h 300"/>
                <a:gd name="T20" fmla="*/ 316 w 395"/>
                <a:gd name="T21" fmla="*/ 45 h 300"/>
                <a:gd name="T22" fmla="*/ 363 w 395"/>
                <a:gd name="T23" fmla="*/ 106 h 300"/>
                <a:gd name="T24" fmla="*/ 382 w 395"/>
                <a:gd name="T25" fmla="*/ 206 h 300"/>
                <a:gd name="T26" fmla="*/ 372 w 395"/>
                <a:gd name="T27" fmla="*/ 257 h 300"/>
                <a:gd name="T28" fmla="*/ 395 w 395"/>
                <a:gd name="T29" fmla="*/ 264 h 300"/>
                <a:gd name="T30" fmla="*/ 340 w 395"/>
                <a:gd name="T31" fmla="*/ 291 h 300"/>
                <a:gd name="T32" fmla="*/ 319 w 395"/>
                <a:gd name="T33" fmla="*/ 276 h 300"/>
                <a:gd name="T34" fmla="*/ 293 w 395"/>
                <a:gd name="T35" fmla="*/ 285 h 300"/>
                <a:gd name="T36" fmla="*/ 295 w 395"/>
                <a:gd name="T37" fmla="*/ 266 h 300"/>
                <a:gd name="T38" fmla="*/ 244 w 395"/>
                <a:gd name="T39" fmla="*/ 283 h 300"/>
                <a:gd name="T40" fmla="*/ 221 w 395"/>
                <a:gd name="T41" fmla="*/ 300 h 300"/>
                <a:gd name="T42" fmla="*/ 204 w 395"/>
                <a:gd name="T43" fmla="*/ 291 h 300"/>
                <a:gd name="T44" fmla="*/ 74 w 395"/>
                <a:gd name="T45" fmla="*/ 204 h 300"/>
                <a:gd name="T46" fmla="*/ 64 w 395"/>
                <a:gd name="T47" fmla="*/ 155 h 300"/>
                <a:gd name="T48" fmla="*/ 0 w 395"/>
                <a:gd name="T49" fmla="*/ 77 h 300"/>
                <a:gd name="T50" fmla="*/ 49 w 395"/>
                <a:gd name="T51" fmla="*/ 6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95" h="300">
                  <a:moveTo>
                    <a:pt x="49" y="6"/>
                  </a:moveTo>
                  <a:lnTo>
                    <a:pt x="106" y="62"/>
                  </a:lnTo>
                  <a:lnTo>
                    <a:pt x="151" y="74"/>
                  </a:lnTo>
                  <a:lnTo>
                    <a:pt x="163" y="68"/>
                  </a:lnTo>
                  <a:lnTo>
                    <a:pt x="153" y="17"/>
                  </a:lnTo>
                  <a:lnTo>
                    <a:pt x="168" y="11"/>
                  </a:lnTo>
                  <a:lnTo>
                    <a:pt x="174" y="53"/>
                  </a:lnTo>
                  <a:lnTo>
                    <a:pt x="225" y="0"/>
                  </a:lnTo>
                  <a:lnTo>
                    <a:pt x="255" y="21"/>
                  </a:lnTo>
                  <a:lnTo>
                    <a:pt x="319" y="43"/>
                  </a:lnTo>
                  <a:lnTo>
                    <a:pt x="316" y="45"/>
                  </a:lnTo>
                  <a:lnTo>
                    <a:pt x="363" y="106"/>
                  </a:lnTo>
                  <a:lnTo>
                    <a:pt x="382" y="206"/>
                  </a:lnTo>
                  <a:lnTo>
                    <a:pt x="372" y="257"/>
                  </a:lnTo>
                  <a:lnTo>
                    <a:pt x="395" y="264"/>
                  </a:lnTo>
                  <a:lnTo>
                    <a:pt x="340" y="291"/>
                  </a:lnTo>
                  <a:lnTo>
                    <a:pt x="319" y="276"/>
                  </a:lnTo>
                  <a:lnTo>
                    <a:pt x="293" y="285"/>
                  </a:lnTo>
                  <a:lnTo>
                    <a:pt x="295" y="266"/>
                  </a:lnTo>
                  <a:lnTo>
                    <a:pt x="244" y="283"/>
                  </a:lnTo>
                  <a:lnTo>
                    <a:pt x="221" y="300"/>
                  </a:lnTo>
                  <a:lnTo>
                    <a:pt x="204" y="291"/>
                  </a:lnTo>
                  <a:lnTo>
                    <a:pt x="74" y="204"/>
                  </a:lnTo>
                  <a:lnTo>
                    <a:pt x="64" y="155"/>
                  </a:lnTo>
                  <a:lnTo>
                    <a:pt x="0" y="77"/>
                  </a:lnTo>
                  <a:lnTo>
                    <a:pt x="49" y="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9" name="Freeform 102">
              <a:extLst>
                <a:ext uri="{FF2B5EF4-FFF2-40B4-BE49-F238E27FC236}">
                  <a16:creationId xmlns:a16="http://schemas.microsoft.com/office/drawing/2014/main" id="{7CD0FA7A-903A-4625-A282-179DB84D2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9221" y="2963495"/>
              <a:ext cx="560436" cy="606500"/>
            </a:xfrm>
            <a:custGeom>
              <a:avLst/>
              <a:gdLst>
                <a:gd name="T0" fmla="*/ 0 w 365"/>
                <a:gd name="T1" fmla="*/ 246 h 395"/>
                <a:gd name="T2" fmla="*/ 30 w 365"/>
                <a:gd name="T3" fmla="*/ 299 h 395"/>
                <a:gd name="T4" fmla="*/ 64 w 365"/>
                <a:gd name="T5" fmla="*/ 295 h 395"/>
                <a:gd name="T6" fmla="*/ 79 w 365"/>
                <a:gd name="T7" fmla="*/ 319 h 395"/>
                <a:gd name="T8" fmla="*/ 79 w 365"/>
                <a:gd name="T9" fmla="*/ 319 h 395"/>
                <a:gd name="T10" fmla="*/ 123 w 365"/>
                <a:gd name="T11" fmla="*/ 338 h 395"/>
                <a:gd name="T12" fmla="*/ 134 w 365"/>
                <a:gd name="T13" fmla="*/ 323 h 395"/>
                <a:gd name="T14" fmla="*/ 157 w 365"/>
                <a:gd name="T15" fmla="*/ 329 h 395"/>
                <a:gd name="T16" fmla="*/ 159 w 365"/>
                <a:gd name="T17" fmla="*/ 304 h 395"/>
                <a:gd name="T18" fmla="*/ 219 w 365"/>
                <a:gd name="T19" fmla="*/ 363 h 395"/>
                <a:gd name="T20" fmla="*/ 240 w 365"/>
                <a:gd name="T21" fmla="*/ 370 h 395"/>
                <a:gd name="T22" fmla="*/ 253 w 365"/>
                <a:gd name="T23" fmla="*/ 353 h 395"/>
                <a:gd name="T24" fmla="*/ 253 w 365"/>
                <a:gd name="T25" fmla="*/ 374 h 395"/>
                <a:gd name="T26" fmla="*/ 274 w 365"/>
                <a:gd name="T27" fmla="*/ 367 h 395"/>
                <a:gd name="T28" fmla="*/ 287 w 365"/>
                <a:gd name="T29" fmla="*/ 395 h 395"/>
                <a:gd name="T30" fmla="*/ 310 w 365"/>
                <a:gd name="T31" fmla="*/ 384 h 395"/>
                <a:gd name="T32" fmla="*/ 302 w 365"/>
                <a:gd name="T33" fmla="*/ 363 h 395"/>
                <a:gd name="T34" fmla="*/ 302 w 365"/>
                <a:gd name="T35" fmla="*/ 361 h 395"/>
                <a:gd name="T36" fmla="*/ 338 w 365"/>
                <a:gd name="T37" fmla="*/ 261 h 395"/>
                <a:gd name="T38" fmla="*/ 353 w 365"/>
                <a:gd name="T39" fmla="*/ 257 h 395"/>
                <a:gd name="T40" fmla="*/ 342 w 365"/>
                <a:gd name="T41" fmla="*/ 242 h 395"/>
                <a:gd name="T42" fmla="*/ 365 w 365"/>
                <a:gd name="T43" fmla="*/ 231 h 395"/>
                <a:gd name="T44" fmla="*/ 363 w 365"/>
                <a:gd name="T45" fmla="*/ 197 h 395"/>
                <a:gd name="T46" fmla="*/ 344 w 365"/>
                <a:gd name="T47" fmla="*/ 187 h 395"/>
                <a:gd name="T48" fmla="*/ 355 w 365"/>
                <a:gd name="T49" fmla="*/ 170 h 395"/>
                <a:gd name="T50" fmla="*/ 331 w 365"/>
                <a:gd name="T51" fmla="*/ 153 h 395"/>
                <a:gd name="T52" fmla="*/ 312 w 365"/>
                <a:gd name="T53" fmla="*/ 168 h 395"/>
                <a:gd name="T54" fmla="*/ 257 w 365"/>
                <a:gd name="T55" fmla="*/ 170 h 395"/>
                <a:gd name="T56" fmla="*/ 259 w 365"/>
                <a:gd name="T57" fmla="*/ 146 h 395"/>
                <a:gd name="T58" fmla="*/ 244 w 365"/>
                <a:gd name="T59" fmla="*/ 149 h 395"/>
                <a:gd name="T60" fmla="*/ 219 w 365"/>
                <a:gd name="T61" fmla="*/ 80 h 395"/>
                <a:gd name="T62" fmla="*/ 202 w 365"/>
                <a:gd name="T63" fmla="*/ 91 h 395"/>
                <a:gd name="T64" fmla="*/ 178 w 365"/>
                <a:gd name="T65" fmla="*/ 74 h 395"/>
                <a:gd name="T66" fmla="*/ 191 w 365"/>
                <a:gd name="T67" fmla="*/ 49 h 395"/>
                <a:gd name="T68" fmla="*/ 138 w 365"/>
                <a:gd name="T69" fmla="*/ 0 h 395"/>
                <a:gd name="T70" fmla="*/ 49 w 365"/>
                <a:gd name="T71" fmla="*/ 12 h 395"/>
                <a:gd name="T72" fmla="*/ 49 w 365"/>
                <a:gd name="T73" fmla="*/ 51 h 395"/>
                <a:gd name="T74" fmla="*/ 23 w 365"/>
                <a:gd name="T75" fmla="*/ 83 h 395"/>
                <a:gd name="T76" fmla="*/ 45 w 365"/>
                <a:gd name="T77" fmla="*/ 93 h 395"/>
                <a:gd name="T78" fmla="*/ 68 w 365"/>
                <a:gd name="T79" fmla="*/ 155 h 395"/>
                <a:gd name="T80" fmla="*/ 38 w 365"/>
                <a:gd name="T81" fmla="*/ 183 h 395"/>
                <a:gd name="T82" fmla="*/ 42 w 365"/>
                <a:gd name="T83" fmla="*/ 221 h 395"/>
                <a:gd name="T84" fmla="*/ 0 w 365"/>
                <a:gd name="T85" fmla="*/ 242 h 395"/>
                <a:gd name="T86" fmla="*/ 0 w 365"/>
                <a:gd name="T87" fmla="*/ 246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5" h="395">
                  <a:moveTo>
                    <a:pt x="0" y="246"/>
                  </a:moveTo>
                  <a:lnTo>
                    <a:pt x="30" y="299"/>
                  </a:lnTo>
                  <a:lnTo>
                    <a:pt x="64" y="295"/>
                  </a:lnTo>
                  <a:lnTo>
                    <a:pt x="79" y="319"/>
                  </a:lnTo>
                  <a:lnTo>
                    <a:pt x="79" y="319"/>
                  </a:lnTo>
                  <a:lnTo>
                    <a:pt x="123" y="338"/>
                  </a:lnTo>
                  <a:lnTo>
                    <a:pt x="134" y="323"/>
                  </a:lnTo>
                  <a:lnTo>
                    <a:pt x="157" y="329"/>
                  </a:lnTo>
                  <a:lnTo>
                    <a:pt x="159" y="304"/>
                  </a:lnTo>
                  <a:lnTo>
                    <a:pt x="219" y="363"/>
                  </a:lnTo>
                  <a:lnTo>
                    <a:pt x="240" y="370"/>
                  </a:lnTo>
                  <a:lnTo>
                    <a:pt x="253" y="353"/>
                  </a:lnTo>
                  <a:lnTo>
                    <a:pt x="253" y="374"/>
                  </a:lnTo>
                  <a:lnTo>
                    <a:pt x="274" y="367"/>
                  </a:lnTo>
                  <a:lnTo>
                    <a:pt x="287" y="395"/>
                  </a:lnTo>
                  <a:lnTo>
                    <a:pt x="310" y="384"/>
                  </a:lnTo>
                  <a:lnTo>
                    <a:pt x="302" y="363"/>
                  </a:lnTo>
                  <a:lnTo>
                    <a:pt x="302" y="361"/>
                  </a:lnTo>
                  <a:lnTo>
                    <a:pt x="338" y="261"/>
                  </a:lnTo>
                  <a:lnTo>
                    <a:pt x="353" y="257"/>
                  </a:lnTo>
                  <a:lnTo>
                    <a:pt x="342" y="242"/>
                  </a:lnTo>
                  <a:lnTo>
                    <a:pt x="365" y="231"/>
                  </a:lnTo>
                  <a:lnTo>
                    <a:pt x="363" y="197"/>
                  </a:lnTo>
                  <a:lnTo>
                    <a:pt x="344" y="187"/>
                  </a:lnTo>
                  <a:lnTo>
                    <a:pt x="355" y="170"/>
                  </a:lnTo>
                  <a:lnTo>
                    <a:pt x="331" y="153"/>
                  </a:lnTo>
                  <a:lnTo>
                    <a:pt x="312" y="168"/>
                  </a:lnTo>
                  <a:lnTo>
                    <a:pt x="257" y="170"/>
                  </a:lnTo>
                  <a:lnTo>
                    <a:pt x="259" y="146"/>
                  </a:lnTo>
                  <a:lnTo>
                    <a:pt x="244" y="149"/>
                  </a:lnTo>
                  <a:lnTo>
                    <a:pt x="219" y="80"/>
                  </a:lnTo>
                  <a:lnTo>
                    <a:pt x="202" y="91"/>
                  </a:lnTo>
                  <a:lnTo>
                    <a:pt x="178" y="74"/>
                  </a:lnTo>
                  <a:lnTo>
                    <a:pt x="191" y="49"/>
                  </a:lnTo>
                  <a:lnTo>
                    <a:pt x="138" y="0"/>
                  </a:lnTo>
                  <a:lnTo>
                    <a:pt x="49" y="12"/>
                  </a:lnTo>
                  <a:lnTo>
                    <a:pt x="49" y="51"/>
                  </a:lnTo>
                  <a:lnTo>
                    <a:pt x="23" y="83"/>
                  </a:lnTo>
                  <a:lnTo>
                    <a:pt x="45" y="93"/>
                  </a:lnTo>
                  <a:lnTo>
                    <a:pt x="68" y="155"/>
                  </a:lnTo>
                  <a:lnTo>
                    <a:pt x="38" y="183"/>
                  </a:lnTo>
                  <a:lnTo>
                    <a:pt x="42" y="221"/>
                  </a:lnTo>
                  <a:lnTo>
                    <a:pt x="0" y="242"/>
                  </a:lnTo>
                  <a:lnTo>
                    <a:pt x="0" y="24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0" name="Freeform 103">
              <a:extLst>
                <a:ext uri="{FF2B5EF4-FFF2-40B4-BE49-F238E27FC236}">
                  <a16:creationId xmlns:a16="http://schemas.microsoft.com/office/drawing/2014/main" id="{177BF335-0C93-4ED1-9F82-AB5E0CDD92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9337" y="2482902"/>
              <a:ext cx="357758" cy="185789"/>
            </a:xfrm>
            <a:custGeom>
              <a:avLst/>
              <a:gdLst>
                <a:gd name="T0" fmla="*/ 0 w 233"/>
                <a:gd name="T1" fmla="*/ 60 h 121"/>
                <a:gd name="T2" fmla="*/ 34 w 233"/>
                <a:gd name="T3" fmla="*/ 64 h 121"/>
                <a:gd name="T4" fmla="*/ 36 w 233"/>
                <a:gd name="T5" fmla="*/ 64 h 121"/>
                <a:gd name="T6" fmla="*/ 40 w 233"/>
                <a:gd name="T7" fmla="*/ 66 h 121"/>
                <a:gd name="T8" fmla="*/ 42 w 233"/>
                <a:gd name="T9" fmla="*/ 66 h 121"/>
                <a:gd name="T10" fmla="*/ 99 w 233"/>
                <a:gd name="T11" fmla="*/ 89 h 121"/>
                <a:gd name="T12" fmla="*/ 121 w 233"/>
                <a:gd name="T13" fmla="*/ 83 h 121"/>
                <a:gd name="T14" fmla="*/ 140 w 233"/>
                <a:gd name="T15" fmla="*/ 121 h 121"/>
                <a:gd name="T16" fmla="*/ 161 w 233"/>
                <a:gd name="T17" fmla="*/ 106 h 121"/>
                <a:gd name="T18" fmla="*/ 161 w 233"/>
                <a:gd name="T19" fmla="*/ 106 h 121"/>
                <a:gd name="T20" fmla="*/ 161 w 233"/>
                <a:gd name="T21" fmla="*/ 104 h 121"/>
                <a:gd name="T22" fmla="*/ 201 w 233"/>
                <a:gd name="T23" fmla="*/ 104 h 121"/>
                <a:gd name="T24" fmla="*/ 225 w 233"/>
                <a:gd name="T25" fmla="*/ 85 h 121"/>
                <a:gd name="T26" fmla="*/ 233 w 233"/>
                <a:gd name="T27" fmla="*/ 62 h 121"/>
                <a:gd name="T28" fmla="*/ 170 w 233"/>
                <a:gd name="T29" fmla="*/ 21 h 121"/>
                <a:gd name="T30" fmla="*/ 144 w 233"/>
                <a:gd name="T31" fmla="*/ 32 h 121"/>
                <a:gd name="T32" fmla="*/ 112 w 233"/>
                <a:gd name="T33" fmla="*/ 13 h 121"/>
                <a:gd name="T34" fmla="*/ 65 w 233"/>
                <a:gd name="T35" fmla="*/ 28 h 121"/>
                <a:gd name="T36" fmla="*/ 31 w 233"/>
                <a:gd name="T37" fmla="*/ 21 h 121"/>
                <a:gd name="T38" fmla="*/ 23 w 233"/>
                <a:gd name="T39" fmla="*/ 0 h 121"/>
                <a:gd name="T40" fmla="*/ 0 w 233"/>
                <a:gd name="T41" fmla="*/ 55 h 121"/>
                <a:gd name="T42" fmla="*/ 0 w 233"/>
                <a:gd name="T43" fmla="*/ 6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3" h="121">
                  <a:moveTo>
                    <a:pt x="0" y="60"/>
                  </a:moveTo>
                  <a:lnTo>
                    <a:pt x="34" y="64"/>
                  </a:lnTo>
                  <a:lnTo>
                    <a:pt x="36" y="64"/>
                  </a:lnTo>
                  <a:lnTo>
                    <a:pt x="40" y="66"/>
                  </a:lnTo>
                  <a:lnTo>
                    <a:pt x="42" y="66"/>
                  </a:lnTo>
                  <a:lnTo>
                    <a:pt x="99" y="89"/>
                  </a:lnTo>
                  <a:lnTo>
                    <a:pt x="121" y="83"/>
                  </a:lnTo>
                  <a:lnTo>
                    <a:pt x="140" y="121"/>
                  </a:lnTo>
                  <a:lnTo>
                    <a:pt x="161" y="106"/>
                  </a:lnTo>
                  <a:lnTo>
                    <a:pt x="161" y="106"/>
                  </a:lnTo>
                  <a:lnTo>
                    <a:pt x="161" y="104"/>
                  </a:lnTo>
                  <a:lnTo>
                    <a:pt x="201" y="104"/>
                  </a:lnTo>
                  <a:lnTo>
                    <a:pt x="225" y="85"/>
                  </a:lnTo>
                  <a:lnTo>
                    <a:pt x="233" y="62"/>
                  </a:lnTo>
                  <a:lnTo>
                    <a:pt x="170" y="21"/>
                  </a:lnTo>
                  <a:lnTo>
                    <a:pt x="144" y="32"/>
                  </a:lnTo>
                  <a:lnTo>
                    <a:pt x="112" y="13"/>
                  </a:lnTo>
                  <a:lnTo>
                    <a:pt x="65" y="28"/>
                  </a:lnTo>
                  <a:lnTo>
                    <a:pt x="31" y="21"/>
                  </a:lnTo>
                  <a:lnTo>
                    <a:pt x="23" y="0"/>
                  </a:lnTo>
                  <a:lnTo>
                    <a:pt x="0" y="55"/>
                  </a:lnTo>
                  <a:lnTo>
                    <a:pt x="0" y="6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111" name="Rectangle 110">
            <a:extLst>
              <a:ext uri="{FF2B5EF4-FFF2-40B4-BE49-F238E27FC236}">
                <a16:creationId xmlns:a16="http://schemas.microsoft.com/office/drawing/2014/main" id="{911DBA33-FB4C-4882-B0D4-CB8D83821898}"/>
              </a:ext>
            </a:extLst>
          </p:cNvPr>
          <p:cNvSpPr/>
          <p:nvPr/>
        </p:nvSpPr>
        <p:spPr>
          <a:xfrm>
            <a:off x="520258" y="5026406"/>
            <a:ext cx="141728" cy="1417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0" rtlCol="0" anchor="ctr"/>
          <a:lstStyle/>
          <a:p>
            <a:r>
              <a:rPr lang="fr-FR" sz="1200" dirty="0">
                <a:solidFill>
                  <a:schemeClr val="tx2"/>
                </a:solidFill>
              </a:rPr>
              <a:t>Légende #1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368196BE-AB03-4A0D-9F04-F146C455B3F4}"/>
              </a:ext>
            </a:extLst>
          </p:cNvPr>
          <p:cNvSpPr/>
          <p:nvPr/>
        </p:nvSpPr>
        <p:spPr>
          <a:xfrm>
            <a:off x="520258" y="5350504"/>
            <a:ext cx="141728" cy="1417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0" rtlCol="0" anchor="ctr"/>
          <a:lstStyle/>
          <a:p>
            <a:r>
              <a:rPr lang="fr-FR" sz="1200" dirty="0">
                <a:solidFill>
                  <a:schemeClr val="tx2"/>
                </a:solidFill>
              </a:rPr>
              <a:t>Légende #2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AD4F8D5A-1C96-4FAF-94CC-4B72400287CF}"/>
              </a:ext>
            </a:extLst>
          </p:cNvPr>
          <p:cNvSpPr/>
          <p:nvPr/>
        </p:nvSpPr>
        <p:spPr>
          <a:xfrm>
            <a:off x="520258" y="5674602"/>
            <a:ext cx="141728" cy="14172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0" rtlCol="0" anchor="ctr"/>
          <a:lstStyle/>
          <a:p>
            <a:r>
              <a:rPr lang="fr-FR" sz="1200" dirty="0">
                <a:solidFill>
                  <a:schemeClr val="tx2"/>
                </a:solidFill>
              </a:rPr>
              <a:t>Légende #3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1C544AE7-7129-4945-9F2A-D9F92CB8BEAB}"/>
              </a:ext>
            </a:extLst>
          </p:cNvPr>
          <p:cNvSpPr/>
          <p:nvPr/>
        </p:nvSpPr>
        <p:spPr>
          <a:xfrm>
            <a:off x="12287374" y="0"/>
            <a:ext cx="1885826" cy="2323713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lang="fr-FR" sz="1000" dirty="0">
                <a:solidFill>
                  <a:schemeClr val="tx1"/>
                </a:solidFill>
                <a:latin typeface="+mj-lt"/>
              </a:rPr>
              <a:t>Pour utiliser une carte de France et modifier </a:t>
            </a:r>
            <a:br>
              <a:rPr lang="fr-FR" sz="1000" dirty="0">
                <a:solidFill>
                  <a:schemeClr val="tx1"/>
                </a:solidFill>
                <a:latin typeface="+mj-lt"/>
              </a:rPr>
            </a:br>
            <a:r>
              <a:rPr lang="fr-FR" sz="1000" dirty="0">
                <a:solidFill>
                  <a:schemeClr val="tx1"/>
                </a:solidFill>
                <a:latin typeface="+mj-lt"/>
              </a:rPr>
              <a:t>la couleur</a:t>
            </a:r>
            <a:br>
              <a:rPr lang="fr-FR" sz="1000" dirty="0">
                <a:solidFill>
                  <a:schemeClr val="tx1"/>
                </a:solidFill>
                <a:latin typeface="+mj-lt"/>
              </a:rPr>
            </a:br>
            <a:r>
              <a:rPr lang="fr-FR" sz="1000" dirty="0">
                <a:solidFill>
                  <a:schemeClr val="tx1"/>
                </a:solidFill>
                <a:latin typeface="+mj-lt"/>
              </a:rPr>
              <a:t>des départements :</a:t>
            </a:r>
          </a:p>
          <a:p>
            <a:pPr marL="171450" indent="-171450">
              <a:spcBef>
                <a:spcPts val="600"/>
              </a:spcBef>
              <a:buBlip>
                <a:blip r:embed="rId2"/>
              </a:buBlip>
            </a:pPr>
            <a:r>
              <a:rPr lang="fr-FR" sz="1000" dirty="0">
                <a:solidFill>
                  <a:schemeClr val="tx1"/>
                </a:solidFill>
              </a:rPr>
              <a:t>Copier-coller la carte dans votre présentation</a:t>
            </a:r>
          </a:p>
          <a:p>
            <a:pPr marL="171450" indent="-171450">
              <a:buBlip>
                <a:blip r:embed="rId2"/>
              </a:buBlip>
            </a:pPr>
            <a:r>
              <a:rPr lang="fr-FR" sz="1000" dirty="0">
                <a:solidFill>
                  <a:schemeClr val="tx1"/>
                </a:solidFill>
              </a:rPr>
              <a:t>Sélectionner la carte</a:t>
            </a:r>
          </a:p>
          <a:p>
            <a:pPr marL="171450" indent="-171450">
              <a:buBlip>
                <a:blip r:embed="rId2"/>
              </a:buBlip>
            </a:pPr>
            <a:r>
              <a:rPr lang="fr-FR" sz="1000" dirty="0">
                <a:solidFill>
                  <a:schemeClr val="tx1"/>
                </a:solidFill>
              </a:rPr>
              <a:t>Cliquer sur le département désiré</a:t>
            </a:r>
          </a:p>
          <a:p>
            <a:pPr marL="171450" indent="-171450">
              <a:buBlip>
                <a:blip r:embed="rId2"/>
              </a:buBlip>
            </a:pPr>
            <a:r>
              <a:rPr lang="fr-FR" sz="1000" dirty="0">
                <a:solidFill>
                  <a:schemeClr val="tx1"/>
                </a:solidFill>
              </a:rPr>
              <a:t>Changer la couleur de remplissage</a:t>
            </a:r>
          </a:p>
          <a:p>
            <a:r>
              <a:rPr lang="fr-FR" sz="1000" dirty="0">
                <a:solidFill>
                  <a:schemeClr val="tx1"/>
                </a:solidFill>
              </a:rPr>
              <a:t>Attention, n’oubliez pas de de copier-coller et modifier la légende. </a:t>
            </a:r>
          </a:p>
        </p:txBody>
      </p:sp>
    </p:spTree>
    <p:extLst>
      <p:ext uri="{BB962C8B-B14F-4D97-AF65-F5344CB8AC3E}">
        <p14:creationId xmlns:p14="http://schemas.microsoft.com/office/powerpoint/2010/main" val="1318167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64E3BCD-7F1F-4994-A407-50E68D8730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DE126FAF-D191-4B4C-9EB7-A951CEF7D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278F62-1FD0-46C6-A8BA-A1F8609DB71D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C2CAECCB-0F92-48F4-84FE-24A36B432E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2606E40-4590-4343-B3A6-F4AC198478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42</a:t>
            </a:fld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D55B8410-5305-4004-9962-A4AF1A38DD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4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0B09035-B82E-4157-9BE2-640BF8B34C7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025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8A5AA72A-6D20-4833-85A4-07E7C64C742A}"/>
              </a:ext>
            </a:extLst>
          </p:cNvPr>
          <p:cNvSpPr/>
          <p:nvPr/>
        </p:nvSpPr>
        <p:spPr>
          <a:xfrm>
            <a:off x="12287374" y="0"/>
            <a:ext cx="1885826" cy="4632037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lang="fr-FR" sz="1000" dirty="0">
                <a:solidFill>
                  <a:schemeClr val="tx1"/>
                </a:solidFill>
                <a:latin typeface="+mj-lt"/>
              </a:rPr>
              <a:t>Modifier les paramètres</a:t>
            </a:r>
            <a:br>
              <a:rPr lang="fr-FR" sz="1000" dirty="0">
                <a:solidFill>
                  <a:schemeClr val="tx1"/>
                </a:solidFill>
                <a:latin typeface="+mj-lt"/>
              </a:rPr>
            </a:br>
            <a:r>
              <a:rPr lang="fr-FR" sz="1000" dirty="0">
                <a:solidFill>
                  <a:schemeClr val="tx1"/>
                </a:solidFill>
                <a:latin typeface="+mj-lt"/>
              </a:rPr>
              <a:t>de lecture :</a:t>
            </a:r>
          </a:p>
          <a:p>
            <a:pPr marL="171450" indent="-171450">
              <a:spcBef>
                <a:spcPts val="600"/>
              </a:spcBef>
              <a:buBlip>
                <a:blip r:embed="rId2"/>
              </a:buBlip>
            </a:pPr>
            <a:r>
              <a:rPr lang="fr-FR" sz="1000" dirty="0">
                <a:solidFill>
                  <a:schemeClr val="tx1"/>
                </a:solidFill>
              </a:rPr>
              <a:t>Sélectionner la vidéo</a:t>
            </a:r>
          </a:p>
          <a:p>
            <a:pPr marL="171450" indent="-171450">
              <a:buBlip>
                <a:blip r:embed="rId2"/>
              </a:buBlip>
            </a:pPr>
            <a:r>
              <a:rPr lang="fr-FR" sz="1000" dirty="0">
                <a:solidFill>
                  <a:schemeClr val="tx1"/>
                </a:solidFill>
              </a:rPr>
              <a:t>Dans la barre d’outils, cliquer sur Lecture</a:t>
            </a:r>
          </a:p>
          <a:p>
            <a:pPr marL="171450" indent="-171450">
              <a:buBlip>
                <a:blip r:embed="rId2"/>
              </a:buBlip>
            </a:pPr>
            <a:r>
              <a:rPr lang="fr-FR" sz="1000" dirty="0">
                <a:solidFill>
                  <a:schemeClr val="tx1"/>
                </a:solidFill>
              </a:rPr>
              <a:t>Dérouler le menu démarrage pour choisir l’option de lancement</a:t>
            </a:r>
          </a:p>
          <a:p>
            <a:pPr marL="171450" indent="-171450">
              <a:buBlip>
                <a:blip r:embed="rId2"/>
              </a:buBlip>
            </a:pPr>
            <a:r>
              <a:rPr lang="fr-FR" sz="1000" dirty="0">
                <a:solidFill>
                  <a:schemeClr val="tx1"/>
                </a:solidFill>
              </a:rPr>
              <a:t>Pour changer l’image initiale, sélectionner la vidéo et dans l’onglet « Format », choisir « Image initiale »</a:t>
            </a:r>
          </a:p>
          <a:p>
            <a:pPr marL="171450" indent="-171450">
              <a:buBlip>
                <a:blip r:embed="rId2"/>
              </a:buBlip>
            </a:pPr>
            <a:r>
              <a:rPr lang="fr-FR" sz="1000" dirty="0">
                <a:solidFill>
                  <a:schemeClr val="tx1"/>
                </a:solidFill>
              </a:rPr>
              <a:t>Sélectionner la vidéo</a:t>
            </a:r>
            <a:br>
              <a:rPr lang="fr-FR" sz="1000" dirty="0">
                <a:solidFill>
                  <a:schemeClr val="tx1"/>
                </a:solidFill>
              </a:rPr>
            </a:br>
            <a:r>
              <a:rPr lang="fr-FR" sz="1000" dirty="0">
                <a:solidFill>
                  <a:schemeClr val="tx1"/>
                </a:solidFill>
              </a:rPr>
              <a:t>et la placer à l’arrière-plan pour faire apparaître le titre </a:t>
            </a:r>
            <a:br>
              <a:rPr lang="fr-FR" sz="1000" dirty="0">
                <a:solidFill>
                  <a:schemeClr val="tx1"/>
                </a:solidFill>
              </a:rPr>
            </a:br>
            <a:r>
              <a:rPr lang="fr-FR" sz="1000" dirty="0">
                <a:solidFill>
                  <a:schemeClr val="tx1"/>
                </a:solidFill>
              </a:rPr>
              <a:t>de la slide</a:t>
            </a:r>
          </a:p>
          <a:p>
            <a:pPr lvl="0">
              <a:spcBef>
                <a:spcPts val="1200"/>
              </a:spcBef>
            </a:pPr>
            <a:r>
              <a:rPr lang="fr-FR" sz="1000" dirty="0">
                <a:solidFill>
                  <a:srgbClr val="314051"/>
                </a:solidFill>
                <a:latin typeface="MAIF Medium"/>
              </a:rPr>
              <a:t>Pour insérer une vidéo</a:t>
            </a:r>
            <a:br>
              <a:rPr lang="fr-FR" sz="1000" dirty="0">
                <a:solidFill>
                  <a:srgbClr val="314051"/>
                </a:solidFill>
                <a:latin typeface="MAIF Medium"/>
              </a:rPr>
            </a:br>
            <a:r>
              <a:rPr lang="fr-FR" sz="1000" dirty="0">
                <a:solidFill>
                  <a:srgbClr val="314051"/>
                </a:solidFill>
                <a:latin typeface="MAIF Medium"/>
              </a:rPr>
              <a:t>en ligne :</a:t>
            </a:r>
          </a:p>
          <a:p>
            <a:pPr marL="171450" indent="-171450">
              <a:spcBef>
                <a:spcPts val="600"/>
              </a:spcBef>
              <a:buBlip>
                <a:blip r:embed="rId2"/>
              </a:buBlip>
            </a:pPr>
            <a:r>
              <a:rPr lang="fr-FR" sz="1000" dirty="0">
                <a:solidFill>
                  <a:schemeClr val="tx1"/>
                </a:solidFill>
              </a:rPr>
              <a:t>Dans l’onglet « Insertion », </a:t>
            </a:r>
            <a:br>
              <a:rPr lang="fr-FR" sz="1000" dirty="0">
                <a:solidFill>
                  <a:schemeClr val="tx1"/>
                </a:solidFill>
              </a:rPr>
            </a:br>
            <a:r>
              <a:rPr lang="fr-FR" sz="1000" dirty="0">
                <a:solidFill>
                  <a:schemeClr val="tx1"/>
                </a:solidFill>
              </a:rPr>
              <a:t>cliquer sur « Vidéo » </a:t>
            </a:r>
          </a:p>
          <a:p>
            <a:pPr marL="171450" indent="-171450">
              <a:buBlip>
                <a:blip r:embed="rId2"/>
              </a:buBlip>
            </a:pPr>
            <a:r>
              <a:rPr lang="fr-FR" sz="1000" dirty="0">
                <a:solidFill>
                  <a:schemeClr val="tx1"/>
                </a:solidFill>
              </a:rPr>
              <a:t>Choisir « Vidéo en ligne » et coller le lien hypertexte de la vidéo</a:t>
            </a:r>
            <a:br>
              <a:rPr lang="fr-FR" sz="1000" dirty="0">
                <a:solidFill>
                  <a:schemeClr val="tx1"/>
                </a:solidFill>
              </a:rPr>
            </a:br>
            <a:r>
              <a:rPr lang="fr-FR" sz="1000" dirty="0">
                <a:solidFill>
                  <a:schemeClr val="tx1"/>
                </a:solidFill>
              </a:rPr>
              <a:t>en ligne</a:t>
            </a:r>
          </a:p>
        </p:txBody>
      </p:sp>
      <p:sp>
        <p:nvSpPr>
          <p:cNvPr id="10" name="Espace réservé de l'élément multimédia 9">
            <a:extLst>
              <a:ext uri="{FF2B5EF4-FFF2-40B4-BE49-F238E27FC236}">
                <a16:creationId xmlns:a16="http://schemas.microsoft.com/office/drawing/2014/main" id="{BDA65ED4-22AE-43F1-B107-3F9E83600D21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/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86B42751-A208-453E-8DB0-D8EC6138EB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8686360-2020-45E3-B3B2-FC88BB8190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4.4</a:t>
            </a:r>
          </a:p>
        </p:txBody>
      </p:sp>
    </p:spTree>
    <p:extLst>
      <p:ext uri="{BB962C8B-B14F-4D97-AF65-F5344CB8AC3E}">
        <p14:creationId xmlns:p14="http://schemas.microsoft.com/office/powerpoint/2010/main" val="4210340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ce réservé pour une image  17">
            <a:extLst>
              <a:ext uri="{FF2B5EF4-FFF2-40B4-BE49-F238E27FC236}">
                <a16:creationId xmlns:a16="http://schemas.microsoft.com/office/drawing/2014/main" id="{F446303B-2C3F-4465-B906-315135E5CA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86B42751-A208-453E-8DB0-D8EC6138EB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8686360-2020-45E3-B3B2-FC88BB8190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4.5</a:t>
            </a:r>
          </a:p>
        </p:txBody>
      </p:sp>
      <p:sp>
        <p:nvSpPr>
          <p:cNvPr id="19" name="Espace réservé du texte 18">
            <a:extLst>
              <a:ext uri="{FF2B5EF4-FFF2-40B4-BE49-F238E27FC236}">
                <a16:creationId xmlns:a16="http://schemas.microsoft.com/office/drawing/2014/main" id="{9EBBDD16-2560-4E4B-B9CB-66EFDF5D367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A5AA72A-6D20-4833-85A4-07E7C64C742A}"/>
              </a:ext>
            </a:extLst>
          </p:cNvPr>
          <p:cNvSpPr/>
          <p:nvPr/>
        </p:nvSpPr>
        <p:spPr>
          <a:xfrm>
            <a:off x="12287374" y="0"/>
            <a:ext cx="1885826" cy="1554272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lang="fr-FR" sz="1000" dirty="0">
                <a:solidFill>
                  <a:schemeClr val="tx1"/>
                </a:solidFill>
                <a:latin typeface="+mj-lt"/>
              </a:rPr>
              <a:t>Insérer un visuel :</a:t>
            </a:r>
          </a:p>
          <a:p>
            <a:pPr marL="171450" indent="-171450">
              <a:spcBef>
                <a:spcPts val="600"/>
              </a:spcBef>
              <a:buBlip>
                <a:blip r:embed="rId2"/>
              </a:buBlip>
            </a:pPr>
            <a:r>
              <a:rPr lang="fr-FR" sz="1000" dirty="0">
                <a:solidFill>
                  <a:schemeClr val="tx1"/>
                </a:solidFill>
              </a:rPr>
              <a:t>Cliquer sur l’icone</a:t>
            </a:r>
            <a:br>
              <a:rPr lang="fr-FR" sz="1000" dirty="0">
                <a:solidFill>
                  <a:schemeClr val="tx1"/>
                </a:solidFill>
              </a:rPr>
            </a:br>
            <a:r>
              <a:rPr lang="fr-FR" sz="1000" dirty="0">
                <a:solidFill>
                  <a:schemeClr val="tx1"/>
                </a:solidFill>
              </a:rPr>
              <a:t>au milieu du bloc </a:t>
            </a:r>
          </a:p>
          <a:p>
            <a:pPr marL="171450" indent="-171450">
              <a:buBlip>
                <a:blip r:embed="rId2"/>
              </a:buBlip>
            </a:pPr>
            <a:r>
              <a:rPr lang="fr-FR" sz="1000" dirty="0">
                <a:solidFill>
                  <a:schemeClr val="tx1"/>
                </a:solidFill>
              </a:rPr>
              <a:t>Sélectionner l’image souhaitée dans votre ordinateur</a:t>
            </a:r>
          </a:p>
          <a:p>
            <a:pPr marL="171450" indent="-171450">
              <a:buBlip>
                <a:blip r:embed="rId2"/>
              </a:buBlip>
            </a:pPr>
            <a:r>
              <a:rPr lang="fr-FR" sz="1000" dirty="0">
                <a:solidFill>
                  <a:schemeClr val="tx1"/>
                </a:solidFill>
              </a:rPr>
              <a:t>Faire un clic droit sur l’image, puis choisir « Arrière-plan »</a:t>
            </a:r>
          </a:p>
        </p:txBody>
      </p:sp>
    </p:spTree>
    <p:extLst>
      <p:ext uri="{BB962C8B-B14F-4D97-AF65-F5344CB8AC3E}">
        <p14:creationId xmlns:p14="http://schemas.microsoft.com/office/powerpoint/2010/main" val="4066954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1">
            <a:extLst>
              <a:ext uri="{FF2B5EF4-FFF2-40B4-BE49-F238E27FC236}">
                <a16:creationId xmlns:a16="http://schemas.microsoft.com/office/drawing/2014/main" id="{9F45C0DA-6AEE-442C-B81A-E6E673EFCE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57FC477-BBF8-4A37-85C6-DB7E766F95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CBF2ED-D57E-4540-B0DC-903A49215537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36C884C6-6743-4FFE-90CA-5B3F208C1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18DD84DA-E9A3-4C2E-BD75-DD1B814A03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45</a:t>
            </a:fld>
            <a:endParaRPr lang="fr-FR" dirty="0"/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BE694746-8610-4018-9BA1-67AA274E41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5.0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DC0CD013-11ED-4927-9BE4-5FA3D81D3BD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/>
          </a:bodyPr>
          <a:lstStyle/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18141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>
            <a:extLst>
              <a:ext uri="{FF2B5EF4-FFF2-40B4-BE49-F238E27FC236}">
                <a16:creationId xmlns:a16="http://schemas.microsoft.com/office/drawing/2014/main" id="{2B6003F0-4EB1-4105-A408-067571B40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oolbox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A21136D2-11BC-46CD-A37D-0DE3CF164E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BDF89D-094E-4E44-BB24-6B4D64A9104B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BD1ADD4F-D4DA-47DF-BD16-A6F2F0DD8D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D163307-54D9-4563-AB2E-BBB6B8735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46</a:t>
            </a:fld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DC8B859-1400-468A-8120-FEF70DD86C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6.0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741A54F6-6070-43FF-9BEA-BEA8682DCEEA}"/>
              </a:ext>
            </a:extLst>
          </p:cNvPr>
          <p:cNvGrpSpPr/>
          <p:nvPr/>
        </p:nvGrpSpPr>
        <p:grpSpPr>
          <a:xfrm>
            <a:off x="2589530" y="1335145"/>
            <a:ext cx="1432561" cy="352426"/>
            <a:chOff x="3671206" y="2656297"/>
            <a:chExt cx="4863194" cy="352426"/>
          </a:xfrm>
        </p:grpSpPr>
        <p:sp>
          <p:nvSpPr>
            <p:cNvPr id="64" name="Rectangle 10">
              <a:extLst>
                <a:ext uri="{FF2B5EF4-FFF2-40B4-BE49-F238E27FC236}">
                  <a16:creationId xmlns:a16="http://schemas.microsoft.com/office/drawing/2014/main" id="{DAB63615-968A-4C83-B88E-42DEEA06682C}"/>
                </a:ext>
              </a:extLst>
            </p:cNvPr>
            <p:cNvSpPr/>
            <p:nvPr/>
          </p:nvSpPr>
          <p:spPr>
            <a:xfrm>
              <a:off x="3671206" y="2823011"/>
              <a:ext cx="4863194" cy="185711"/>
            </a:xfrm>
            <a:custGeom>
              <a:avLst/>
              <a:gdLst>
                <a:gd name="connsiteX0" fmla="*/ 0 w 1638300"/>
                <a:gd name="connsiteY0" fmla="*/ 0 h 1085850"/>
                <a:gd name="connsiteX1" fmla="*/ 1638300 w 1638300"/>
                <a:gd name="connsiteY1" fmla="*/ 0 h 1085850"/>
                <a:gd name="connsiteX2" fmla="*/ 1638300 w 1638300"/>
                <a:gd name="connsiteY2" fmla="*/ 1085850 h 1085850"/>
                <a:gd name="connsiteX3" fmla="*/ 0 w 1638300"/>
                <a:gd name="connsiteY3" fmla="*/ 1085850 h 1085850"/>
                <a:gd name="connsiteX4" fmla="*/ 0 w 1638300"/>
                <a:gd name="connsiteY4" fmla="*/ 0 h 1085850"/>
                <a:gd name="connsiteX0" fmla="*/ 0 w 1638300"/>
                <a:gd name="connsiteY0" fmla="*/ 0 h 1085850"/>
                <a:gd name="connsiteX1" fmla="*/ 1638300 w 1638300"/>
                <a:gd name="connsiteY1" fmla="*/ 0 h 1085850"/>
                <a:gd name="connsiteX2" fmla="*/ 1638300 w 1638300"/>
                <a:gd name="connsiteY2" fmla="*/ 1085850 h 1085850"/>
                <a:gd name="connsiteX3" fmla="*/ 809625 w 1638300"/>
                <a:gd name="connsiteY3" fmla="*/ 1085850 h 1085850"/>
                <a:gd name="connsiteX4" fmla="*/ 0 w 1638300"/>
                <a:gd name="connsiteY4" fmla="*/ 1085850 h 1085850"/>
                <a:gd name="connsiteX5" fmla="*/ 0 w 1638300"/>
                <a:gd name="connsiteY5" fmla="*/ 0 h 1085850"/>
                <a:gd name="connsiteX0" fmla="*/ 809625 w 1638300"/>
                <a:gd name="connsiteY0" fmla="*/ 1085850 h 1177290"/>
                <a:gd name="connsiteX1" fmla="*/ 0 w 1638300"/>
                <a:gd name="connsiteY1" fmla="*/ 1085850 h 1177290"/>
                <a:gd name="connsiteX2" fmla="*/ 0 w 1638300"/>
                <a:gd name="connsiteY2" fmla="*/ 0 h 1177290"/>
                <a:gd name="connsiteX3" fmla="*/ 1638300 w 1638300"/>
                <a:gd name="connsiteY3" fmla="*/ 0 h 1177290"/>
                <a:gd name="connsiteX4" fmla="*/ 1638300 w 1638300"/>
                <a:gd name="connsiteY4" fmla="*/ 1085850 h 1177290"/>
                <a:gd name="connsiteX5" fmla="*/ 901065 w 1638300"/>
                <a:gd name="connsiteY5" fmla="*/ 1177290 h 1177290"/>
                <a:gd name="connsiteX0" fmla="*/ 809625 w 1638300"/>
                <a:gd name="connsiteY0" fmla="*/ 1085850 h 1085850"/>
                <a:gd name="connsiteX1" fmla="*/ 0 w 1638300"/>
                <a:gd name="connsiteY1" fmla="*/ 1085850 h 1085850"/>
                <a:gd name="connsiteX2" fmla="*/ 0 w 1638300"/>
                <a:gd name="connsiteY2" fmla="*/ 0 h 1085850"/>
                <a:gd name="connsiteX3" fmla="*/ 1638300 w 1638300"/>
                <a:gd name="connsiteY3" fmla="*/ 0 h 1085850"/>
                <a:gd name="connsiteX4" fmla="*/ 1638300 w 1638300"/>
                <a:gd name="connsiteY4" fmla="*/ 1085850 h 1085850"/>
                <a:gd name="connsiteX0" fmla="*/ 0 w 1638300"/>
                <a:gd name="connsiteY0" fmla="*/ 1085850 h 1085850"/>
                <a:gd name="connsiteX1" fmla="*/ 0 w 1638300"/>
                <a:gd name="connsiteY1" fmla="*/ 0 h 1085850"/>
                <a:gd name="connsiteX2" fmla="*/ 1638300 w 1638300"/>
                <a:gd name="connsiteY2" fmla="*/ 0 h 1085850"/>
                <a:gd name="connsiteX3" fmla="*/ 1638300 w 1638300"/>
                <a:gd name="connsiteY3" fmla="*/ 1085850 h 1085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38300" h="1085850">
                  <a:moveTo>
                    <a:pt x="0" y="1085850"/>
                  </a:moveTo>
                  <a:lnTo>
                    <a:pt x="0" y="0"/>
                  </a:lnTo>
                  <a:lnTo>
                    <a:pt x="1638300" y="0"/>
                  </a:lnTo>
                  <a:lnTo>
                    <a:pt x="1638300" y="1085850"/>
                  </a:lnTo>
                </a:path>
              </a:pathLst>
            </a:cu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cxnSp>
          <p:nvCxnSpPr>
            <p:cNvPr id="65" name="Connecteur droit 64">
              <a:extLst>
                <a:ext uri="{FF2B5EF4-FFF2-40B4-BE49-F238E27FC236}">
                  <a16:creationId xmlns:a16="http://schemas.microsoft.com/office/drawing/2014/main" id="{431AA912-BDD5-415D-BAFF-2E28D37AFEE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96000" y="2656297"/>
              <a:ext cx="0" cy="35242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6" name="Connecteur droit 65">
            <a:extLst>
              <a:ext uri="{FF2B5EF4-FFF2-40B4-BE49-F238E27FC236}">
                <a16:creationId xmlns:a16="http://schemas.microsoft.com/office/drawing/2014/main" id="{7D268001-6B0A-40C6-AEEA-C38C02721C87}"/>
              </a:ext>
            </a:extLst>
          </p:cNvPr>
          <p:cNvCxnSpPr>
            <a:cxnSpLocks/>
          </p:cNvCxnSpPr>
          <p:nvPr/>
        </p:nvCxnSpPr>
        <p:spPr>
          <a:xfrm flipV="1">
            <a:off x="3075207" y="2010079"/>
            <a:ext cx="0" cy="670560"/>
          </a:xfrm>
          <a:prstGeom prst="lin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3" name="Rectangle 9">
            <a:extLst>
              <a:ext uri="{FF2B5EF4-FFF2-40B4-BE49-F238E27FC236}">
                <a16:creationId xmlns:a16="http://schemas.microsoft.com/office/drawing/2014/main" id="{C470C292-CFB1-428B-940F-37A3929CD7C9}"/>
              </a:ext>
            </a:extLst>
          </p:cNvPr>
          <p:cNvSpPr/>
          <p:nvPr/>
        </p:nvSpPr>
        <p:spPr>
          <a:xfrm rot="5400000" flipV="1">
            <a:off x="1843555" y="1261562"/>
            <a:ext cx="185713" cy="685305"/>
          </a:xfrm>
          <a:custGeom>
            <a:avLst/>
            <a:gdLst>
              <a:gd name="connsiteX0" fmla="*/ 0 w 1162050"/>
              <a:gd name="connsiteY0" fmla="*/ 0 h 1162050"/>
              <a:gd name="connsiteX1" fmla="*/ 1162050 w 1162050"/>
              <a:gd name="connsiteY1" fmla="*/ 0 h 1162050"/>
              <a:gd name="connsiteX2" fmla="*/ 1162050 w 1162050"/>
              <a:gd name="connsiteY2" fmla="*/ 1162050 h 1162050"/>
              <a:gd name="connsiteX3" fmla="*/ 0 w 1162050"/>
              <a:gd name="connsiteY3" fmla="*/ 1162050 h 1162050"/>
              <a:gd name="connsiteX4" fmla="*/ 0 w 1162050"/>
              <a:gd name="connsiteY4" fmla="*/ 0 h 1162050"/>
              <a:gd name="connsiteX0" fmla="*/ 1162050 w 1253490"/>
              <a:gd name="connsiteY0" fmla="*/ 0 h 1162050"/>
              <a:gd name="connsiteX1" fmla="*/ 1162050 w 1253490"/>
              <a:gd name="connsiteY1" fmla="*/ 1162050 h 1162050"/>
              <a:gd name="connsiteX2" fmla="*/ 0 w 1253490"/>
              <a:gd name="connsiteY2" fmla="*/ 1162050 h 1162050"/>
              <a:gd name="connsiteX3" fmla="*/ 0 w 1253490"/>
              <a:gd name="connsiteY3" fmla="*/ 0 h 1162050"/>
              <a:gd name="connsiteX4" fmla="*/ 1253490 w 1253490"/>
              <a:gd name="connsiteY4" fmla="*/ 91440 h 1162050"/>
              <a:gd name="connsiteX0" fmla="*/ 1162050 w 1162050"/>
              <a:gd name="connsiteY0" fmla="*/ 0 h 1162050"/>
              <a:gd name="connsiteX1" fmla="*/ 1162050 w 1162050"/>
              <a:gd name="connsiteY1" fmla="*/ 1162050 h 1162050"/>
              <a:gd name="connsiteX2" fmla="*/ 0 w 1162050"/>
              <a:gd name="connsiteY2" fmla="*/ 1162050 h 1162050"/>
              <a:gd name="connsiteX3" fmla="*/ 0 w 1162050"/>
              <a:gd name="connsiteY3" fmla="*/ 0 h 1162050"/>
              <a:gd name="connsiteX0" fmla="*/ 1162050 w 1162050"/>
              <a:gd name="connsiteY0" fmla="*/ 1162050 h 1162050"/>
              <a:gd name="connsiteX1" fmla="*/ 0 w 1162050"/>
              <a:gd name="connsiteY1" fmla="*/ 1162050 h 1162050"/>
              <a:gd name="connsiteX2" fmla="*/ 0 w 1162050"/>
              <a:gd name="connsiteY2" fmla="*/ 0 h 1162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2050" h="1162050">
                <a:moveTo>
                  <a:pt x="1162050" y="1162050"/>
                </a:moveTo>
                <a:lnTo>
                  <a:pt x="0" y="116205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67" name="Rectangle 9">
            <a:extLst>
              <a:ext uri="{FF2B5EF4-FFF2-40B4-BE49-F238E27FC236}">
                <a16:creationId xmlns:a16="http://schemas.microsoft.com/office/drawing/2014/main" id="{2C149205-1F39-4431-9C15-42D796252E66}"/>
              </a:ext>
            </a:extLst>
          </p:cNvPr>
          <p:cNvSpPr/>
          <p:nvPr/>
        </p:nvSpPr>
        <p:spPr>
          <a:xfrm rot="16200000" flipH="1" flipV="1">
            <a:off x="1096299" y="1261562"/>
            <a:ext cx="185713" cy="685305"/>
          </a:xfrm>
          <a:custGeom>
            <a:avLst/>
            <a:gdLst>
              <a:gd name="connsiteX0" fmla="*/ 0 w 1162050"/>
              <a:gd name="connsiteY0" fmla="*/ 0 h 1162050"/>
              <a:gd name="connsiteX1" fmla="*/ 1162050 w 1162050"/>
              <a:gd name="connsiteY1" fmla="*/ 0 h 1162050"/>
              <a:gd name="connsiteX2" fmla="*/ 1162050 w 1162050"/>
              <a:gd name="connsiteY2" fmla="*/ 1162050 h 1162050"/>
              <a:gd name="connsiteX3" fmla="*/ 0 w 1162050"/>
              <a:gd name="connsiteY3" fmla="*/ 1162050 h 1162050"/>
              <a:gd name="connsiteX4" fmla="*/ 0 w 1162050"/>
              <a:gd name="connsiteY4" fmla="*/ 0 h 1162050"/>
              <a:gd name="connsiteX0" fmla="*/ 1162050 w 1253490"/>
              <a:gd name="connsiteY0" fmla="*/ 0 h 1162050"/>
              <a:gd name="connsiteX1" fmla="*/ 1162050 w 1253490"/>
              <a:gd name="connsiteY1" fmla="*/ 1162050 h 1162050"/>
              <a:gd name="connsiteX2" fmla="*/ 0 w 1253490"/>
              <a:gd name="connsiteY2" fmla="*/ 1162050 h 1162050"/>
              <a:gd name="connsiteX3" fmla="*/ 0 w 1253490"/>
              <a:gd name="connsiteY3" fmla="*/ 0 h 1162050"/>
              <a:gd name="connsiteX4" fmla="*/ 1253490 w 1253490"/>
              <a:gd name="connsiteY4" fmla="*/ 91440 h 1162050"/>
              <a:gd name="connsiteX0" fmla="*/ 1162050 w 1162050"/>
              <a:gd name="connsiteY0" fmla="*/ 0 h 1162050"/>
              <a:gd name="connsiteX1" fmla="*/ 1162050 w 1162050"/>
              <a:gd name="connsiteY1" fmla="*/ 1162050 h 1162050"/>
              <a:gd name="connsiteX2" fmla="*/ 0 w 1162050"/>
              <a:gd name="connsiteY2" fmla="*/ 1162050 h 1162050"/>
              <a:gd name="connsiteX3" fmla="*/ 0 w 1162050"/>
              <a:gd name="connsiteY3" fmla="*/ 0 h 1162050"/>
              <a:gd name="connsiteX0" fmla="*/ 1162050 w 1162050"/>
              <a:gd name="connsiteY0" fmla="*/ 1162050 h 1162050"/>
              <a:gd name="connsiteX1" fmla="*/ 0 w 1162050"/>
              <a:gd name="connsiteY1" fmla="*/ 1162050 h 1162050"/>
              <a:gd name="connsiteX2" fmla="*/ 0 w 1162050"/>
              <a:gd name="connsiteY2" fmla="*/ 0 h 1162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2050" h="1162050">
                <a:moveTo>
                  <a:pt x="1162050" y="1162050"/>
                </a:moveTo>
                <a:lnTo>
                  <a:pt x="0" y="116205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71" name="Rectangle 9">
            <a:extLst>
              <a:ext uri="{FF2B5EF4-FFF2-40B4-BE49-F238E27FC236}">
                <a16:creationId xmlns:a16="http://schemas.microsoft.com/office/drawing/2014/main" id="{846576D7-D974-4E0A-92F2-8EC2D892A7BA}"/>
              </a:ext>
            </a:extLst>
          </p:cNvPr>
          <p:cNvSpPr/>
          <p:nvPr/>
        </p:nvSpPr>
        <p:spPr>
          <a:xfrm rot="10800000" flipV="1">
            <a:off x="2004900" y="1994092"/>
            <a:ext cx="185713" cy="685305"/>
          </a:xfrm>
          <a:custGeom>
            <a:avLst/>
            <a:gdLst>
              <a:gd name="connsiteX0" fmla="*/ 0 w 1162050"/>
              <a:gd name="connsiteY0" fmla="*/ 0 h 1162050"/>
              <a:gd name="connsiteX1" fmla="*/ 1162050 w 1162050"/>
              <a:gd name="connsiteY1" fmla="*/ 0 h 1162050"/>
              <a:gd name="connsiteX2" fmla="*/ 1162050 w 1162050"/>
              <a:gd name="connsiteY2" fmla="*/ 1162050 h 1162050"/>
              <a:gd name="connsiteX3" fmla="*/ 0 w 1162050"/>
              <a:gd name="connsiteY3" fmla="*/ 1162050 h 1162050"/>
              <a:gd name="connsiteX4" fmla="*/ 0 w 1162050"/>
              <a:gd name="connsiteY4" fmla="*/ 0 h 1162050"/>
              <a:gd name="connsiteX0" fmla="*/ 1162050 w 1253490"/>
              <a:gd name="connsiteY0" fmla="*/ 0 h 1162050"/>
              <a:gd name="connsiteX1" fmla="*/ 1162050 w 1253490"/>
              <a:gd name="connsiteY1" fmla="*/ 1162050 h 1162050"/>
              <a:gd name="connsiteX2" fmla="*/ 0 w 1253490"/>
              <a:gd name="connsiteY2" fmla="*/ 1162050 h 1162050"/>
              <a:gd name="connsiteX3" fmla="*/ 0 w 1253490"/>
              <a:gd name="connsiteY3" fmla="*/ 0 h 1162050"/>
              <a:gd name="connsiteX4" fmla="*/ 1253490 w 1253490"/>
              <a:gd name="connsiteY4" fmla="*/ 91440 h 1162050"/>
              <a:gd name="connsiteX0" fmla="*/ 1162050 w 1162050"/>
              <a:gd name="connsiteY0" fmla="*/ 0 h 1162050"/>
              <a:gd name="connsiteX1" fmla="*/ 1162050 w 1162050"/>
              <a:gd name="connsiteY1" fmla="*/ 1162050 h 1162050"/>
              <a:gd name="connsiteX2" fmla="*/ 0 w 1162050"/>
              <a:gd name="connsiteY2" fmla="*/ 1162050 h 1162050"/>
              <a:gd name="connsiteX3" fmla="*/ 0 w 1162050"/>
              <a:gd name="connsiteY3" fmla="*/ 0 h 1162050"/>
              <a:gd name="connsiteX0" fmla="*/ 1162050 w 1162050"/>
              <a:gd name="connsiteY0" fmla="*/ 1162050 h 1162050"/>
              <a:gd name="connsiteX1" fmla="*/ 0 w 1162050"/>
              <a:gd name="connsiteY1" fmla="*/ 1162050 h 1162050"/>
              <a:gd name="connsiteX2" fmla="*/ 0 w 1162050"/>
              <a:gd name="connsiteY2" fmla="*/ 0 h 1162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2050" h="1162050">
                <a:moveTo>
                  <a:pt x="1162050" y="1162050"/>
                </a:moveTo>
                <a:lnTo>
                  <a:pt x="0" y="116205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72" name="Rectangle 9">
            <a:extLst>
              <a:ext uri="{FF2B5EF4-FFF2-40B4-BE49-F238E27FC236}">
                <a16:creationId xmlns:a16="http://schemas.microsoft.com/office/drawing/2014/main" id="{06DC154B-9D6D-4A13-8AC3-2CD2E5772EC1}"/>
              </a:ext>
            </a:extLst>
          </p:cNvPr>
          <p:cNvSpPr/>
          <p:nvPr/>
        </p:nvSpPr>
        <p:spPr>
          <a:xfrm flipH="1" flipV="1">
            <a:off x="865090" y="1994092"/>
            <a:ext cx="185713" cy="685305"/>
          </a:xfrm>
          <a:custGeom>
            <a:avLst/>
            <a:gdLst>
              <a:gd name="connsiteX0" fmla="*/ 0 w 1162050"/>
              <a:gd name="connsiteY0" fmla="*/ 0 h 1162050"/>
              <a:gd name="connsiteX1" fmla="*/ 1162050 w 1162050"/>
              <a:gd name="connsiteY1" fmla="*/ 0 h 1162050"/>
              <a:gd name="connsiteX2" fmla="*/ 1162050 w 1162050"/>
              <a:gd name="connsiteY2" fmla="*/ 1162050 h 1162050"/>
              <a:gd name="connsiteX3" fmla="*/ 0 w 1162050"/>
              <a:gd name="connsiteY3" fmla="*/ 1162050 h 1162050"/>
              <a:gd name="connsiteX4" fmla="*/ 0 w 1162050"/>
              <a:gd name="connsiteY4" fmla="*/ 0 h 1162050"/>
              <a:gd name="connsiteX0" fmla="*/ 1162050 w 1253490"/>
              <a:gd name="connsiteY0" fmla="*/ 0 h 1162050"/>
              <a:gd name="connsiteX1" fmla="*/ 1162050 w 1253490"/>
              <a:gd name="connsiteY1" fmla="*/ 1162050 h 1162050"/>
              <a:gd name="connsiteX2" fmla="*/ 0 w 1253490"/>
              <a:gd name="connsiteY2" fmla="*/ 1162050 h 1162050"/>
              <a:gd name="connsiteX3" fmla="*/ 0 w 1253490"/>
              <a:gd name="connsiteY3" fmla="*/ 0 h 1162050"/>
              <a:gd name="connsiteX4" fmla="*/ 1253490 w 1253490"/>
              <a:gd name="connsiteY4" fmla="*/ 91440 h 1162050"/>
              <a:gd name="connsiteX0" fmla="*/ 1162050 w 1162050"/>
              <a:gd name="connsiteY0" fmla="*/ 0 h 1162050"/>
              <a:gd name="connsiteX1" fmla="*/ 1162050 w 1162050"/>
              <a:gd name="connsiteY1" fmla="*/ 1162050 h 1162050"/>
              <a:gd name="connsiteX2" fmla="*/ 0 w 1162050"/>
              <a:gd name="connsiteY2" fmla="*/ 1162050 h 1162050"/>
              <a:gd name="connsiteX3" fmla="*/ 0 w 1162050"/>
              <a:gd name="connsiteY3" fmla="*/ 0 h 1162050"/>
              <a:gd name="connsiteX0" fmla="*/ 1162050 w 1162050"/>
              <a:gd name="connsiteY0" fmla="*/ 1162050 h 1162050"/>
              <a:gd name="connsiteX1" fmla="*/ 0 w 1162050"/>
              <a:gd name="connsiteY1" fmla="*/ 1162050 h 1162050"/>
              <a:gd name="connsiteX2" fmla="*/ 0 w 1162050"/>
              <a:gd name="connsiteY2" fmla="*/ 0 h 1162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2050" h="1162050">
                <a:moveTo>
                  <a:pt x="1162050" y="1162050"/>
                </a:moveTo>
                <a:lnTo>
                  <a:pt x="0" y="116205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74" name="Rectangle 9">
            <a:extLst>
              <a:ext uri="{FF2B5EF4-FFF2-40B4-BE49-F238E27FC236}">
                <a16:creationId xmlns:a16="http://schemas.microsoft.com/office/drawing/2014/main" id="{DA784A3F-93B7-4932-A3F8-67571B037FE7}"/>
              </a:ext>
            </a:extLst>
          </p:cNvPr>
          <p:cNvSpPr/>
          <p:nvPr/>
        </p:nvSpPr>
        <p:spPr>
          <a:xfrm flipV="1">
            <a:off x="1434995" y="1994092"/>
            <a:ext cx="185713" cy="685305"/>
          </a:xfrm>
          <a:custGeom>
            <a:avLst/>
            <a:gdLst>
              <a:gd name="connsiteX0" fmla="*/ 0 w 1162050"/>
              <a:gd name="connsiteY0" fmla="*/ 0 h 1162050"/>
              <a:gd name="connsiteX1" fmla="*/ 1162050 w 1162050"/>
              <a:gd name="connsiteY1" fmla="*/ 0 h 1162050"/>
              <a:gd name="connsiteX2" fmla="*/ 1162050 w 1162050"/>
              <a:gd name="connsiteY2" fmla="*/ 1162050 h 1162050"/>
              <a:gd name="connsiteX3" fmla="*/ 0 w 1162050"/>
              <a:gd name="connsiteY3" fmla="*/ 1162050 h 1162050"/>
              <a:gd name="connsiteX4" fmla="*/ 0 w 1162050"/>
              <a:gd name="connsiteY4" fmla="*/ 0 h 1162050"/>
              <a:gd name="connsiteX0" fmla="*/ 1162050 w 1253490"/>
              <a:gd name="connsiteY0" fmla="*/ 0 h 1162050"/>
              <a:gd name="connsiteX1" fmla="*/ 1162050 w 1253490"/>
              <a:gd name="connsiteY1" fmla="*/ 1162050 h 1162050"/>
              <a:gd name="connsiteX2" fmla="*/ 0 w 1253490"/>
              <a:gd name="connsiteY2" fmla="*/ 1162050 h 1162050"/>
              <a:gd name="connsiteX3" fmla="*/ 0 w 1253490"/>
              <a:gd name="connsiteY3" fmla="*/ 0 h 1162050"/>
              <a:gd name="connsiteX4" fmla="*/ 1253490 w 1253490"/>
              <a:gd name="connsiteY4" fmla="*/ 91440 h 1162050"/>
              <a:gd name="connsiteX0" fmla="*/ 1162050 w 1162050"/>
              <a:gd name="connsiteY0" fmla="*/ 0 h 1162050"/>
              <a:gd name="connsiteX1" fmla="*/ 1162050 w 1162050"/>
              <a:gd name="connsiteY1" fmla="*/ 1162050 h 1162050"/>
              <a:gd name="connsiteX2" fmla="*/ 0 w 1162050"/>
              <a:gd name="connsiteY2" fmla="*/ 1162050 h 1162050"/>
              <a:gd name="connsiteX3" fmla="*/ 0 w 1162050"/>
              <a:gd name="connsiteY3" fmla="*/ 0 h 1162050"/>
              <a:gd name="connsiteX0" fmla="*/ 1162050 w 1162050"/>
              <a:gd name="connsiteY0" fmla="*/ 1162050 h 1162050"/>
              <a:gd name="connsiteX1" fmla="*/ 0 w 1162050"/>
              <a:gd name="connsiteY1" fmla="*/ 1162050 h 1162050"/>
              <a:gd name="connsiteX2" fmla="*/ 0 w 1162050"/>
              <a:gd name="connsiteY2" fmla="*/ 0 h 1162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2050" h="1162050">
                <a:moveTo>
                  <a:pt x="1162050" y="1162050"/>
                </a:moveTo>
                <a:lnTo>
                  <a:pt x="0" y="116205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75" name="Rectangle 9">
            <a:extLst>
              <a:ext uri="{FF2B5EF4-FFF2-40B4-BE49-F238E27FC236}">
                <a16:creationId xmlns:a16="http://schemas.microsoft.com/office/drawing/2014/main" id="{056CAFE9-9B4E-42FB-942A-61BBCFA99CCF}"/>
              </a:ext>
            </a:extLst>
          </p:cNvPr>
          <p:cNvSpPr/>
          <p:nvPr/>
        </p:nvSpPr>
        <p:spPr>
          <a:xfrm rot="10800000" flipH="1" flipV="1">
            <a:off x="2574805" y="1994092"/>
            <a:ext cx="185713" cy="685305"/>
          </a:xfrm>
          <a:custGeom>
            <a:avLst/>
            <a:gdLst>
              <a:gd name="connsiteX0" fmla="*/ 0 w 1162050"/>
              <a:gd name="connsiteY0" fmla="*/ 0 h 1162050"/>
              <a:gd name="connsiteX1" fmla="*/ 1162050 w 1162050"/>
              <a:gd name="connsiteY1" fmla="*/ 0 h 1162050"/>
              <a:gd name="connsiteX2" fmla="*/ 1162050 w 1162050"/>
              <a:gd name="connsiteY2" fmla="*/ 1162050 h 1162050"/>
              <a:gd name="connsiteX3" fmla="*/ 0 w 1162050"/>
              <a:gd name="connsiteY3" fmla="*/ 1162050 h 1162050"/>
              <a:gd name="connsiteX4" fmla="*/ 0 w 1162050"/>
              <a:gd name="connsiteY4" fmla="*/ 0 h 1162050"/>
              <a:gd name="connsiteX0" fmla="*/ 1162050 w 1253490"/>
              <a:gd name="connsiteY0" fmla="*/ 0 h 1162050"/>
              <a:gd name="connsiteX1" fmla="*/ 1162050 w 1253490"/>
              <a:gd name="connsiteY1" fmla="*/ 1162050 h 1162050"/>
              <a:gd name="connsiteX2" fmla="*/ 0 w 1253490"/>
              <a:gd name="connsiteY2" fmla="*/ 1162050 h 1162050"/>
              <a:gd name="connsiteX3" fmla="*/ 0 w 1253490"/>
              <a:gd name="connsiteY3" fmla="*/ 0 h 1162050"/>
              <a:gd name="connsiteX4" fmla="*/ 1253490 w 1253490"/>
              <a:gd name="connsiteY4" fmla="*/ 91440 h 1162050"/>
              <a:gd name="connsiteX0" fmla="*/ 1162050 w 1162050"/>
              <a:gd name="connsiteY0" fmla="*/ 0 h 1162050"/>
              <a:gd name="connsiteX1" fmla="*/ 1162050 w 1162050"/>
              <a:gd name="connsiteY1" fmla="*/ 1162050 h 1162050"/>
              <a:gd name="connsiteX2" fmla="*/ 0 w 1162050"/>
              <a:gd name="connsiteY2" fmla="*/ 1162050 h 1162050"/>
              <a:gd name="connsiteX3" fmla="*/ 0 w 1162050"/>
              <a:gd name="connsiteY3" fmla="*/ 0 h 1162050"/>
              <a:gd name="connsiteX0" fmla="*/ 1162050 w 1162050"/>
              <a:gd name="connsiteY0" fmla="*/ 1162050 h 1162050"/>
              <a:gd name="connsiteX1" fmla="*/ 0 w 1162050"/>
              <a:gd name="connsiteY1" fmla="*/ 1162050 h 1162050"/>
              <a:gd name="connsiteX2" fmla="*/ 0 w 1162050"/>
              <a:gd name="connsiteY2" fmla="*/ 0 h 1162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2050" h="1162050">
                <a:moveTo>
                  <a:pt x="1162050" y="1162050"/>
                </a:moveTo>
                <a:lnTo>
                  <a:pt x="0" y="116205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cxnSp>
        <p:nvCxnSpPr>
          <p:cNvPr id="78" name="Connecteur droit 77">
            <a:extLst>
              <a:ext uri="{FF2B5EF4-FFF2-40B4-BE49-F238E27FC236}">
                <a16:creationId xmlns:a16="http://schemas.microsoft.com/office/drawing/2014/main" id="{98EC3589-523C-49D2-B47F-2CB4ADC80314}"/>
              </a:ext>
            </a:extLst>
          </p:cNvPr>
          <p:cNvCxnSpPr>
            <a:cxnSpLocks/>
          </p:cNvCxnSpPr>
          <p:nvPr/>
        </p:nvCxnSpPr>
        <p:spPr>
          <a:xfrm rot="5400000" flipV="1">
            <a:off x="3661947" y="2010079"/>
            <a:ext cx="0" cy="670560"/>
          </a:xfrm>
          <a:prstGeom prst="lin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96" name="Groupe 95">
            <a:extLst>
              <a:ext uri="{FF2B5EF4-FFF2-40B4-BE49-F238E27FC236}">
                <a16:creationId xmlns:a16="http://schemas.microsoft.com/office/drawing/2014/main" id="{97120E59-0DFA-4B6E-9826-92B00FFD0B90}"/>
              </a:ext>
            </a:extLst>
          </p:cNvPr>
          <p:cNvGrpSpPr/>
          <p:nvPr/>
        </p:nvGrpSpPr>
        <p:grpSpPr>
          <a:xfrm>
            <a:off x="845820" y="3339436"/>
            <a:ext cx="895600" cy="286146"/>
            <a:chOff x="5213574" y="1600199"/>
            <a:chExt cx="895600" cy="286146"/>
          </a:xfrm>
        </p:grpSpPr>
        <p:pic>
          <p:nvPicPr>
            <p:cNvPr id="79" name="Graphique 78">
              <a:extLst>
                <a:ext uri="{FF2B5EF4-FFF2-40B4-BE49-F238E27FC236}">
                  <a16:creationId xmlns:a16="http://schemas.microsoft.com/office/drawing/2014/main" id="{610C4B4E-29E1-4223-8312-2CD59EE6D14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213574" y="1600200"/>
              <a:ext cx="350932" cy="286145"/>
            </a:xfrm>
            <a:prstGeom prst="rect">
              <a:avLst/>
            </a:prstGeom>
          </p:spPr>
        </p:pic>
        <p:pic>
          <p:nvPicPr>
            <p:cNvPr id="91" name="Graphique 90">
              <a:extLst>
                <a:ext uri="{FF2B5EF4-FFF2-40B4-BE49-F238E27FC236}">
                  <a16:creationId xmlns:a16="http://schemas.microsoft.com/office/drawing/2014/main" id="{0AFD9EA5-EDFF-40F6-9D42-E7E80324427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10800000">
              <a:off x="5758242" y="1600199"/>
              <a:ext cx="350932" cy="286145"/>
            </a:xfrm>
            <a:prstGeom prst="rect">
              <a:avLst/>
            </a:prstGeom>
          </p:spPr>
        </p:pic>
      </p:grpSp>
      <p:sp>
        <p:nvSpPr>
          <p:cNvPr id="95" name="Freeform 5">
            <a:extLst>
              <a:ext uri="{FF2B5EF4-FFF2-40B4-BE49-F238E27FC236}">
                <a16:creationId xmlns:a16="http://schemas.microsoft.com/office/drawing/2014/main" id="{DA8F2022-7BCB-49DC-854A-2A67D65EB41E}"/>
              </a:ext>
            </a:extLst>
          </p:cNvPr>
          <p:cNvSpPr>
            <a:spLocks/>
          </p:cNvSpPr>
          <p:nvPr/>
        </p:nvSpPr>
        <p:spPr bwMode="auto">
          <a:xfrm>
            <a:off x="3830031" y="3335569"/>
            <a:ext cx="185710" cy="293881"/>
          </a:xfrm>
          <a:custGeom>
            <a:avLst/>
            <a:gdLst>
              <a:gd name="T0" fmla="*/ 48 w 186"/>
              <a:gd name="T1" fmla="*/ 296 h 296"/>
              <a:gd name="T2" fmla="*/ 2 w 186"/>
              <a:gd name="T3" fmla="*/ 250 h 296"/>
              <a:gd name="T4" fmla="*/ 104 w 186"/>
              <a:gd name="T5" fmla="*/ 149 h 296"/>
              <a:gd name="T6" fmla="*/ 0 w 186"/>
              <a:gd name="T7" fmla="*/ 46 h 296"/>
              <a:gd name="T8" fmla="*/ 46 w 186"/>
              <a:gd name="T9" fmla="*/ 0 h 296"/>
              <a:gd name="T10" fmla="*/ 176 w 186"/>
              <a:gd name="T11" fmla="*/ 130 h 296"/>
              <a:gd name="T12" fmla="*/ 176 w 186"/>
              <a:gd name="T13" fmla="*/ 168 h 296"/>
              <a:gd name="T14" fmla="*/ 48 w 186"/>
              <a:gd name="T15" fmla="*/ 29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6" h="296">
                <a:moveTo>
                  <a:pt x="48" y="296"/>
                </a:moveTo>
                <a:cubicBezTo>
                  <a:pt x="2" y="250"/>
                  <a:pt x="2" y="250"/>
                  <a:pt x="2" y="250"/>
                </a:cubicBezTo>
                <a:cubicBezTo>
                  <a:pt x="104" y="149"/>
                  <a:pt x="104" y="149"/>
                  <a:pt x="104" y="149"/>
                </a:cubicBezTo>
                <a:cubicBezTo>
                  <a:pt x="0" y="46"/>
                  <a:pt x="0" y="46"/>
                  <a:pt x="0" y="46"/>
                </a:cubicBezTo>
                <a:cubicBezTo>
                  <a:pt x="46" y="0"/>
                  <a:pt x="46" y="0"/>
                  <a:pt x="46" y="0"/>
                </a:cubicBezTo>
                <a:cubicBezTo>
                  <a:pt x="176" y="130"/>
                  <a:pt x="176" y="130"/>
                  <a:pt x="176" y="130"/>
                </a:cubicBezTo>
                <a:cubicBezTo>
                  <a:pt x="186" y="141"/>
                  <a:pt x="186" y="157"/>
                  <a:pt x="176" y="168"/>
                </a:cubicBezTo>
                <a:lnTo>
                  <a:pt x="48" y="29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grpSp>
        <p:nvGrpSpPr>
          <p:cNvPr id="126" name="Groupe 125">
            <a:extLst>
              <a:ext uri="{FF2B5EF4-FFF2-40B4-BE49-F238E27FC236}">
                <a16:creationId xmlns:a16="http://schemas.microsoft.com/office/drawing/2014/main" id="{51DDA1B5-25C9-473A-BDDD-237F6FB8798E}"/>
              </a:ext>
            </a:extLst>
          </p:cNvPr>
          <p:cNvGrpSpPr/>
          <p:nvPr/>
        </p:nvGrpSpPr>
        <p:grpSpPr>
          <a:xfrm>
            <a:off x="845820" y="3912929"/>
            <a:ext cx="895600" cy="286146"/>
            <a:chOff x="5213574" y="1600199"/>
            <a:chExt cx="895600" cy="286146"/>
          </a:xfrm>
          <a:solidFill>
            <a:schemeClr val="bg2"/>
          </a:solidFill>
        </p:grpSpPr>
        <p:pic>
          <p:nvPicPr>
            <p:cNvPr id="128" name="Graphique 127">
              <a:extLst>
                <a:ext uri="{FF2B5EF4-FFF2-40B4-BE49-F238E27FC236}">
                  <a16:creationId xmlns:a16="http://schemas.microsoft.com/office/drawing/2014/main" id="{3423AA4C-59D7-4207-B98E-034CF1A6117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213574" y="1600200"/>
              <a:ext cx="350932" cy="286145"/>
            </a:xfrm>
            <a:prstGeom prst="rect">
              <a:avLst/>
            </a:prstGeom>
          </p:spPr>
        </p:pic>
        <p:pic>
          <p:nvPicPr>
            <p:cNvPr id="129" name="Graphique 128">
              <a:extLst>
                <a:ext uri="{FF2B5EF4-FFF2-40B4-BE49-F238E27FC236}">
                  <a16:creationId xmlns:a16="http://schemas.microsoft.com/office/drawing/2014/main" id="{FDFC19B2-F6B4-4128-B55C-867E01B0840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10800000">
              <a:off x="5758242" y="1600199"/>
              <a:ext cx="350932" cy="286145"/>
            </a:xfrm>
            <a:prstGeom prst="rect">
              <a:avLst/>
            </a:prstGeom>
          </p:spPr>
        </p:pic>
      </p:grpSp>
      <p:sp>
        <p:nvSpPr>
          <p:cNvPr id="127" name="Freeform 5">
            <a:extLst>
              <a:ext uri="{FF2B5EF4-FFF2-40B4-BE49-F238E27FC236}">
                <a16:creationId xmlns:a16="http://schemas.microsoft.com/office/drawing/2014/main" id="{E6BDCCF8-F7F3-4A7A-A540-B2AAA782EE5F}"/>
              </a:ext>
            </a:extLst>
          </p:cNvPr>
          <p:cNvSpPr>
            <a:spLocks/>
          </p:cNvSpPr>
          <p:nvPr/>
        </p:nvSpPr>
        <p:spPr bwMode="auto">
          <a:xfrm>
            <a:off x="3830031" y="3909062"/>
            <a:ext cx="185710" cy="293881"/>
          </a:xfrm>
          <a:custGeom>
            <a:avLst/>
            <a:gdLst>
              <a:gd name="T0" fmla="*/ 48 w 186"/>
              <a:gd name="T1" fmla="*/ 296 h 296"/>
              <a:gd name="T2" fmla="*/ 2 w 186"/>
              <a:gd name="T3" fmla="*/ 250 h 296"/>
              <a:gd name="T4" fmla="*/ 104 w 186"/>
              <a:gd name="T5" fmla="*/ 149 h 296"/>
              <a:gd name="T6" fmla="*/ 0 w 186"/>
              <a:gd name="T7" fmla="*/ 46 h 296"/>
              <a:gd name="T8" fmla="*/ 46 w 186"/>
              <a:gd name="T9" fmla="*/ 0 h 296"/>
              <a:gd name="T10" fmla="*/ 176 w 186"/>
              <a:gd name="T11" fmla="*/ 130 h 296"/>
              <a:gd name="T12" fmla="*/ 176 w 186"/>
              <a:gd name="T13" fmla="*/ 168 h 296"/>
              <a:gd name="T14" fmla="*/ 48 w 186"/>
              <a:gd name="T15" fmla="*/ 29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6" h="296">
                <a:moveTo>
                  <a:pt x="48" y="296"/>
                </a:moveTo>
                <a:cubicBezTo>
                  <a:pt x="2" y="250"/>
                  <a:pt x="2" y="250"/>
                  <a:pt x="2" y="250"/>
                </a:cubicBezTo>
                <a:cubicBezTo>
                  <a:pt x="104" y="149"/>
                  <a:pt x="104" y="149"/>
                  <a:pt x="104" y="149"/>
                </a:cubicBezTo>
                <a:cubicBezTo>
                  <a:pt x="0" y="46"/>
                  <a:pt x="0" y="46"/>
                  <a:pt x="0" y="46"/>
                </a:cubicBezTo>
                <a:cubicBezTo>
                  <a:pt x="46" y="0"/>
                  <a:pt x="46" y="0"/>
                  <a:pt x="46" y="0"/>
                </a:cubicBezTo>
                <a:cubicBezTo>
                  <a:pt x="176" y="130"/>
                  <a:pt x="176" y="130"/>
                  <a:pt x="176" y="130"/>
                </a:cubicBezTo>
                <a:cubicBezTo>
                  <a:pt x="186" y="141"/>
                  <a:pt x="186" y="157"/>
                  <a:pt x="176" y="168"/>
                </a:cubicBezTo>
                <a:lnTo>
                  <a:pt x="48" y="29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grpSp>
        <p:nvGrpSpPr>
          <p:cNvPr id="131" name="Groupe 130">
            <a:extLst>
              <a:ext uri="{FF2B5EF4-FFF2-40B4-BE49-F238E27FC236}">
                <a16:creationId xmlns:a16="http://schemas.microsoft.com/office/drawing/2014/main" id="{2BD97972-10D0-42A4-A73F-147409E4BC04}"/>
              </a:ext>
            </a:extLst>
          </p:cNvPr>
          <p:cNvGrpSpPr/>
          <p:nvPr/>
        </p:nvGrpSpPr>
        <p:grpSpPr>
          <a:xfrm>
            <a:off x="845820" y="4486422"/>
            <a:ext cx="895600" cy="286146"/>
            <a:chOff x="5213574" y="1600199"/>
            <a:chExt cx="895600" cy="286146"/>
          </a:xfrm>
          <a:solidFill>
            <a:schemeClr val="tx2"/>
          </a:solidFill>
        </p:grpSpPr>
        <p:pic>
          <p:nvPicPr>
            <p:cNvPr id="133" name="Graphique 132">
              <a:extLst>
                <a:ext uri="{FF2B5EF4-FFF2-40B4-BE49-F238E27FC236}">
                  <a16:creationId xmlns:a16="http://schemas.microsoft.com/office/drawing/2014/main" id="{A87BADF7-EB8F-4D45-BBDA-3362A6C7288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213574" y="1600200"/>
              <a:ext cx="350932" cy="286145"/>
            </a:xfrm>
            <a:prstGeom prst="rect">
              <a:avLst/>
            </a:prstGeom>
          </p:spPr>
        </p:pic>
        <p:pic>
          <p:nvPicPr>
            <p:cNvPr id="134" name="Graphique 133">
              <a:extLst>
                <a:ext uri="{FF2B5EF4-FFF2-40B4-BE49-F238E27FC236}">
                  <a16:creationId xmlns:a16="http://schemas.microsoft.com/office/drawing/2014/main" id="{9AAC3E8A-683D-442B-8563-DE0A2EB4B7B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10800000">
              <a:off x="5758242" y="1600199"/>
              <a:ext cx="350932" cy="286145"/>
            </a:xfrm>
            <a:prstGeom prst="rect">
              <a:avLst/>
            </a:prstGeom>
          </p:spPr>
        </p:pic>
      </p:grpSp>
      <p:sp>
        <p:nvSpPr>
          <p:cNvPr id="132" name="Freeform 5">
            <a:extLst>
              <a:ext uri="{FF2B5EF4-FFF2-40B4-BE49-F238E27FC236}">
                <a16:creationId xmlns:a16="http://schemas.microsoft.com/office/drawing/2014/main" id="{04BFEAD5-D97E-48F7-A86A-805BA313BCBC}"/>
              </a:ext>
            </a:extLst>
          </p:cNvPr>
          <p:cNvSpPr>
            <a:spLocks/>
          </p:cNvSpPr>
          <p:nvPr/>
        </p:nvSpPr>
        <p:spPr bwMode="auto">
          <a:xfrm>
            <a:off x="3830031" y="4482555"/>
            <a:ext cx="185710" cy="293881"/>
          </a:xfrm>
          <a:custGeom>
            <a:avLst/>
            <a:gdLst>
              <a:gd name="T0" fmla="*/ 48 w 186"/>
              <a:gd name="T1" fmla="*/ 296 h 296"/>
              <a:gd name="T2" fmla="*/ 2 w 186"/>
              <a:gd name="T3" fmla="*/ 250 h 296"/>
              <a:gd name="T4" fmla="*/ 104 w 186"/>
              <a:gd name="T5" fmla="*/ 149 h 296"/>
              <a:gd name="T6" fmla="*/ 0 w 186"/>
              <a:gd name="T7" fmla="*/ 46 h 296"/>
              <a:gd name="T8" fmla="*/ 46 w 186"/>
              <a:gd name="T9" fmla="*/ 0 h 296"/>
              <a:gd name="T10" fmla="*/ 176 w 186"/>
              <a:gd name="T11" fmla="*/ 130 h 296"/>
              <a:gd name="T12" fmla="*/ 176 w 186"/>
              <a:gd name="T13" fmla="*/ 168 h 296"/>
              <a:gd name="T14" fmla="*/ 48 w 186"/>
              <a:gd name="T15" fmla="*/ 29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6" h="296">
                <a:moveTo>
                  <a:pt x="48" y="296"/>
                </a:moveTo>
                <a:cubicBezTo>
                  <a:pt x="2" y="250"/>
                  <a:pt x="2" y="250"/>
                  <a:pt x="2" y="250"/>
                </a:cubicBezTo>
                <a:cubicBezTo>
                  <a:pt x="104" y="149"/>
                  <a:pt x="104" y="149"/>
                  <a:pt x="104" y="149"/>
                </a:cubicBezTo>
                <a:cubicBezTo>
                  <a:pt x="0" y="46"/>
                  <a:pt x="0" y="46"/>
                  <a:pt x="0" y="46"/>
                </a:cubicBezTo>
                <a:cubicBezTo>
                  <a:pt x="46" y="0"/>
                  <a:pt x="46" y="0"/>
                  <a:pt x="46" y="0"/>
                </a:cubicBezTo>
                <a:cubicBezTo>
                  <a:pt x="176" y="130"/>
                  <a:pt x="176" y="130"/>
                  <a:pt x="176" y="130"/>
                </a:cubicBezTo>
                <a:cubicBezTo>
                  <a:pt x="186" y="141"/>
                  <a:pt x="186" y="157"/>
                  <a:pt x="176" y="168"/>
                </a:cubicBezTo>
                <a:lnTo>
                  <a:pt x="48" y="29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grpSp>
        <p:nvGrpSpPr>
          <p:cNvPr id="136" name="Groupe 135">
            <a:extLst>
              <a:ext uri="{FF2B5EF4-FFF2-40B4-BE49-F238E27FC236}">
                <a16:creationId xmlns:a16="http://schemas.microsoft.com/office/drawing/2014/main" id="{04F6572D-E534-4FD5-95D5-5F58ACB2530B}"/>
              </a:ext>
            </a:extLst>
          </p:cNvPr>
          <p:cNvGrpSpPr/>
          <p:nvPr/>
        </p:nvGrpSpPr>
        <p:grpSpPr>
          <a:xfrm>
            <a:off x="845820" y="5059915"/>
            <a:ext cx="895600" cy="286146"/>
            <a:chOff x="5213574" y="1600199"/>
            <a:chExt cx="895600" cy="286146"/>
          </a:xfrm>
          <a:solidFill>
            <a:schemeClr val="accent1"/>
          </a:solidFill>
        </p:grpSpPr>
        <p:pic>
          <p:nvPicPr>
            <p:cNvPr id="138" name="Graphique 137">
              <a:extLst>
                <a:ext uri="{FF2B5EF4-FFF2-40B4-BE49-F238E27FC236}">
                  <a16:creationId xmlns:a16="http://schemas.microsoft.com/office/drawing/2014/main" id="{4669DF23-82C6-441A-9917-3A55A0046C4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213574" y="1600200"/>
              <a:ext cx="350932" cy="286145"/>
            </a:xfrm>
            <a:prstGeom prst="rect">
              <a:avLst/>
            </a:prstGeom>
          </p:spPr>
        </p:pic>
        <p:pic>
          <p:nvPicPr>
            <p:cNvPr id="139" name="Graphique 138">
              <a:extLst>
                <a:ext uri="{FF2B5EF4-FFF2-40B4-BE49-F238E27FC236}">
                  <a16:creationId xmlns:a16="http://schemas.microsoft.com/office/drawing/2014/main" id="{38D09BA4-14B7-4BF3-A50F-EA54E6FFCD9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10800000">
              <a:off x="5758242" y="1600199"/>
              <a:ext cx="350932" cy="286145"/>
            </a:xfrm>
            <a:prstGeom prst="rect">
              <a:avLst/>
            </a:prstGeom>
          </p:spPr>
        </p:pic>
      </p:grpSp>
      <p:sp>
        <p:nvSpPr>
          <p:cNvPr id="137" name="Freeform 5">
            <a:extLst>
              <a:ext uri="{FF2B5EF4-FFF2-40B4-BE49-F238E27FC236}">
                <a16:creationId xmlns:a16="http://schemas.microsoft.com/office/drawing/2014/main" id="{6BD309BD-DC89-4CB0-9D74-AD36E48EEA3F}"/>
              </a:ext>
            </a:extLst>
          </p:cNvPr>
          <p:cNvSpPr>
            <a:spLocks/>
          </p:cNvSpPr>
          <p:nvPr/>
        </p:nvSpPr>
        <p:spPr bwMode="auto">
          <a:xfrm>
            <a:off x="3830031" y="5056048"/>
            <a:ext cx="185710" cy="293881"/>
          </a:xfrm>
          <a:custGeom>
            <a:avLst/>
            <a:gdLst>
              <a:gd name="T0" fmla="*/ 48 w 186"/>
              <a:gd name="T1" fmla="*/ 296 h 296"/>
              <a:gd name="T2" fmla="*/ 2 w 186"/>
              <a:gd name="T3" fmla="*/ 250 h 296"/>
              <a:gd name="T4" fmla="*/ 104 w 186"/>
              <a:gd name="T5" fmla="*/ 149 h 296"/>
              <a:gd name="T6" fmla="*/ 0 w 186"/>
              <a:gd name="T7" fmla="*/ 46 h 296"/>
              <a:gd name="T8" fmla="*/ 46 w 186"/>
              <a:gd name="T9" fmla="*/ 0 h 296"/>
              <a:gd name="T10" fmla="*/ 176 w 186"/>
              <a:gd name="T11" fmla="*/ 130 h 296"/>
              <a:gd name="T12" fmla="*/ 176 w 186"/>
              <a:gd name="T13" fmla="*/ 168 h 296"/>
              <a:gd name="T14" fmla="*/ 48 w 186"/>
              <a:gd name="T15" fmla="*/ 29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6" h="296">
                <a:moveTo>
                  <a:pt x="48" y="296"/>
                </a:moveTo>
                <a:cubicBezTo>
                  <a:pt x="2" y="250"/>
                  <a:pt x="2" y="250"/>
                  <a:pt x="2" y="250"/>
                </a:cubicBezTo>
                <a:cubicBezTo>
                  <a:pt x="104" y="149"/>
                  <a:pt x="104" y="149"/>
                  <a:pt x="104" y="149"/>
                </a:cubicBezTo>
                <a:cubicBezTo>
                  <a:pt x="0" y="46"/>
                  <a:pt x="0" y="46"/>
                  <a:pt x="0" y="46"/>
                </a:cubicBezTo>
                <a:cubicBezTo>
                  <a:pt x="46" y="0"/>
                  <a:pt x="46" y="0"/>
                  <a:pt x="46" y="0"/>
                </a:cubicBezTo>
                <a:cubicBezTo>
                  <a:pt x="176" y="130"/>
                  <a:pt x="176" y="130"/>
                  <a:pt x="176" y="130"/>
                </a:cubicBezTo>
                <a:cubicBezTo>
                  <a:pt x="186" y="141"/>
                  <a:pt x="186" y="157"/>
                  <a:pt x="176" y="168"/>
                </a:cubicBezTo>
                <a:lnTo>
                  <a:pt x="48" y="29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grpSp>
        <p:nvGrpSpPr>
          <p:cNvPr id="141" name="Groupe 140">
            <a:extLst>
              <a:ext uri="{FF2B5EF4-FFF2-40B4-BE49-F238E27FC236}">
                <a16:creationId xmlns:a16="http://schemas.microsoft.com/office/drawing/2014/main" id="{A760FD4D-DD9A-4C26-9B19-9E7188470232}"/>
              </a:ext>
            </a:extLst>
          </p:cNvPr>
          <p:cNvGrpSpPr/>
          <p:nvPr/>
        </p:nvGrpSpPr>
        <p:grpSpPr>
          <a:xfrm>
            <a:off x="845820" y="5633407"/>
            <a:ext cx="895600" cy="286146"/>
            <a:chOff x="5213574" y="1600199"/>
            <a:chExt cx="895600" cy="286146"/>
          </a:xfrm>
          <a:solidFill>
            <a:schemeClr val="accent2"/>
          </a:solidFill>
        </p:grpSpPr>
        <p:pic>
          <p:nvPicPr>
            <p:cNvPr id="143" name="Graphique 142">
              <a:extLst>
                <a:ext uri="{FF2B5EF4-FFF2-40B4-BE49-F238E27FC236}">
                  <a16:creationId xmlns:a16="http://schemas.microsoft.com/office/drawing/2014/main" id="{4BC25F23-65BE-4479-9DC8-2862BB01AC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213574" y="1600200"/>
              <a:ext cx="350932" cy="286145"/>
            </a:xfrm>
            <a:prstGeom prst="rect">
              <a:avLst/>
            </a:prstGeom>
          </p:spPr>
        </p:pic>
        <p:pic>
          <p:nvPicPr>
            <p:cNvPr id="144" name="Graphique 143">
              <a:extLst>
                <a:ext uri="{FF2B5EF4-FFF2-40B4-BE49-F238E27FC236}">
                  <a16:creationId xmlns:a16="http://schemas.microsoft.com/office/drawing/2014/main" id="{6E6EC459-8B04-47ED-A72F-0E7810B176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10800000">
              <a:off x="5758242" y="1600199"/>
              <a:ext cx="350932" cy="286145"/>
            </a:xfrm>
            <a:prstGeom prst="rect">
              <a:avLst/>
            </a:prstGeom>
          </p:spPr>
        </p:pic>
      </p:grpSp>
      <p:sp>
        <p:nvSpPr>
          <p:cNvPr id="142" name="Freeform 5">
            <a:extLst>
              <a:ext uri="{FF2B5EF4-FFF2-40B4-BE49-F238E27FC236}">
                <a16:creationId xmlns:a16="http://schemas.microsoft.com/office/drawing/2014/main" id="{307422B6-4CC9-42EB-805E-ECE3FF4687AB}"/>
              </a:ext>
            </a:extLst>
          </p:cNvPr>
          <p:cNvSpPr>
            <a:spLocks/>
          </p:cNvSpPr>
          <p:nvPr/>
        </p:nvSpPr>
        <p:spPr bwMode="auto">
          <a:xfrm>
            <a:off x="3830031" y="5629540"/>
            <a:ext cx="185710" cy="293881"/>
          </a:xfrm>
          <a:custGeom>
            <a:avLst/>
            <a:gdLst>
              <a:gd name="T0" fmla="*/ 48 w 186"/>
              <a:gd name="T1" fmla="*/ 296 h 296"/>
              <a:gd name="T2" fmla="*/ 2 w 186"/>
              <a:gd name="T3" fmla="*/ 250 h 296"/>
              <a:gd name="T4" fmla="*/ 104 w 186"/>
              <a:gd name="T5" fmla="*/ 149 h 296"/>
              <a:gd name="T6" fmla="*/ 0 w 186"/>
              <a:gd name="T7" fmla="*/ 46 h 296"/>
              <a:gd name="T8" fmla="*/ 46 w 186"/>
              <a:gd name="T9" fmla="*/ 0 h 296"/>
              <a:gd name="T10" fmla="*/ 176 w 186"/>
              <a:gd name="T11" fmla="*/ 130 h 296"/>
              <a:gd name="T12" fmla="*/ 176 w 186"/>
              <a:gd name="T13" fmla="*/ 168 h 296"/>
              <a:gd name="T14" fmla="*/ 48 w 186"/>
              <a:gd name="T15" fmla="*/ 29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6" h="296">
                <a:moveTo>
                  <a:pt x="48" y="296"/>
                </a:moveTo>
                <a:cubicBezTo>
                  <a:pt x="2" y="250"/>
                  <a:pt x="2" y="250"/>
                  <a:pt x="2" y="250"/>
                </a:cubicBezTo>
                <a:cubicBezTo>
                  <a:pt x="104" y="149"/>
                  <a:pt x="104" y="149"/>
                  <a:pt x="104" y="149"/>
                </a:cubicBezTo>
                <a:cubicBezTo>
                  <a:pt x="0" y="46"/>
                  <a:pt x="0" y="46"/>
                  <a:pt x="0" y="46"/>
                </a:cubicBezTo>
                <a:cubicBezTo>
                  <a:pt x="46" y="0"/>
                  <a:pt x="46" y="0"/>
                  <a:pt x="46" y="0"/>
                </a:cubicBezTo>
                <a:cubicBezTo>
                  <a:pt x="176" y="130"/>
                  <a:pt x="176" y="130"/>
                  <a:pt x="176" y="130"/>
                </a:cubicBezTo>
                <a:cubicBezTo>
                  <a:pt x="186" y="141"/>
                  <a:pt x="186" y="157"/>
                  <a:pt x="176" y="168"/>
                </a:cubicBezTo>
                <a:lnTo>
                  <a:pt x="48" y="29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grpSp>
        <p:nvGrpSpPr>
          <p:cNvPr id="146" name="Groupe 145">
            <a:extLst>
              <a:ext uri="{FF2B5EF4-FFF2-40B4-BE49-F238E27FC236}">
                <a16:creationId xmlns:a16="http://schemas.microsoft.com/office/drawing/2014/main" id="{1D165FEA-3A0E-4F70-AFF5-4BD3E4CBDC01}"/>
              </a:ext>
            </a:extLst>
          </p:cNvPr>
          <p:cNvGrpSpPr/>
          <p:nvPr/>
        </p:nvGrpSpPr>
        <p:grpSpPr>
          <a:xfrm>
            <a:off x="2046315" y="3339436"/>
            <a:ext cx="895600" cy="286146"/>
            <a:chOff x="5213574" y="1600199"/>
            <a:chExt cx="895600" cy="286146"/>
          </a:xfrm>
          <a:solidFill>
            <a:schemeClr val="accent3"/>
          </a:solidFill>
        </p:grpSpPr>
        <p:pic>
          <p:nvPicPr>
            <p:cNvPr id="148" name="Graphique 147">
              <a:extLst>
                <a:ext uri="{FF2B5EF4-FFF2-40B4-BE49-F238E27FC236}">
                  <a16:creationId xmlns:a16="http://schemas.microsoft.com/office/drawing/2014/main" id="{64D906D2-7798-48E7-812E-1AB0BBF4BED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213574" y="1600200"/>
              <a:ext cx="350932" cy="286145"/>
            </a:xfrm>
            <a:prstGeom prst="rect">
              <a:avLst/>
            </a:prstGeom>
          </p:spPr>
        </p:pic>
        <p:pic>
          <p:nvPicPr>
            <p:cNvPr id="149" name="Graphique 148">
              <a:extLst>
                <a:ext uri="{FF2B5EF4-FFF2-40B4-BE49-F238E27FC236}">
                  <a16:creationId xmlns:a16="http://schemas.microsoft.com/office/drawing/2014/main" id="{DA4619AB-8D9A-4953-BE0A-95B395C9C91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10800000">
              <a:off x="5758242" y="1600199"/>
              <a:ext cx="350932" cy="286145"/>
            </a:xfrm>
            <a:prstGeom prst="rect">
              <a:avLst/>
            </a:prstGeom>
          </p:spPr>
        </p:pic>
      </p:grpSp>
      <p:sp>
        <p:nvSpPr>
          <p:cNvPr id="147" name="Freeform 5">
            <a:extLst>
              <a:ext uri="{FF2B5EF4-FFF2-40B4-BE49-F238E27FC236}">
                <a16:creationId xmlns:a16="http://schemas.microsoft.com/office/drawing/2014/main" id="{47969D77-C8DD-4488-B54F-5B195106205A}"/>
              </a:ext>
            </a:extLst>
          </p:cNvPr>
          <p:cNvSpPr>
            <a:spLocks/>
          </p:cNvSpPr>
          <p:nvPr/>
        </p:nvSpPr>
        <p:spPr bwMode="auto">
          <a:xfrm>
            <a:off x="3540143" y="3335569"/>
            <a:ext cx="185710" cy="293881"/>
          </a:xfrm>
          <a:custGeom>
            <a:avLst/>
            <a:gdLst>
              <a:gd name="T0" fmla="*/ 48 w 186"/>
              <a:gd name="T1" fmla="*/ 296 h 296"/>
              <a:gd name="T2" fmla="*/ 2 w 186"/>
              <a:gd name="T3" fmla="*/ 250 h 296"/>
              <a:gd name="T4" fmla="*/ 104 w 186"/>
              <a:gd name="T5" fmla="*/ 149 h 296"/>
              <a:gd name="T6" fmla="*/ 0 w 186"/>
              <a:gd name="T7" fmla="*/ 46 h 296"/>
              <a:gd name="T8" fmla="*/ 46 w 186"/>
              <a:gd name="T9" fmla="*/ 0 h 296"/>
              <a:gd name="T10" fmla="*/ 176 w 186"/>
              <a:gd name="T11" fmla="*/ 130 h 296"/>
              <a:gd name="T12" fmla="*/ 176 w 186"/>
              <a:gd name="T13" fmla="*/ 168 h 296"/>
              <a:gd name="T14" fmla="*/ 48 w 186"/>
              <a:gd name="T15" fmla="*/ 29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6" h="296">
                <a:moveTo>
                  <a:pt x="48" y="296"/>
                </a:moveTo>
                <a:cubicBezTo>
                  <a:pt x="2" y="250"/>
                  <a:pt x="2" y="250"/>
                  <a:pt x="2" y="250"/>
                </a:cubicBezTo>
                <a:cubicBezTo>
                  <a:pt x="104" y="149"/>
                  <a:pt x="104" y="149"/>
                  <a:pt x="104" y="149"/>
                </a:cubicBezTo>
                <a:cubicBezTo>
                  <a:pt x="0" y="46"/>
                  <a:pt x="0" y="46"/>
                  <a:pt x="0" y="46"/>
                </a:cubicBezTo>
                <a:cubicBezTo>
                  <a:pt x="46" y="0"/>
                  <a:pt x="46" y="0"/>
                  <a:pt x="46" y="0"/>
                </a:cubicBezTo>
                <a:cubicBezTo>
                  <a:pt x="176" y="130"/>
                  <a:pt x="176" y="130"/>
                  <a:pt x="176" y="130"/>
                </a:cubicBezTo>
                <a:cubicBezTo>
                  <a:pt x="186" y="141"/>
                  <a:pt x="186" y="157"/>
                  <a:pt x="176" y="168"/>
                </a:cubicBezTo>
                <a:lnTo>
                  <a:pt x="48" y="29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grpSp>
        <p:nvGrpSpPr>
          <p:cNvPr id="151" name="Groupe 150">
            <a:extLst>
              <a:ext uri="{FF2B5EF4-FFF2-40B4-BE49-F238E27FC236}">
                <a16:creationId xmlns:a16="http://schemas.microsoft.com/office/drawing/2014/main" id="{7B688CD7-8A2C-4C80-86B0-5CA1227DB144}"/>
              </a:ext>
            </a:extLst>
          </p:cNvPr>
          <p:cNvGrpSpPr/>
          <p:nvPr/>
        </p:nvGrpSpPr>
        <p:grpSpPr>
          <a:xfrm>
            <a:off x="2046315" y="3912929"/>
            <a:ext cx="895600" cy="286146"/>
            <a:chOff x="5213574" y="1600199"/>
            <a:chExt cx="895600" cy="286146"/>
          </a:xfrm>
          <a:solidFill>
            <a:schemeClr val="accent4"/>
          </a:solidFill>
        </p:grpSpPr>
        <p:pic>
          <p:nvPicPr>
            <p:cNvPr id="153" name="Graphique 152">
              <a:extLst>
                <a:ext uri="{FF2B5EF4-FFF2-40B4-BE49-F238E27FC236}">
                  <a16:creationId xmlns:a16="http://schemas.microsoft.com/office/drawing/2014/main" id="{5D6620D8-5BFE-450B-8414-5303949ED6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5213574" y="1600200"/>
              <a:ext cx="350932" cy="286145"/>
            </a:xfrm>
            <a:prstGeom prst="rect">
              <a:avLst/>
            </a:prstGeom>
          </p:spPr>
        </p:pic>
        <p:pic>
          <p:nvPicPr>
            <p:cNvPr id="154" name="Graphique 153">
              <a:extLst>
                <a:ext uri="{FF2B5EF4-FFF2-40B4-BE49-F238E27FC236}">
                  <a16:creationId xmlns:a16="http://schemas.microsoft.com/office/drawing/2014/main" id="{E818CB10-0F51-4771-8EFA-4199E19DA8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 rot="10800000">
              <a:off x="5758242" y="1600199"/>
              <a:ext cx="350932" cy="286145"/>
            </a:xfrm>
            <a:prstGeom prst="rect">
              <a:avLst/>
            </a:prstGeom>
          </p:spPr>
        </p:pic>
      </p:grpSp>
      <p:sp>
        <p:nvSpPr>
          <p:cNvPr id="152" name="Freeform 5">
            <a:extLst>
              <a:ext uri="{FF2B5EF4-FFF2-40B4-BE49-F238E27FC236}">
                <a16:creationId xmlns:a16="http://schemas.microsoft.com/office/drawing/2014/main" id="{19D540E3-14C8-4DA6-BEB4-133BD12FF1D6}"/>
              </a:ext>
            </a:extLst>
          </p:cNvPr>
          <p:cNvSpPr>
            <a:spLocks/>
          </p:cNvSpPr>
          <p:nvPr/>
        </p:nvSpPr>
        <p:spPr bwMode="auto">
          <a:xfrm>
            <a:off x="3540143" y="3909062"/>
            <a:ext cx="185710" cy="293881"/>
          </a:xfrm>
          <a:custGeom>
            <a:avLst/>
            <a:gdLst>
              <a:gd name="T0" fmla="*/ 48 w 186"/>
              <a:gd name="T1" fmla="*/ 296 h 296"/>
              <a:gd name="T2" fmla="*/ 2 w 186"/>
              <a:gd name="T3" fmla="*/ 250 h 296"/>
              <a:gd name="T4" fmla="*/ 104 w 186"/>
              <a:gd name="T5" fmla="*/ 149 h 296"/>
              <a:gd name="T6" fmla="*/ 0 w 186"/>
              <a:gd name="T7" fmla="*/ 46 h 296"/>
              <a:gd name="T8" fmla="*/ 46 w 186"/>
              <a:gd name="T9" fmla="*/ 0 h 296"/>
              <a:gd name="T10" fmla="*/ 176 w 186"/>
              <a:gd name="T11" fmla="*/ 130 h 296"/>
              <a:gd name="T12" fmla="*/ 176 w 186"/>
              <a:gd name="T13" fmla="*/ 168 h 296"/>
              <a:gd name="T14" fmla="*/ 48 w 186"/>
              <a:gd name="T15" fmla="*/ 29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6" h="296">
                <a:moveTo>
                  <a:pt x="48" y="296"/>
                </a:moveTo>
                <a:cubicBezTo>
                  <a:pt x="2" y="250"/>
                  <a:pt x="2" y="250"/>
                  <a:pt x="2" y="250"/>
                </a:cubicBezTo>
                <a:cubicBezTo>
                  <a:pt x="104" y="149"/>
                  <a:pt x="104" y="149"/>
                  <a:pt x="104" y="149"/>
                </a:cubicBezTo>
                <a:cubicBezTo>
                  <a:pt x="0" y="46"/>
                  <a:pt x="0" y="46"/>
                  <a:pt x="0" y="46"/>
                </a:cubicBezTo>
                <a:cubicBezTo>
                  <a:pt x="46" y="0"/>
                  <a:pt x="46" y="0"/>
                  <a:pt x="46" y="0"/>
                </a:cubicBezTo>
                <a:cubicBezTo>
                  <a:pt x="176" y="130"/>
                  <a:pt x="176" y="130"/>
                  <a:pt x="176" y="130"/>
                </a:cubicBezTo>
                <a:cubicBezTo>
                  <a:pt x="186" y="141"/>
                  <a:pt x="186" y="157"/>
                  <a:pt x="176" y="168"/>
                </a:cubicBezTo>
                <a:lnTo>
                  <a:pt x="48" y="296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grpSp>
        <p:nvGrpSpPr>
          <p:cNvPr id="156" name="Groupe 155">
            <a:extLst>
              <a:ext uri="{FF2B5EF4-FFF2-40B4-BE49-F238E27FC236}">
                <a16:creationId xmlns:a16="http://schemas.microsoft.com/office/drawing/2014/main" id="{8796B32C-0758-4DCB-ADE8-AC89F4D25E5A}"/>
              </a:ext>
            </a:extLst>
          </p:cNvPr>
          <p:cNvGrpSpPr/>
          <p:nvPr/>
        </p:nvGrpSpPr>
        <p:grpSpPr>
          <a:xfrm>
            <a:off x="2046315" y="4486422"/>
            <a:ext cx="895600" cy="286146"/>
            <a:chOff x="5213574" y="1600199"/>
            <a:chExt cx="895600" cy="286146"/>
          </a:xfrm>
          <a:solidFill>
            <a:schemeClr val="accent5"/>
          </a:solidFill>
        </p:grpSpPr>
        <p:pic>
          <p:nvPicPr>
            <p:cNvPr id="158" name="Graphique 157">
              <a:extLst>
                <a:ext uri="{FF2B5EF4-FFF2-40B4-BE49-F238E27FC236}">
                  <a16:creationId xmlns:a16="http://schemas.microsoft.com/office/drawing/2014/main" id="{E372CAB9-D8FC-4D8B-9F6A-54478CA51E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213574" y="1600200"/>
              <a:ext cx="350932" cy="286145"/>
            </a:xfrm>
            <a:prstGeom prst="rect">
              <a:avLst/>
            </a:prstGeom>
          </p:spPr>
        </p:pic>
        <p:pic>
          <p:nvPicPr>
            <p:cNvPr id="159" name="Graphique 158">
              <a:extLst>
                <a:ext uri="{FF2B5EF4-FFF2-40B4-BE49-F238E27FC236}">
                  <a16:creationId xmlns:a16="http://schemas.microsoft.com/office/drawing/2014/main" id="{C87B0644-2775-4C7B-AE23-88AB22FD555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 rot="10800000">
              <a:off x="5758242" y="1600199"/>
              <a:ext cx="350932" cy="286145"/>
            </a:xfrm>
            <a:prstGeom prst="rect">
              <a:avLst/>
            </a:prstGeom>
          </p:spPr>
        </p:pic>
      </p:grpSp>
      <p:sp>
        <p:nvSpPr>
          <p:cNvPr id="157" name="Freeform 5">
            <a:extLst>
              <a:ext uri="{FF2B5EF4-FFF2-40B4-BE49-F238E27FC236}">
                <a16:creationId xmlns:a16="http://schemas.microsoft.com/office/drawing/2014/main" id="{A3762B38-DFF2-47D9-8C3F-676A30808BF5}"/>
              </a:ext>
            </a:extLst>
          </p:cNvPr>
          <p:cNvSpPr>
            <a:spLocks/>
          </p:cNvSpPr>
          <p:nvPr/>
        </p:nvSpPr>
        <p:spPr bwMode="auto">
          <a:xfrm>
            <a:off x="3540143" y="4482555"/>
            <a:ext cx="185710" cy="293881"/>
          </a:xfrm>
          <a:custGeom>
            <a:avLst/>
            <a:gdLst>
              <a:gd name="T0" fmla="*/ 48 w 186"/>
              <a:gd name="T1" fmla="*/ 296 h 296"/>
              <a:gd name="T2" fmla="*/ 2 w 186"/>
              <a:gd name="T3" fmla="*/ 250 h 296"/>
              <a:gd name="T4" fmla="*/ 104 w 186"/>
              <a:gd name="T5" fmla="*/ 149 h 296"/>
              <a:gd name="T6" fmla="*/ 0 w 186"/>
              <a:gd name="T7" fmla="*/ 46 h 296"/>
              <a:gd name="T8" fmla="*/ 46 w 186"/>
              <a:gd name="T9" fmla="*/ 0 h 296"/>
              <a:gd name="T10" fmla="*/ 176 w 186"/>
              <a:gd name="T11" fmla="*/ 130 h 296"/>
              <a:gd name="T12" fmla="*/ 176 w 186"/>
              <a:gd name="T13" fmla="*/ 168 h 296"/>
              <a:gd name="T14" fmla="*/ 48 w 186"/>
              <a:gd name="T15" fmla="*/ 29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6" h="296">
                <a:moveTo>
                  <a:pt x="48" y="296"/>
                </a:moveTo>
                <a:cubicBezTo>
                  <a:pt x="2" y="250"/>
                  <a:pt x="2" y="250"/>
                  <a:pt x="2" y="250"/>
                </a:cubicBezTo>
                <a:cubicBezTo>
                  <a:pt x="104" y="149"/>
                  <a:pt x="104" y="149"/>
                  <a:pt x="104" y="149"/>
                </a:cubicBezTo>
                <a:cubicBezTo>
                  <a:pt x="0" y="46"/>
                  <a:pt x="0" y="46"/>
                  <a:pt x="0" y="46"/>
                </a:cubicBezTo>
                <a:cubicBezTo>
                  <a:pt x="46" y="0"/>
                  <a:pt x="46" y="0"/>
                  <a:pt x="46" y="0"/>
                </a:cubicBezTo>
                <a:cubicBezTo>
                  <a:pt x="176" y="130"/>
                  <a:pt x="176" y="130"/>
                  <a:pt x="176" y="130"/>
                </a:cubicBezTo>
                <a:cubicBezTo>
                  <a:pt x="186" y="141"/>
                  <a:pt x="186" y="157"/>
                  <a:pt x="176" y="168"/>
                </a:cubicBezTo>
                <a:lnTo>
                  <a:pt x="48" y="29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grpSp>
        <p:nvGrpSpPr>
          <p:cNvPr id="161" name="Groupe 160">
            <a:extLst>
              <a:ext uri="{FF2B5EF4-FFF2-40B4-BE49-F238E27FC236}">
                <a16:creationId xmlns:a16="http://schemas.microsoft.com/office/drawing/2014/main" id="{344150E9-EA98-4406-8E59-D7D1561EAE1D}"/>
              </a:ext>
            </a:extLst>
          </p:cNvPr>
          <p:cNvGrpSpPr/>
          <p:nvPr/>
        </p:nvGrpSpPr>
        <p:grpSpPr>
          <a:xfrm>
            <a:off x="2046315" y="5059915"/>
            <a:ext cx="895600" cy="286146"/>
            <a:chOff x="5213574" y="1600199"/>
            <a:chExt cx="895600" cy="286146"/>
          </a:xfrm>
          <a:solidFill>
            <a:schemeClr val="accent6"/>
          </a:solidFill>
        </p:grpSpPr>
        <p:pic>
          <p:nvPicPr>
            <p:cNvPr id="163" name="Graphique 162">
              <a:extLst>
                <a:ext uri="{FF2B5EF4-FFF2-40B4-BE49-F238E27FC236}">
                  <a16:creationId xmlns:a16="http://schemas.microsoft.com/office/drawing/2014/main" id="{36B72196-6EED-4918-B9C0-4FD0814BEF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5213574" y="1600200"/>
              <a:ext cx="350932" cy="286145"/>
            </a:xfrm>
            <a:prstGeom prst="rect">
              <a:avLst/>
            </a:prstGeom>
          </p:spPr>
        </p:pic>
        <p:pic>
          <p:nvPicPr>
            <p:cNvPr id="164" name="Graphique 163">
              <a:extLst>
                <a:ext uri="{FF2B5EF4-FFF2-40B4-BE49-F238E27FC236}">
                  <a16:creationId xmlns:a16="http://schemas.microsoft.com/office/drawing/2014/main" id="{DE0071AA-3627-4B3F-ACEA-084C5807D49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 rot="10800000">
              <a:off x="5758242" y="1600199"/>
              <a:ext cx="350932" cy="286145"/>
            </a:xfrm>
            <a:prstGeom prst="rect">
              <a:avLst/>
            </a:prstGeom>
          </p:spPr>
        </p:pic>
      </p:grpSp>
      <p:sp>
        <p:nvSpPr>
          <p:cNvPr id="162" name="Freeform 5">
            <a:extLst>
              <a:ext uri="{FF2B5EF4-FFF2-40B4-BE49-F238E27FC236}">
                <a16:creationId xmlns:a16="http://schemas.microsoft.com/office/drawing/2014/main" id="{4E5D619D-B01D-43B3-B0AA-DE8EE7C327D3}"/>
              </a:ext>
            </a:extLst>
          </p:cNvPr>
          <p:cNvSpPr>
            <a:spLocks/>
          </p:cNvSpPr>
          <p:nvPr/>
        </p:nvSpPr>
        <p:spPr bwMode="auto">
          <a:xfrm>
            <a:off x="3540143" y="5056048"/>
            <a:ext cx="185710" cy="293881"/>
          </a:xfrm>
          <a:custGeom>
            <a:avLst/>
            <a:gdLst>
              <a:gd name="T0" fmla="*/ 48 w 186"/>
              <a:gd name="T1" fmla="*/ 296 h 296"/>
              <a:gd name="T2" fmla="*/ 2 w 186"/>
              <a:gd name="T3" fmla="*/ 250 h 296"/>
              <a:gd name="T4" fmla="*/ 104 w 186"/>
              <a:gd name="T5" fmla="*/ 149 h 296"/>
              <a:gd name="T6" fmla="*/ 0 w 186"/>
              <a:gd name="T7" fmla="*/ 46 h 296"/>
              <a:gd name="T8" fmla="*/ 46 w 186"/>
              <a:gd name="T9" fmla="*/ 0 h 296"/>
              <a:gd name="T10" fmla="*/ 176 w 186"/>
              <a:gd name="T11" fmla="*/ 130 h 296"/>
              <a:gd name="T12" fmla="*/ 176 w 186"/>
              <a:gd name="T13" fmla="*/ 168 h 296"/>
              <a:gd name="T14" fmla="*/ 48 w 186"/>
              <a:gd name="T15" fmla="*/ 29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6" h="296">
                <a:moveTo>
                  <a:pt x="48" y="296"/>
                </a:moveTo>
                <a:cubicBezTo>
                  <a:pt x="2" y="250"/>
                  <a:pt x="2" y="250"/>
                  <a:pt x="2" y="250"/>
                </a:cubicBezTo>
                <a:cubicBezTo>
                  <a:pt x="104" y="149"/>
                  <a:pt x="104" y="149"/>
                  <a:pt x="104" y="149"/>
                </a:cubicBezTo>
                <a:cubicBezTo>
                  <a:pt x="0" y="46"/>
                  <a:pt x="0" y="46"/>
                  <a:pt x="0" y="46"/>
                </a:cubicBezTo>
                <a:cubicBezTo>
                  <a:pt x="46" y="0"/>
                  <a:pt x="46" y="0"/>
                  <a:pt x="46" y="0"/>
                </a:cubicBezTo>
                <a:cubicBezTo>
                  <a:pt x="176" y="130"/>
                  <a:pt x="176" y="130"/>
                  <a:pt x="176" y="130"/>
                </a:cubicBezTo>
                <a:cubicBezTo>
                  <a:pt x="186" y="141"/>
                  <a:pt x="186" y="157"/>
                  <a:pt x="176" y="168"/>
                </a:cubicBezTo>
                <a:lnTo>
                  <a:pt x="48" y="296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grpSp>
        <p:nvGrpSpPr>
          <p:cNvPr id="166" name="Groupe 165">
            <a:extLst>
              <a:ext uri="{FF2B5EF4-FFF2-40B4-BE49-F238E27FC236}">
                <a16:creationId xmlns:a16="http://schemas.microsoft.com/office/drawing/2014/main" id="{28D08C49-BA67-412A-BF0C-0FB62B777937}"/>
              </a:ext>
            </a:extLst>
          </p:cNvPr>
          <p:cNvGrpSpPr/>
          <p:nvPr/>
        </p:nvGrpSpPr>
        <p:grpSpPr>
          <a:xfrm>
            <a:off x="2046315" y="5633407"/>
            <a:ext cx="895600" cy="286146"/>
            <a:chOff x="5213574" y="1600199"/>
            <a:chExt cx="895600" cy="286146"/>
          </a:xfrm>
          <a:solidFill>
            <a:srgbClr val="F1F1F1"/>
          </a:solidFill>
        </p:grpSpPr>
        <p:pic>
          <p:nvPicPr>
            <p:cNvPr id="168" name="Graphique 167">
              <a:extLst>
                <a:ext uri="{FF2B5EF4-FFF2-40B4-BE49-F238E27FC236}">
                  <a16:creationId xmlns:a16="http://schemas.microsoft.com/office/drawing/2014/main" id="{D1AF6FDB-FB2E-476B-9DF2-A573AF166DF1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5213574" y="1600200"/>
              <a:ext cx="350932" cy="286145"/>
            </a:xfrm>
            <a:prstGeom prst="rect">
              <a:avLst/>
            </a:prstGeom>
          </p:spPr>
        </p:pic>
        <p:pic>
          <p:nvPicPr>
            <p:cNvPr id="169" name="Graphique 168">
              <a:extLst>
                <a:ext uri="{FF2B5EF4-FFF2-40B4-BE49-F238E27FC236}">
                  <a16:creationId xmlns:a16="http://schemas.microsoft.com/office/drawing/2014/main" id="{42AE639D-0747-4446-ADC2-A585EFE9EE05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 rot="10800000">
              <a:off x="5758242" y="1600199"/>
              <a:ext cx="350932" cy="286145"/>
            </a:xfrm>
            <a:prstGeom prst="rect">
              <a:avLst/>
            </a:prstGeom>
          </p:spPr>
        </p:pic>
      </p:grpSp>
      <p:sp>
        <p:nvSpPr>
          <p:cNvPr id="167" name="Freeform 5">
            <a:extLst>
              <a:ext uri="{FF2B5EF4-FFF2-40B4-BE49-F238E27FC236}">
                <a16:creationId xmlns:a16="http://schemas.microsoft.com/office/drawing/2014/main" id="{195D1EDF-4644-4B53-8AE3-2D0DBB700D04}"/>
              </a:ext>
            </a:extLst>
          </p:cNvPr>
          <p:cNvSpPr>
            <a:spLocks/>
          </p:cNvSpPr>
          <p:nvPr/>
        </p:nvSpPr>
        <p:spPr bwMode="auto">
          <a:xfrm>
            <a:off x="3540143" y="5629540"/>
            <a:ext cx="185710" cy="293881"/>
          </a:xfrm>
          <a:custGeom>
            <a:avLst/>
            <a:gdLst>
              <a:gd name="T0" fmla="*/ 48 w 186"/>
              <a:gd name="T1" fmla="*/ 296 h 296"/>
              <a:gd name="T2" fmla="*/ 2 w 186"/>
              <a:gd name="T3" fmla="*/ 250 h 296"/>
              <a:gd name="T4" fmla="*/ 104 w 186"/>
              <a:gd name="T5" fmla="*/ 149 h 296"/>
              <a:gd name="T6" fmla="*/ 0 w 186"/>
              <a:gd name="T7" fmla="*/ 46 h 296"/>
              <a:gd name="T8" fmla="*/ 46 w 186"/>
              <a:gd name="T9" fmla="*/ 0 h 296"/>
              <a:gd name="T10" fmla="*/ 176 w 186"/>
              <a:gd name="T11" fmla="*/ 130 h 296"/>
              <a:gd name="T12" fmla="*/ 176 w 186"/>
              <a:gd name="T13" fmla="*/ 168 h 296"/>
              <a:gd name="T14" fmla="*/ 48 w 186"/>
              <a:gd name="T15" fmla="*/ 296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6" h="296">
                <a:moveTo>
                  <a:pt x="48" y="296"/>
                </a:moveTo>
                <a:cubicBezTo>
                  <a:pt x="2" y="250"/>
                  <a:pt x="2" y="250"/>
                  <a:pt x="2" y="250"/>
                </a:cubicBezTo>
                <a:cubicBezTo>
                  <a:pt x="104" y="149"/>
                  <a:pt x="104" y="149"/>
                  <a:pt x="104" y="149"/>
                </a:cubicBezTo>
                <a:cubicBezTo>
                  <a:pt x="0" y="46"/>
                  <a:pt x="0" y="46"/>
                  <a:pt x="0" y="46"/>
                </a:cubicBezTo>
                <a:cubicBezTo>
                  <a:pt x="46" y="0"/>
                  <a:pt x="46" y="0"/>
                  <a:pt x="46" y="0"/>
                </a:cubicBezTo>
                <a:cubicBezTo>
                  <a:pt x="176" y="130"/>
                  <a:pt x="176" y="130"/>
                  <a:pt x="176" y="130"/>
                </a:cubicBezTo>
                <a:cubicBezTo>
                  <a:pt x="186" y="141"/>
                  <a:pt x="186" y="157"/>
                  <a:pt x="176" y="168"/>
                </a:cubicBezTo>
                <a:lnTo>
                  <a:pt x="48" y="296"/>
                </a:lnTo>
                <a:close/>
              </a:path>
            </a:pathLst>
          </a:custGeom>
          <a:solidFill>
            <a:srgbClr val="F1F1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171" name="Ellipse 170">
            <a:extLst>
              <a:ext uri="{FF2B5EF4-FFF2-40B4-BE49-F238E27FC236}">
                <a16:creationId xmlns:a16="http://schemas.microsoft.com/office/drawing/2014/main" id="{506F07D6-4044-4BED-9459-E3BB569D2D5A}"/>
              </a:ext>
            </a:extLst>
          </p:cNvPr>
          <p:cNvSpPr/>
          <p:nvPr/>
        </p:nvSpPr>
        <p:spPr>
          <a:xfrm>
            <a:off x="5353180" y="4152874"/>
            <a:ext cx="440557" cy="44055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40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800" b="1" dirty="0">
                <a:solidFill>
                  <a:schemeClr val="tx2"/>
                </a:solidFill>
              </a:rPr>
              <a:t>R</a:t>
            </a:r>
            <a:r>
              <a:rPr lang="fr-FR" sz="800" dirty="0">
                <a:solidFill>
                  <a:schemeClr val="tx2"/>
                </a:solidFill>
              </a:rPr>
              <a:t> 252</a:t>
            </a:r>
            <a:br>
              <a:rPr lang="fr-FR" sz="800" dirty="0">
                <a:solidFill>
                  <a:schemeClr val="tx2"/>
                </a:solidFill>
              </a:rPr>
            </a:br>
            <a:r>
              <a:rPr lang="fr-FR" sz="800" b="1" dirty="0">
                <a:solidFill>
                  <a:schemeClr val="tx2"/>
                </a:solidFill>
              </a:rPr>
              <a:t>V</a:t>
            </a:r>
            <a:r>
              <a:rPr lang="fr-FR" sz="800" dirty="0">
                <a:solidFill>
                  <a:schemeClr val="tx2"/>
                </a:solidFill>
              </a:rPr>
              <a:t> 013</a:t>
            </a:r>
          </a:p>
          <a:p>
            <a:r>
              <a:rPr lang="fr-FR" sz="800" b="1" dirty="0">
                <a:solidFill>
                  <a:schemeClr val="tx2"/>
                </a:solidFill>
              </a:rPr>
              <a:t>B</a:t>
            </a:r>
            <a:r>
              <a:rPr lang="fr-FR" sz="800" dirty="0">
                <a:solidFill>
                  <a:schemeClr val="tx2"/>
                </a:solidFill>
              </a:rPr>
              <a:t> 026</a:t>
            </a: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7725A2B3-FEEF-4DD2-819E-8AFACD98A9D2}"/>
              </a:ext>
            </a:extLst>
          </p:cNvPr>
          <p:cNvSpPr/>
          <p:nvPr/>
        </p:nvSpPr>
        <p:spPr>
          <a:xfrm>
            <a:off x="4685280" y="3033200"/>
            <a:ext cx="283570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>
                <a:solidFill>
                  <a:schemeClr val="bg2"/>
                </a:solidFill>
                <a:latin typeface="+mj-lt"/>
              </a:rPr>
              <a:t>Couleurs de la palette</a:t>
            </a:r>
            <a:br>
              <a:rPr lang="fr-FR" dirty="0">
                <a:solidFill>
                  <a:schemeClr val="bg2"/>
                </a:solidFill>
                <a:latin typeface="+mj-lt"/>
              </a:rPr>
            </a:br>
            <a:r>
              <a:rPr lang="fr-FR" dirty="0">
                <a:solidFill>
                  <a:schemeClr val="bg2"/>
                </a:solidFill>
                <a:latin typeface="+mj-lt"/>
              </a:rPr>
              <a:t>polices de textes </a:t>
            </a:r>
            <a:br>
              <a:rPr lang="fr-FR" dirty="0">
                <a:solidFill>
                  <a:schemeClr val="bg2"/>
                </a:solidFill>
                <a:latin typeface="+mj-lt"/>
              </a:rPr>
            </a:br>
            <a:r>
              <a:rPr lang="fr-FR" dirty="0">
                <a:solidFill>
                  <a:schemeClr val="tx2"/>
                </a:solidFill>
              </a:rPr>
              <a:t>0 % de transparence</a:t>
            </a: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501BDE05-7EC4-4393-90BA-1E9F34F3E766}"/>
              </a:ext>
            </a:extLst>
          </p:cNvPr>
          <p:cNvSpPr/>
          <p:nvPr/>
        </p:nvSpPr>
        <p:spPr>
          <a:xfrm>
            <a:off x="8323202" y="3033200"/>
            <a:ext cx="283570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>
                <a:solidFill>
                  <a:schemeClr val="bg2"/>
                </a:solidFill>
                <a:latin typeface="+mj-lt"/>
              </a:rPr>
              <a:t>Couleurs de la palette </a:t>
            </a:r>
            <a:br>
              <a:rPr lang="fr-FR" dirty="0">
                <a:solidFill>
                  <a:schemeClr val="bg2"/>
                </a:solidFill>
                <a:latin typeface="+mj-lt"/>
              </a:rPr>
            </a:br>
            <a:r>
              <a:rPr lang="fr-FR" dirty="0">
                <a:solidFill>
                  <a:schemeClr val="tx2"/>
                </a:solidFill>
              </a:rPr>
              <a:t>70 % de transparence</a:t>
            </a:r>
          </a:p>
          <a:p>
            <a:r>
              <a:rPr lang="fr-FR" dirty="0">
                <a:solidFill>
                  <a:schemeClr val="tx2"/>
                </a:solidFill>
              </a:rPr>
              <a:t>Fond de slide</a:t>
            </a:r>
          </a:p>
        </p:txBody>
      </p:sp>
      <p:sp>
        <p:nvSpPr>
          <p:cNvPr id="259" name="Ellipse 258">
            <a:extLst>
              <a:ext uri="{FF2B5EF4-FFF2-40B4-BE49-F238E27FC236}">
                <a16:creationId xmlns:a16="http://schemas.microsoft.com/office/drawing/2014/main" id="{F1C14832-EC56-4504-9F62-81CBF59B7D10}"/>
              </a:ext>
            </a:extLst>
          </p:cNvPr>
          <p:cNvSpPr/>
          <p:nvPr/>
        </p:nvSpPr>
        <p:spPr>
          <a:xfrm>
            <a:off x="8408690" y="4100567"/>
            <a:ext cx="440557" cy="440557"/>
          </a:xfrm>
          <a:prstGeom prst="ellipse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/>
          </a:p>
        </p:txBody>
      </p:sp>
      <p:sp>
        <p:nvSpPr>
          <p:cNvPr id="260" name="Ellipse 259">
            <a:extLst>
              <a:ext uri="{FF2B5EF4-FFF2-40B4-BE49-F238E27FC236}">
                <a16:creationId xmlns:a16="http://schemas.microsoft.com/office/drawing/2014/main" id="{E72324A2-949F-460B-B0F1-95B47C46B8BE}"/>
              </a:ext>
            </a:extLst>
          </p:cNvPr>
          <p:cNvSpPr/>
          <p:nvPr/>
        </p:nvSpPr>
        <p:spPr>
          <a:xfrm>
            <a:off x="8987689" y="4100567"/>
            <a:ext cx="440557" cy="440557"/>
          </a:xfrm>
          <a:prstGeom prst="ellipse">
            <a:avLst/>
          </a:prstGeom>
          <a:solidFill>
            <a:schemeClr val="bg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/>
          </a:p>
        </p:txBody>
      </p:sp>
      <p:sp>
        <p:nvSpPr>
          <p:cNvPr id="261" name="Ellipse 260">
            <a:extLst>
              <a:ext uri="{FF2B5EF4-FFF2-40B4-BE49-F238E27FC236}">
                <a16:creationId xmlns:a16="http://schemas.microsoft.com/office/drawing/2014/main" id="{F1A08BFD-1CAD-456A-B66C-036B43989508}"/>
              </a:ext>
            </a:extLst>
          </p:cNvPr>
          <p:cNvSpPr/>
          <p:nvPr/>
        </p:nvSpPr>
        <p:spPr>
          <a:xfrm>
            <a:off x="9566687" y="4100567"/>
            <a:ext cx="440557" cy="440557"/>
          </a:xfrm>
          <a:prstGeom prst="ellipse">
            <a:avLst/>
          </a:prstGeom>
          <a:solidFill>
            <a:schemeClr val="tx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/>
          </a:p>
        </p:txBody>
      </p:sp>
      <p:sp>
        <p:nvSpPr>
          <p:cNvPr id="262" name="Ellipse 261">
            <a:extLst>
              <a:ext uri="{FF2B5EF4-FFF2-40B4-BE49-F238E27FC236}">
                <a16:creationId xmlns:a16="http://schemas.microsoft.com/office/drawing/2014/main" id="{9DD15FD9-476B-45D2-9DD5-8E29628DE38F}"/>
              </a:ext>
            </a:extLst>
          </p:cNvPr>
          <p:cNvSpPr/>
          <p:nvPr/>
        </p:nvSpPr>
        <p:spPr>
          <a:xfrm>
            <a:off x="10145686" y="4100567"/>
            <a:ext cx="440557" cy="440557"/>
          </a:xfrm>
          <a:prstGeom prst="ellipse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/>
          </a:p>
        </p:txBody>
      </p:sp>
      <p:sp>
        <p:nvSpPr>
          <p:cNvPr id="263" name="Ellipse 262">
            <a:extLst>
              <a:ext uri="{FF2B5EF4-FFF2-40B4-BE49-F238E27FC236}">
                <a16:creationId xmlns:a16="http://schemas.microsoft.com/office/drawing/2014/main" id="{F4B57620-B0D2-427D-939C-5F7053A03518}"/>
              </a:ext>
            </a:extLst>
          </p:cNvPr>
          <p:cNvSpPr/>
          <p:nvPr/>
        </p:nvSpPr>
        <p:spPr>
          <a:xfrm>
            <a:off x="10724684" y="4100567"/>
            <a:ext cx="440557" cy="440557"/>
          </a:xfrm>
          <a:prstGeom prst="ellipse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/>
          </a:p>
        </p:txBody>
      </p:sp>
      <p:sp>
        <p:nvSpPr>
          <p:cNvPr id="264" name="Ellipse 263">
            <a:extLst>
              <a:ext uri="{FF2B5EF4-FFF2-40B4-BE49-F238E27FC236}">
                <a16:creationId xmlns:a16="http://schemas.microsoft.com/office/drawing/2014/main" id="{756415D8-7137-4CAF-97B9-0E73BB05EAC4}"/>
              </a:ext>
            </a:extLst>
          </p:cNvPr>
          <p:cNvSpPr/>
          <p:nvPr/>
        </p:nvSpPr>
        <p:spPr>
          <a:xfrm>
            <a:off x="8408690" y="4709642"/>
            <a:ext cx="440557" cy="440557"/>
          </a:xfrm>
          <a:prstGeom prst="ellipse">
            <a:avLst/>
          </a:prstGeom>
          <a:solidFill>
            <a:schemeClr val="accent3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/>
          </a:p>
        </p:txBody>
      </p:sp>
      <p:sp>
        <p:nvSpPr>
          <p:cNvPr id="265" name="Ellipse 264">
            <a:extLst>
              <a:ext uri="{FF2B5EF4-FFF2-40B4-BE49-F238E27FC236}">
                <a16:creationId xmlns:a16="http://schemas.microsoft.com/office/drawing/2014/main" id="{18AD41FB-D7D9-4EAF-A902-7B98C8BD9FFA}"/>
              </a:ext>
            </a:extLst>
          </p:cNvPr>
          <p:cNvSpPr/>
          <p:nvPr/>
        </p:nvSpPr>
        <p:spPr>
          <a:xfrm>
            <a:off x="8987688" y="4709642"/>
            <a:ext cx="440557" cy="440557"/>
          </a:xfrm>
          <a:prstGeom prst="ellipse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/>
          </a:p>
        </p:txBody>
      </p:sp>
      <p:sp>
        <p:nvSpPr>
          <p:cNvPr id="266" name="Ellipse 265">
            <a:extLst>
              <a:ext uri="{FF2B5EF4-FFF2-40B4-BE49-F238E27FC236}">
                <a16:creationId xmlns:a16="http://schemas.microsoft.com/office/drawing/2014/main" id="{C775F73C-9CAF-484D-8D64-45B059733DDE}"/>
              </a:ext>
            </a:extLst>
          </p:cNvPr>
          <p:cNvSpPr/>
          <p:nvPr/>
        </p:nvSpPr>
        <p:spPr>
          <a:xfrm>
            <a:off x="9566687" y="4709642"/>
            <a:ext cx="440557" cy="44055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/>
          </a:p>
        </p:txBody>
      </p:sp>
      <p:sp>
        <p:nvSpPr>
          <p:cNvPr id="267" name="Ellipse 266">
            <a:extLst>
              <a:ext uri="{FF2B5EF4-FFF2-40B4-BE49-F238E27FC236}">
                <a16:creationId xmlns:a16="http://schemas.microsoft.com/office/drawing/2014/main" id="{2A7BDC9C-0180-4F49-A709-436C9C143507}"/>
              </a:ext>
            </a:extLst>
          </p:cNvPr>
          <p:cNvSpPr/>
          <p:nvPr/>
        </p:nvSpPr>
        <p:spPr>
          <a:xfrm>
            <a:off x="10145685" y="4709642"/>
            <a:ext cx="440557" cy="440557"/>
          </a:xfrm>
          <a:prstGeom prst="ellipse">
            <a:avLst/>
          </a:prstGeom>
          <a:solidFill>
            <a:schemeClr val="accent6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dirty="0"/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8A6DF92E-C815-4660-A0FA-4E7B6A443888}"/>
              </a:ext>
            </a:extLst>
          </p:cNvPr>
          <p:cNvGrpSpPr/>
          <p:nvPr/>
        </p:nvGrpSpPr>
        <p:grpSpPr>
          <a:xfrm>
            <a:off x="9153162" y="1442114"/>
            <a:ext cx="1708164" cy="1135930"/>
            <a:chOff x="7998304" y="1387620"/>
            <a:chExt cx="1636417" cy="1088218"/>
          </a:xfrm>
        </p:grpSpPr>
        <p:sp>
          <p:nvSpPr>
            <p:cNvPr id="244" name="Rectangle 243">
              <a:extLst>
                <a:ext uri="{FF2B5EF4-FFF2-40B4-BE49-F238E27FC236}">
                  <a16:creationId xmlns:a16="http://schemas.microsoft.com/office/drawing/2014/main" id="{6592B75B-962D-4048-AD39-7DD381FB2036}"/>
                </a:ext>
              </a:extLst>
            </p:cNvPr>
            <p:cNvSpPr/>
            <p:nvPr/>
          </p:nvSpPr>
          <p:spPr>
            <a:xfrm>
              <a:off x="7998304" y="1387620"/>
              <a:ext cx="1636417" cy="1088218"/>
            </a:xfrm>
            <a:prstGeom prst="rect">
              <a:avLst/>
            </a:prstGeom>
            <a:noFill/>
            <a:ln w="3175">
              <a:solidFill>
                <a:srgbClr val="F1F1F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dirty="0"/>
            </a:p>
          </p:txBody>
        </p:sp>
        <p:grpSp>
          <p:nvGrpSpPr>
            <p:cNvPr id="246" name="Group 4">
              <a:extLst>
                <a:ext uri="{FF2B5EF4-FFF2-40B4-BE49-F238E27FC236}">
                  <a16:creationId xmlns:a16="http://schemas.microsoft.com/office/drawing/2014/main" id="{7754E95E-970E-4F28-93E5-553E47A49EB3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8273798" y="1505506"/>
              <a:ext cx="1085429" cy="852446"/>
              <a:chOff x="2652" y="1228"/>
              <a:chExt cx="2376" cy="1866"/>
            </a:xfrm>
          </p:grpSpPr>
          <p:sp>
            <p:nvSpPr>
              <p:cNvPr id="253" name="Freeform 5">
                <a:extLst>
                  <a:ext uri="{FF2B5EF4-FFF2-40B4-BE49-F238E27FC236}">
                    <a16:creationId xmlns:a16="http://schemas.microsoft.com/office/drawing/2014/main" id="{2D54AD43-1776-47EE-AD4B-FAFEA5C2039B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2652" y="1228"/>
                <a:ext cx="2376" cy="1866"/>
              </a:xfrm>
              <a:custGeom>
                <a:avLst/>
                <a:gdLst>
                  <a:gd name="T0" fmla="*/ 2376 w 2376"/>
                  <a:gd name="T1" fmla="*/ 1866 h 1866"/>
                  <a:gd name="T2" fmla="*/ 1699 w 2376"/>
                  <a:gd name="T3" fmla="*/ 0 h 1866"/>
                  <a:gd name="T4" fmla="*/ 0 w 2376"/>
                  <a:gd name="T5" fmla="*/ 1532 h 1866"/>
                  <a:gd name="T6" fmla="*/ 2376 w 2376"/>
                  <a:gd name="T7" fmla="*/ 1866 h 18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76" h="1866">
                    <a:moveTo>
                      <a:pt x="2376" y="1866"/>
                    </a:moveTo>
                    <a:lnTo>
                      <a:pt x="1699" y="0"/>
                    </a:lnTo>
                    <a:lnTo>
                      <a:pt x="0" y="1532"/>
                    </a:lnTo>
                    <a:lnTo>
                      <a:pt x="2376" y="1866"/>
                    </a:ln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54" name="Rectangle 6">
                <a:extLst>
                  <a:ext uri="{FF2B5EF4-FFF2-40B4-BE49-F238E27FC236}">
                    <a16:creationId xmlns:a16="http://schemas.microsoft.com/office/drawing/2014/main" id="{C241A09A-5E17-4F5B-A9BA-1233DBAF350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4207" y="2162"/>
                <a:ext cx="136" cy="466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55" name="Freeform 7">
                <a:extLst>
                  <a:ext uri="{FF2B5EF4-FFF2-40B4-BE49-F238E27FC236}">
                    <a16:creationId xmlns:a16="http://schemas.microsoft.com/office/drawing/2014/main" id="{2059C577-97BE-45A7-89A4-7294A2FD4E9B}"/>
                  </a:ext>
                </a:extLst>
              </p:cNvPr>
              <p:cNvSpPr>
                <a:spLocks noEditPoints="1"/>
              </p:cNvSpPr>
              <p:nvPr userDrawn="1"/>
            </p:nvSpPr>
            <p:spPr bwMode="gray">
              <a:xfrm>
                <a:off x="3704" y="2162"/>
                <a:ext cx="482" cy="466"/>
              </a:xfrm>
              <a:custGeom>
                <a:avLst/>
                <a:gdLst>
                  <a:gd name="T0" fmla="*/ 201 w 482"/>
                  <a:gd name="T1" fmla="*/ 281 h 466"/>
                  <a:gd name="T2" fmla="*/ 241 w 482"/>
                  <a:gd name="T3" fmla="*/ 132 h 466"/>
                  <a:gd name="T4" fmla="*/ 283 w 482"/>
                  <a:gd name="T5" fmla="*/ 281 h 466"/>
                  <a:gd name="T6" fmla="*/ 201 w 482"/>
                  <a:gd name="T7" fmla="*/ 281 h 466"/>
                  <a:gd name="T8" fmla="*/ 167 w 482"/>
                  <a:gd name="T9" fmla="*/ 0 h 466"/>
                  <a:gd name="T10" fmla="*/ 0 w 482"/>
                  <a:gd name="T11" fmla="*/ 466 h 466"/>
                  <a:gd name="T12" fmla="*/ 151 w 482"/>
                  <a:gd name="T13" fmla="*/ 466 h 466"/>
                  <a:gd name="T14" fmla="*/ 176 w 482"/>
                  <a:gd name="T15" fmla="*/ 388 h 466"/>
                  <a:gd name="T16" fmla="*/ 306 w 482"/>
                  <a:gd name="T17" fmla="*/ 388 h 466"/>
                  <a:gd name="T18" fmla="*/ 331 w 482"/>
                  <a:gd name="T19" fmla="*/ 466 h 466"/>
                  <a:gd name="T20" fmla="*/ 482 w 482"/>
                  <a:gd name="T21" fmla="*/ 466 h 466"/>
                  <a:gd name="T22" fmla="*/ 314 w 482"/>
                  <a:gd name="T23" fmla="*/ 0 h 466"/>
                  <a:gd name="T24" fmla="*/ 167 w 482"/>
                  <a:gd name="T25" fmla="*/ 0 h 4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82" h="466">
                    <a:moveTo>
                      <a:pt x="201" y="281"/>
                    </a:moveTo>
                    <a:lnTo>
                      <a:pt x="241" y="132"/>
                    </a:lnTo>
                    <a:lnTo>
                      <a:pt x="283" y="281"/>
                    </a:lnTo>
                    <a:lnTo>
                      <a:pt x="201" y="281"/>
                    </a:lnTo>
                    <a:close/>
                    <a:moveTo>
                      <a:pt x="167" y="0"/>
                    </a:moveTo>
                    <a:lnTo>
                      <a:pt x="0" y="466"/>
                    </a:lnTo>
                    <a:lnTo>
                      <a:pt x="151" y="466"/>
                    </a:lnTo>
                    <a:lnTo>
                      <a:pt x="176" y="388"/>
                    </a:lnTo>
                    <a:lnTo>
                      <a:pt x="306" y="388"/>
                    </a:lnTo>
                    <a:lnTo>
                      <a:pt x="331" y="466"/>
                    </a:lnTo>
                    <a:lnTo>
                      <a:pt x="482" y="466"/>
                    </a:lnTo>
                    <a:lnTo>
                      <a:pt x="314" y="0"/>
                    </a:lnTo>
                    <a:lnTo>
                      <a:pt x="16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56" name="Freeform 8">
                <a:extLst>
                  <a:ext uri="{FF2B5EF4-FFF2-40B4-BE49-F238E27FC236}">
                    <a16:creationId xmlns:a16="http://schemas.microsoft.com/office/drawing/2014/main" id="{FD96403D-CA2C-4FBE-B0DB-5920D28C4C8A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3155" y="2162"/>
                <a:ext cx="528" cy="466"/>
              </a:xfrm>
              <a:custGeom>
                <a:avLst/>
                <a:gdLst>
                  <a:gd name="T0" fmla="*/ 0 w 528"/>
                  <a:gd name="T1" fmla="*/ 466 h 466"/>
                  <a:gd name="T2" fmla="*/ 132 w 528"/>
                  <a:gd name="T3" fmla="*/ 466 h 466"/>
                  <a:gd name="T4" fmla="*/ 132 w 528"/>
                  <a:gd name="T5" fmla="*/ 204 h 466"/>
                  <a:gd name="T6" fmla="*/ 222 w 528"/>
                  <a:gd name="T7" fmla="*/ 395 h 466"/>
                  <a:gd name="T8" fmla="*/ 308 w 528"/>
                  <a:gd name="T9" fmla="*/ 395 h 466"/>
                  <a:gd name="T10" fmla="*/ 396 w 528"/>
                  <a:gd name="T11" fmla="*/ 204 h 466"/>
                  <a:gd name="T12" fmla="*/ 396 w 528"/>
                  <a:gd name="T13" fmla="*/ 466 h 466"/>
                  <a:gd name="T14" fmla="*/ 528 w 528"/>
                  <a:gd name="T15" fmla="*/ 466 h 466"/>
                  <a:gd name="T16" fmla="*/ 528 w 528"/>
                  <a:gd name="T17" fmla="*/ 0 h 466"/>
                  <a:gd name="T18" fmla="*/ 371 w 528"/>
                  <a:gd name="T19" fmla="*/ 0 h 466"/>
                  <a:gd name="T20" fmla="*/ 266 w 528"/>
                  <a:gd name="T21" fmla="*/ 227 h 466"/>
                  <a:gd name="T22" fmla="*/ 161 w 528"/>
                  <a:gd name="T23" fmla="*/ 0 h 466"/>
                  <a:gd name="T24" fmla="*/ 0 w 528"/>
                  <a:gd name="T25" fmla="*/ 0 h 466"/>
                  <a:gd name="T26" fmla="*/ 0 w 528"/>
                  <a:gd name="T27" fmla="*/ 466 h 4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28" h="466">
                    <a:moveTo>
                      <a:pt x="0" y="466"/>
                    </a:moveTo>
                    <a:lnTo>
                      <a:pt x="132" y="466"/>
                    </a:lnTo>
                    <a:lnTo>
                      <a:pt x="132" y="204"/>
                    </a:lnTo>
                    <a:lnTo>
                      <a:pt x="222" y="395"/>
                    </a:lnTo>
                    <a:lnTo>
                      <a:pt x="308" y="395"/>
                    </a:lnTo>
                    <a:lnTo>
                      <a:pt x="396" y="204"/>
                    </a:lnTo>
                    <a:lnTo>
                      <a:pt x="396" y="466"/>
                    </a:lnTo>
                    <a:lnTo>
                      <a:pt x="528" y="466"/>
                    </a:lnTo>
                    <a:lnTo>
                      <a:pt x="528" y="0"/>
                    </a:lnTo>
                    <a:lnTo>
                      <a:pt x="371" y="0"/>
                    </a:lnTo>
                    <a:lnTo>
                      <a:pt x="266" y="227"/>
                    </a:lnTo>
                    <a:lnTo>
                      <a:pt x="161" y="0"/>
                    </a:lnTo>
                    <a:lnTo>
                      <a:pt x="0" y="0"/>
                    </a:lnTo>
                    <a:lnTo>
                      <a:pt x="0" y="46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57" name="Freeform 9">
                <a:extLst>
                  <a:ext uri="{FF2B5EF4-FFF2-40B4-BE49-F238E27FC236}">
                    <a16:creationId xmlns:a16="http://schemas.microsoft.com/office/drawing/2014/main" id="{CC3F31DF-31A2-4FD8-83BE-8BCE6B365095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4393" y="2162"/>
                <a:ext cx="354" cy="466"/>
              </a:xfrm>
              <a:custGeom>
                <a:avLst/>
                <a:gdLst>
                  <a:gd name="T0" fmla="*/ 0 w 354"/>
                  <a:gd name="T1" fmla="*/ 0 h 466"/>
                  <a:gd name="T2" fmla="*/ 0 w 354"/>
                  <a:gd name="T3" fmla="*/ 466 h 466"/>
                  <a:gd name="T4" fmla="*/ 136 w 354"/>
                  <a:gd name="T5" fmla="*/ 466 h 466"/>
                  <a:gd name="T6" fmla="*/ 136 w 354"/>
                  <a:gd name="T7" fmla="*/ 288 h 466"/>
                  <a:gd name="T8" fmla="*/ 306 w 354"/>
                  <a:gd name="T9" fmla="*/ 288 h 466"/>
                  <a:gd name="T10" fmla="*/ 325 w 354"/>
                  <a:gd name="T11" fmla="*/ 176 h 466"/>
                  <a:gd name="T12" fmla="*/ 136 w 354"/>
                  <a:gd name="T13" fmla="*/ 176 h 466"/>
                  <a:gd name="T14" fmla="*/ 136 w 354"/>
                  <a:gd name="T15" fmla="*/ 109 h 466"/>
                  <a:gd name="T16" fmla="*/ 337 w 354"/>
                  <a:gd name="T17" fmla="*/ 109 h 466"/>
                  <a:gd name="T18" fmla="*/ 354 w 354"/>
                  <a:gd name="T19" fmla="*/ 0 h 466"/>
                  <a:gd name="T20" fmla="*/ 0 w 354"/>
                  <a:gd name="T21" fmla="*/ 0 h 4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4" h="466">
                    <a:moveTo>
                      <a:pt x="0" y="0"/>
                    </a:moveTo>
                    <a:lnTo>
                      <a:pt x="0" y="466"/>
                    </a:lnTo>
                    <a:lnTo>
                      <a:pt x="136" y="466"/>
                    </a:lnTo>
                    <a:lnTo>
                      <a:pt x="136" y="288"/>
                    </a:lnTo>
                    <a:lnTo>
                      <a:pt x="306" y="288"/>
                    </a:lnTo>
                    <a:lnTo>
                      <a:pt x="325" y="176"/>
                    </a:lnTo>
                    <a:lnTo>
                      <a:pt x="136" y="176"/>
                    </a:lnTo>
                    <a:lnTo>
                      <a:pt x="136" y="109"/>
                    </a:lnTo>
                    <a:lnTo>
                      <a:pt x="337" y="109"/>
                    </a:lnTo>
                    <a:lnTo>
                      <a:pt x="35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  <p:sp>
        <p:nvSpPr>
          <p:cNvPr id="121" name="Ellipse 120">
            <a:extLst>
              <a:ext uri="{FF2B5EF4-FFF2-40B4-BE49-F238E27FC236}">
                <a16:creationId xmlns:a16="http://schemas.microsoft.com/office/drawing/2014/main" id="{B386A24A-1EA8-4CD3-8DFB-587268DFDAB5}"/>
              </a:ext>
            </a:extLst>
          </p:cNvPr>
          <p:cNvSpPr/>
          <p:nvPr/>
        </p:nvSpPr>
        <p:spPr>
          <a:xfrm>
            <a:off x="4772403" y="4152874"/>
            <a:ext cx="440557" cy="44055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40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800" b="1" dirty="0">
                <a:solidFill>
                  <a:schemeClr val="tx2"/>
                </a:solidFill>
              </a:rPr>
              <a:t>R</a:t>
            </a:r>
            <a:r>
              <a:rPr lang="fr-FR" sz="800" dirty="0">
                <a:solidFill>
                  <a:schemeClr val="tx2"/>
                </a:solidFill>
              </a:rPr>
              <a:t> 000</a:t>
            </a:r>
            <a:br>
              <a:rPr lang="fr-FR" sz="800" dirty="0">
                <a:solidFill>
                  <a:schemeClr val="tx2"/>
                </a:solidFill>
              </a:rPr>
            </a:br>
            <a:r>
              <a:rPr lang="fr-FR" sz="800" b="1" dirty="0">
                <a:solidFill>
                  <a:schemeClr val="tx2"/>
                </a:solidFill>
              </a:rPr>
              <a:t>V</a:t>
            </a:r>
            <a:r>
              <a:rPr lang="fr-FR" sz="800" dirty="0">
                <a:solidFill>
                  <a:schemeClr val="tx2"/>
                </a:solidFill>
              </a:rPr>
              <a:t> 000</a:t>
            </a:r>
          </a:p>
          <a:p>
            <a:r>
              <a:rPr lang="fr-FR" sz="800" b="1" dirty="0">
                <a:solidFill>
                  <a:schemeClr val="tx2"/>
                </a:solidFill>
              </a:rPr>
              <a:t>B</a:t>
            </a:r>
            <a:r>
              <a:rPr lang="fr-FR" sz="800" dirty="0">
                <a:solidFill>
                  <a:schemeClr val="tx2"/>
                </a:solidFill>
              </a:rPr>
              <a:t> 000</a:t>
            </a:r>
          </a:p>
        </p:txBody>
      </p:sp>
      <p:sp>
        <p:nvSpPr>
          <p:cNvPr id="123" name="Ellipse 122">
            <a:extLst>
              <a:ext uri="{FF2B5EF4-FFF2-40B4-BE49-F238E27FC236}">
                <a16:creationId xmlns:a16="http://schemas.microsoft.com/office/drawing/2014/main" id="{6F7154B2-0C20-44D4-8CE2-4DACE354031C}"/>
              </a:ext>
            </a:extLst>
          </p:cNvPr>
          <p:cNvSpPr/>
          <p:nvPr/>
        </p:nvSpPr>
        <p:spPr>
          <a:xfrm>
            <a:off x="5931402" y="4152874"/>
            <a:ext cx="440557" cy="44055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40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800" b="1" dirty="0">
                <a:solidFill>
                  <a:schemeClr val="tx2"/>
                </a:solidFill>
              </a:rPr>
              <a:t>R</a:t>
            </a:r>
            <a:r>
              <a:rPr lang="fr-FR" sz="800" dirty="0">
                <a:solidFill>
                  <a:schemeClr val="tx2"/>
                </a:solidFill>
              </a:rPr>
              <a:t> 049</a:t>
            </a:r>
            <a:br>
              <a:rPr lang="fr-FR" sz="800" dirty="0">
                <a:solidFill>
                  <a:schemeClr val="tx2"/>
                </a:solidFill>
              </a:rPr>
            </a:br>
            <a:r>
              <a:rPr lang="fr-FR" sz="800" b="1" dirty="0">
                <a:solidFill>
                  <a:schemeClr val="tx2"/>
                </a:solidFill>
              </a:rPr>
              <a:t>V</a:t>
            </a:r>
            <a:r>
              <a:rPr lang="fr-FR" sz="800" dirty="0">
                <a:solidFill>
                  <a:schemeClr val="tx2"/>
                </a:solidFill>
              </a:rPr>
              <a:t> 064</a:t>
            </a:r>
          </a:p>
          <a:p>
            <a:r>
              <a:rPr lang="fr-FR" sz="800" b="1" dirty="0">
                <a:solidFill>
                  <a:schemeClr val="tx2"/>
                </a:solidFill>
              </a:rPr>
              <a:t>B</a:t>
            </a:r>
            <a:r>
              <a:rPr lang="fr-FR" sz="800" dirty="0">
                <a:solidFill>
                  <a:schemeClr val="tx2"/>
                </a:solidFill>
              </a:rPr>
              <a:t> 081</a:t>
            </a:r>
          </a:p>
        </p:txBody>
      </p:sp>
      <p:sp>
        <p:nvSpPr>
          <p:cNvPr id="125" name="Ellipse 124">
            <a:extLst>
              <a:ext uri="{FF2B5EF4-FFF2-40B4-BE49-F238E27FC236}">
                <a16:creationId xmlns:a16="http://schemas.microsoft.com/office/drawing/2014/main" id="{2A339183-17BC-4F24-96E2-3B934711B2E0}"/>
              </a:ext>
            </a:extLst>
          </p:cNvPr>
          <p:cNvSpPr/>
          <p:nvPr/>
        </p:nvSpPr>
        <p:spPr>
          <a:xfrm>
            <a:off x="6511175" y="4152874"/>
            <a:ext cx="440557" cy="44055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40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800" b="1" dirty="0">
                <a:solidFill>
                  <a:schemeClr val="tx2"/>
                </a:solidFill>
              </a:rPr>
              <a:t>R</a:t>
            </a:r>
            <a:r>
              <a:rPr lang="fr-FR" sz="800" dirty="0">
                <a:solidFill>
                  <a:schemeClr val="tx2"/>
                </a:solidFill>
              </a:rPr>
              <a:t> 087</a:t>
            </a:r>
            <a:br>
              <a:rPr lang="fr-FR" sz="800" dirty="0">
                <a:solidFill>
                  <a:schemeClr val="tx2"/>
                </a:solidFill>
              </a:rPr>
            </a:br>
            <a:r>
              <a:rPr lang="fr-FR" sz="800" b="1" dirty="0">
                <a:solidFill>
                  <a:schemeClr val="tx2"/>
                </a:solidFill>
              </a:rPr>
              <a:t>V</a:t>
            </a:r>
            <a:r>
              <a:rPr lang="fr-FR" sz="800" dirty="0">
                <a:solidFill>
                  <a:schemeClr val="tx2"/>
                </a:solidFill>
              </a:rPr>
              <a:t> 072</a:t>
            </a:r>
          </a:p>
          <a:p>
            <a:r>
              <a:rPr lang="fr-FR" sz="800" b="1" dirty="0">
                <a:solidFill>
                  <a:schemeClr val="tx2"/>
                </a:solidFill>
              </a:rPr>
              <a:t>B</a:t>
            </a:r>
            <a:r>
              <a:rPr lang="fr-FR" sz="800" dirty="0">
                <a:solidFill>
                  <a:schemeClr val="tx2"/>
                </a:solidFill>
              </a:rPr>
              <a:t> 085</a:t>
            </a:r>
          </a:p>
        </p:txBody>
      </p:sp>
      <p:sp>
        <p:nvSpPr>
          <p:cNvPr id="135" name="Ellipse 134">
            <a:extLst>
              <a:ext uri="{FF2B5EF4-FFF2-40B4-BE49-F238E27FC236}">
                <a16:creationId xmlns:a16="http://schemas.microsoft.com/office/drawing/2014/main" id="{0F7C6264-2880-44A4-8792-0A600C3A064B}"/>
              </a:ext>
            </a:extLst>
          </p:cNvPr>
          <p:cNvSpPr/>
          <p:nvPr/>
        </p:nvSpPr>
        <p:spPr>
          <a:xfrm>
            <a:off x="7090175" y="4152874"/>
            <a:ext cx="440557" cy="44055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40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800" b="1" dirty="0">
                <a:solidFill>
                  <a:schemeClr val="tx2"/>
                </a:solidFill>
              </a:rPr>
              <a:t>R</a:t>
            </a:r>
            <a:r>
              <a:rPr lang="fr-FR" sz="800" dirty="0">
                <a:solidFill>
                  <a:schemeClr val="tx2"/>
                </a:solidFill>
              </a:rPr>
              <a:t> 172</a:t>
            </a:r>
            <a:br>
              <a:rPr lang="fr-FR" sz="800" dirty="0">
                <a:solidFill>
                  <a:schemeClr val="tx2"/>
                </a:solidFill>
              </a:rPr>
            </a:br>
            <a:r>
              <a:rPr lang="fr-FR" sz="800" b="1" dirty="0">
                <a:solidFill>
                  <a:schemeClr val="tx2"/>
                </a:solidFill>
              </a:rPr>
              <a:t>V</a:t>
            </a:r>
            <a:r>
              <a:rPr lang="fr-FR" sz="800" dirty="0">
                <a:solidFill>
                  <a:schemeClr val="tx2"/>
                </a:solidFill>
              </a:rPr>
              <a:t> 184</a:t>
            </a:r>
          </a:p>
          <a:p>
            <a:r>
              <a:rPr lang="fr-FR" sz="800" b="1" dirty="0">
                <a:solidFill>
                  <a:schemeClr val="tx2"/>
                </a:solidFill>
              </a:rPr>
              <a:t>B</a:t>
            </a:r>
            <a:r>
              <a:rPr lang="fr-FR" sz="800" dirty="0">
                <a:solidFill>
                  <a:schemeClr val="tx2"/>
                </a:solidFill>
              </a:rPr>
              <a:t> 210</a:t>
            </a:r>
          </a:p>
        </p:txBody>
      </p:sp>
      <p:sp>
        <p:nvSpPr>
          <p:cNvPr id="160" name="Ellipse 159">
            <a:extLst>
              <a:ext uri="{FF2B5EF4-FFF2-40B4-BE49-F238E27FC236}">
                <a16:creationId xmlns:a16="http://schemas.microsoft.com/office/drawing/2014/main" id="{71319056-ACA9-4907-940E-5FC310D1DCC0}"/>
              </a:ext>
            </a:extLst>
          </p:cNvPr>
          <p:cNvSpPr/>
          <p:nvPr/>
        </p:nvSpPr>
        <p:spPr>
          <a:xfrm>
            <a:off x="5353180" y="5122389"/>
            <a:ext cx="440557" cy="44055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40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800" b="1" dirty="0">
                <a:solidFill>
                  <a:schemeClr val="tx2"/>
                </a:solidFill>
              </a:rPr>
              <a:t>R</a:t>
            </a:r>
            <a:r>
              <a:rPr lang="fr-FR" sz="800" dirty="0">
                <a:solidFill>
                  <a:schemeClr val="tx2"/>
                </a:solidFill>
              </a:rPr>
              <a:t> 145</a:t>
            </a:r>
            <a:br>
              <a:rPr lang="fr-FR" sz="800" dirty="0">
                <a:solidFill>
                  <a:schemeClr val="tx2"/>
                </a:solidFill>
              </a:rPr>
            </a:br>
            <a:r>
              <a:rPr lang="fr-FR" sz="800" b="1" dirty="0">
                <a:solidFill>
                  <a:schemeClr val="tx2"/>
                </a:solidFill>
              </a:rPr>
              <a:t>V</a:t>
            </a:r>
            <a:r>
              <a:rPr lang="fr-FR" sz="800" dirty="0">
                <a:solidFill>
                  <a:schemeClr val="tx2"/>
                </a:solidFill>
              </a:rPr>
              <a:t> 108</a:t>
            </a:r>
          </a:p>
          <a:p>
            <a:r>
              <a:rPr lang="fr-FR" sz="800" b="1" dirty="0">
                <a:solidFill>
                  <a:schemeClr val="tx2"/>
                </a:solidFill>
              </a:rPr>
              <a:t>B</a:t>
            </a:r>
            <a:r>
              <a:rPr lang="fr-FR" sz="800" dirty="0">
                <a:solidFill>
                  <a:schemeClr val="tx2"/>
                </a:solidFill>
              </a:rPr>
              <a:t> 077</a:t>
            </a:r>
          </a:p>
        </p:txBody>
      </p:sp>
      <p:sp>
        <p:nvSpPr>
          <p:cNvPr id="165" name="Ellipse 164">
            <a:extLst>
              <a:ext uri="{FF2B5EF4-FFF2-40B4-BE49-F238E27FC236}">
                <a16:creationId xmlns:a16="http://schemas.microsoft.com/office/drawing/2014/main" id="{0A76FD3E-F0E2-42A5-AE96-350ED0DBE30A}"/>
              </a:ext>
            </a:extLst>
          </p:cNvPr>
          <p:cNvSpPr/>
          <p:nvPr/>
        </p:nvSpPr>
        <p:spPr>
          <a:xfrm>
            <a:off x="4772403" y="5122389"/>
            <a:ext cx="440557" cy="44055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40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800" b="1" dirty="0">
                <a:solidFill>
                  <a:schemeClr val="tx2"/>
                </a:solidFill>
              </a:rPr>
              <a:t>R</a:t>
            </a:r>
            <a:r>
              <a:rPr lang="fr-FR" sz="800" dirty="0">
                <a:solidFill>
                  <a:schemeClr val="tx2"/>
                </a:solidFill>
              </a:rPr>
              <a:t> 184</a:t>
            </a:r>
            <a:br>
              <a:rPr lang="fr-FR" sz="800" dirty="0">
                <a:solidFill>
                  <a:schemeClr val="tx2"/>
                </a:solidFill>
              </a:rPr>
            </a:br>
            <a:r>
              <a:rPr lang="fr-FR" sz="800" b="1" dirty="0">
                <a:solidFill>
                  <a:schemeClr val="tx2"/>
                </a:solidFill>
              </a:rPr>
              <a:t>V</a:t>
            </a:r>
            <a:r>
              <a:rPr lang="fr-FR" sz="800" dirty="0">
                <a:solidFill>
                  <a:schemeClr val="tx2"/>
                </a:solidFill>
              </a:rPr>
              <a:t> 067</a:t>
            </a:r>
          </a:p>
          <a:p>
            <a:r>
              <a:rPr lang="fr-FR" sz="800" b="1" dirty="0">
                <a:solidFill>
                  <a:schemeClr val="tx2"/>
                </a:solidFill>
              </a:rPr>
              <a:t>B</a:t>
            </a:r>
            <a:r>
              <a:rPr lang="fr-FR" sz="800" dirty="0">
                <a:solidFill>
                  <a:schemeClr val="tx2"/>
                </a:solidFill>
              </a:rPr>
              <a:t> 068</a:t>
            </a:r>
          </a:p>
        </p:txBody>
      </p:sp>
      <p:sp>
        <p:nvSpPr>
          <p:cNvPr id="179" name="Ellipse 178">
            <a:extLst>
              <a:ext uri="{FF2B5EF4-FFF2-40B4-BE49-F238E27FC236}">
                <a16:creationId xmlns:a16="http://schemas.microsoft.com/office/drawing/2014/main" id="{2B81F536-D71A-48EA-9D37-AD180A1A512D}"/>
              </a:ext>
            </a:extLst>
          </p:cNvPr>
          <p:cNvSpPr/>
          <p:nvPr/>
        </p:nvSpPr>
        <p:spPr>
          <a:xfrm>
            <a:off x="5931402" y="5122389"/>
            <a:ext cx="440557" cy="44055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40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800" b="1" dirty="0">
                <a:solidFill>
                  <a:schemeClr val="tx2"/>
                </a:solidFill>
              </a:rPr>
              <a:t>R</a:t>
            </a:r>
            <a:r>
              <a:rPr lang="fr-FR" sz="800" dirty="0">
                <a:solidFill>
                  <a:schemeClr val="tx2"/>
                </a:solidFill>
              </a:rPr>
              <a:t> 196</a:t>
            </a:r>
            <a:br>
              <a:rPr lang="fr-FR" sz="800" dirty="0">
                <a:solidFill>
                  <a:schemeClr val="tx2"/>
                </a:solidFill>
              </a:rPr>
            </a:br>
            <a:r>
              <a:rPr lang="fr-FR" sz="800" b="1" dirty="0">
                <a:solidFill>
                  <a:schemeClr val="tx2"/>
                </a:solidFill>
              </a:rPr>
              <a:t>V</a:t>
            </a:r>
            <a:r>
              <a:rPr lang="fr-FR" sz="800" dirty="0">
                <a:solidFill>
                  <a:schemeClr val="tx2"/>
                </a:solidFill>
              </a:rPr>
              <a:t> 159</a:t>
            </a:r>
          </a:p>
          <a:p>
            <a:r>
              <a:rPr lang="fr-FR" sz="800" b="1" dirty="0">
                <a:solidFill>
                  <a:schemeClr val="tx2"/>
                </a:solidFill>
              </a:rPr>
              <a:t>B</a:t>
            </a:r>
            <a:r>
              <a:rPr lang="fr-FR" sz="800" dirty="0">
                <a:solidFill>
                  <a:schemeClr val="tx2"/>
                </a:solidFill>
              </a:rPr>
              <a:t> 187</a:t>
            </a:r>
          </a:p>
        </p:txBody>
      </p:sp>
      <p:sp>
        <p:nvSpPr>
          <p:cNvPr id="180" name="Ellipse 179">
            <a:extLst>
              <a:ext uri="{FF2B5EF4-FFF2-40B4-BE49-F238E27FC236}">
                <a16:creationId xmlns:a16="http://schemas.microsoft.com/office/drawing/2014/main" id="{FF74BB79-0A26-48AA-A2E8-3D31DB453BB9}"/>
              </a:ext>
            </a:extLst>
          </p:cNvPr>
          <p:cNvSpPr/>
          <p:nvPr/>
        </p:nvSpPr>
        <p:spPr>
          <a:xfrm>
            <a:off x="6511175" y="5122389"/>
            <a:ext cx="440557" cy="440557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40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800" b="1" dirty="0">
                <a:solidFill>
                  <a:schemeClr val="tx2"/>
                </a:solidFill>
              </a:rPr>
              <a:t>R</a:t>
            </a:r>
            <a:r>
              <a:rPr lang="fr-FR" sz="800" dirty="0">
                <a:solidFill>
                  <a:schemeClr val="tx2"/>
                </a:solidFill>
              </a:rPr>
              <a:t> 129</a:t>
            </a:r>
            <a:br>
              <a:rPr lang="fr-FR" sz="800" dirty="0">
                <a:solidFill>
                  <a:schemeClr val="tx2"/>
                </a:solidFill>
              </a:rPr>
            </a:br>
            <a:r>
              <a:rPr lang="fr-FR" sz="800" b="1" dirty="0">
                <a:solidFill>
                  <a:schemeClr val="tx2"/>
                </a:solidFill>
              </a:rPr>
              <a:t>V</a:t>
            </a:r>
            <a:r>
              <a:rPr lang="fr-FR" sz="800" dirty="0">
                <a:solidFill>
                  <a:schemeClr val="tx2"/>
                </a:solidFill>
              </a:rPr>
              <a:t> 137</a:t>
            </a:r>
          </a:p>
          <a:p>
            <a:r>
              <a:rPr lang="fr-FR" sz="800" b="1" dirty="0">
                <a:solidFill>
                  <a:schemeClr val="tx2"/>
                </a:solidFill>
              </a:rPr>
              <a:t>B</a:t>
            </a:r>
            <a:r>
              <a:rPr lang="fr-FR" sz="800" dirty="0">
                <a:solidFill>
                  <a:schemeClr val="tx2"/>
                </a:solidFill>
              </a:rPr>
              <a:t> 133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BF0CD72F-FEE9-434D-9991-74535A5DDC70}"/>
              </a:ext>
            </a:extLst>
          </p:cNvPr>
          <p:cNvSpPr/>
          <p:nvPr/>
        </p:nvSpPr>
        <p:spPr>
          <a:xfrm>
            <a:off x="4685280" y="1694204"/>
            <a:ext cx="315752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>
                <a:solidFill>
                  <a:schemeClr val="bg2"/>
                </a:solidFill>
                <a:latin typeface="+mj-lt"/>
              </a:rPr>
              <a:t>Connecteurs à utiliser pour les organigrammes</a:t>
            </a:r>
            <a:endParaRPr lang="fr-FR" dirty="0">
              <a:solidFill>
                <a:schemeClr val="tx2"/>
              </a:solidFill>
            </a:endParaRP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5662A27E-C7B9-4656-BB5E-89A94F17C4E6}"/>
              </a:ext>
            </a:extLst>
          </p:cNvPr>
          <p:cNvCxnSpPr/>
          <p:nvPr/>
        </p:nvCxnSpPr>
        <p:spPr>
          <a:xfrm>
            <a:off x="4450080" y="1333045"/>
            <a:ext cx="0" cy="1368648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737CF294-E1CA-464D-A13E-4B9FD2023585}"/>
              </a:ext>
            </a:extLst>
          </p:cNvPr>
          <p:cNvCxnSpPr/>
          <p:nvPr/>
        </p:nvCxnSpPr>
        <p:spPr>
          <a:xfrm>
            <a:off x="4450080" y="2017369"/>
            <a:ext cx="16764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2" name="Rectangle 181">
            <a:extLst>
              <a:ext uri="{FF2B5EF4-FFF2-40B4-BE49-F238E27FC236}">
                <a16:creationId xmlns:a16="http://schemas.microsoft.com/office/drawing/2014/main" id="{68D0EB54-E08F-4C6A-97B2-272702E8240D}"/>
              </a:ext>
            </a:extLst>
          </p:cNvPr>
          <p:cNvSpPr/>
          <p:nvPr/>
        </p:nvSpPr>
        <p:spPr>
          <a:xfrm>
            <a:off x="8323202" y="1832703"/>
            <a:ext cx="31575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>
                <a:solidFill>
                  <a:schemeClr val="bg2"/>
                </a:solidFill>
                <a:latin typeface="+mj-lt"/>
              </a:rPr>
              <a:t>Logo</a:t>
            </a:r>
            <a:endParaRPr lang="fr-FR" dirty="0">
              <a:solidFill>
                <a:schemeClr val="tx2"/>
              </a:solidFill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7B3D1AC7-B941-4D94-B04F-DCE502AD700C}"/>
              </a:ext>
            </a:extLst>
          </p:cNvPr>
          <p:cNvSpPr txBox="1"/>
          <p:nvPr/>
        </p:nvSpPr>
        <p:spPr>
          <a:xfrm>
            <a:off x="5270331" y="4280819"/>
            <a:ext cx="606255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700" b="1" dirty="0">
                <a:solidFill>
                  <a:schemeClr val="bg1"/>
                </a:solidFill>
              </a:rPr>
              <a:t>#FC0D1A</a:t>
            </a:r>
          </a:p>
        </p:txBody>
      </p:sp>
    </p:spTree>
    <p:extLst>
      <p:ext uri="{BB962C8B-B14F-4D97-AF65-F5344CB8AC3E}">
        <p14:creationId xmlns:p14="http://schemas.microsoft.com/office/powerpoint/2010/main" val="2870925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EE47D8A5-FBAE-4C7C-8B1E-700954592E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8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EE47D8A5-FBAE-4C7C-8B1E-700954592E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8">
            <a:extLst>
              <a:ext uri="{FF2B5EF4-FFF2-40B4-BE49-F238E27FC236}">
                <a16:creationId xmlns:a16="http://schemas.microsoft.com/office/drawing/2014/main" id="{2B6003F0-4EB1-4105-A408-067571B40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Toolbox</a:t>
            </a:r>
            <a:endParaRPr lang="fr-FR" dirty="0"/>
          </a:p>
        </p:txBody>
      </p:sp>
      <p:sp>
        <p:nvSpPr>
          <p:cNvPr id="75" name="Espace réservé de la date 74">
            <a:extLst>
              <a:ext uri="{FF2B5EF4-FFF2-40B4-BE49-F238E27FC236}">
                <a16:creationId xmlns:a16="http://schemas.microsoft.com/office/drawing/2014/main" id="{6C7C2B0D-57CB-4C3E-96CE-70FB09DD77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0BE95-6B2E-4B30-8637-17CEDB70CCF7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77" name="Espace réservé du pied de page 76">
            <a:extLst>
              <a:ext uri="{FF2B5EF4-FFF2-40B4-BE49-F238E27FC236}">
                <a16:creationId xmlns:a16="http://schemas.microsoft.com/office/drawing/2014/main" id="{6BC4CC98-6913-497F-A126-9D0525CAE9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D163307-54D9-4563-AB2E-BBB6B8735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47</a:t>
            </a:fld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DC8B859-1400-468A-8120-FEF70DD86C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6.1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E8598C9F-CEE5-4CFA-A7B3-349B38C6E9CD}"/>
              </a:ext>
            </a:extLst>
          </p:cNvPr>
          <p:cNvSpPr/>
          <p:nvPr/>
        </p:nvSpPr>
        <p:spPr>
          <a:xfrm>
            <a:off x="406401" y="1339200"/>
            <a:ext cx="1138917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>
                <a:solidFill>
                  <a:schemeClr val="bg2"/>
                </a:solidFill>
                <a:latin typeface="+mj-lt"/>
              </a:rPr>
              <a:t>Couleurs fond d‘illustration : </a:t>
            </a:r>
            <a:r>
              <a:rPr lang="fr-FR" dirty="0">
                <a:solidFill>
                  <a:schemeClr val="tx2"/>
                </a:solidFill>
              </a:rPr>
              <a:t>utiliser les couleurs de la palette. 70 % de transparence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8B0D29FE-5809-41B2-9945-5E9D6693EF72}"/>
              </a:ext>
            </a:extLst>
          </p:cNvPr>
          <p:cNvSpPr/>
          <p:nvPr/>
        </p:nvSpPr>
        <p:spPr>
          <a:xfrm>
            <a:off x="12287374" y="0"/>
            <a:ext cx="1885826" cy="784830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lang="fr-FR" sz="1000" dirty="0">
                <a:solidFill>
                  <a:schemeClr val="tx1"/>
                </a:solidFill>
                <a:latin typeface="+mj-lt"/>
              </a:rPr>
              <a:t>Modifier Couleur de fond :</a:t>
            </a:r>
          </a:p>
          <a:p>
            <a:pPr marL="171450" indent="-171450">
              <a:spcBef>
                <a:spcPts val="600"/>
              </a:spcBef>
              <a:buBlip>
                <a:blip r:embed="rId6"/>
              </a:buBlip>
            </a:pPr>
            <a:r>
              <a:rPr lang="fr-FR" sz="1000" dirty="0">
                <a:solidFill>
                  <a:schemeClr val="tx1"/>
                </a:solidFill>
              </a:rPr>
              <a:t>Faire clic droit, Format de la forme et changer le remplissage uni</a:t>
            </a:r>
          </a:p>
        </p:txBody>
      </p:sp>
      <p:grpSp>
        <p:nvGrpSpPr>
          <p:cNvPr id="470" name="Groupe 469">
            <a:extLst>
              <a:ext uri="{FF2B5EF4-FFF2-40B4-BE49-F238E27FC236}">
                <a16:creationId xmlns:a16="http://schemas.microsoft.com/office/drawing/2014/main" id="{D89A5545-4C31-40C8-A49F-4068EAD87CE3}"/>
              </a:ext>
            </a:extLst>
          </p:cNvPr>
          <p:cNvGrpSpPr/>
          <p:nvPr/>
        </p:nvGrpSpPr>
        <p:grpSpPr>
          <a:xfrm>
            <a:off x="400738" y="1960229"/>
            <a:ext cx="865004" cy="865444"/>
            <a:chOff x="302418" y="1988559"/>
            <a:chExt cx="648743" cy="649073"/>
          </a:xfrm>
        </p:grpSpPr>
        <p:sp>
          <p:nvSpPr>
            <p:cNvPr id="833" name="Oval 5">
              <a:extLst>
                <a:ext uri="{FF2B5EF4-FFF2-40B4-BE49-F238E27FC236}">
                  <a16:creationId xmlns:a16="http://schemas.microsoft.com/office/drawing/2014/main" id="{E227153C-062D-42F2-B6A1-E7D7440555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418" y="1988559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834" name="Group 10">
              <a:extLst>
                <a:ext uri="{FF2B5EF4-FFF2-40B4-BE49-F238E27FC236}">
                  <a16:creationId xmlns:a16="http://schemas.microsoft.com/office/drawing/2014/main" id="{DDE1C9E9-3F32-4261-A3F4-F88F5D4D966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04450" y="2152651"/>
              <a:ext cx="444678" cy="320888"/>
              <a:chOff x="313" y="1286"/>
              <a:chExt cx="370" cy="267"/>
            </a:xfrm>
          </p:grpSpPr>
          <p:sp>
            <p:nvSpPr>
              <p:cNvPr id="835" name="Freeform 11">
                <a:extLst>
                  <a:ext uri="{FF2B5EF4-FFF2-40B4-BE49-F238E27FC236}">
                    <a16:creationId xmlns:a16="http://schemas.microsoft.com/office/drawing/2014/main" id="{BC4C9932-83DB-4A99-9C54-24EA823447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" y="1295"/>
                <a:ext cx="202" cy="85"/>
              </a:xfrm>
              <a:custGeom>
                <a:avLst/>
                <a:gdLst>
                  <a:gd name="T0" fmla="*/ 0 w 72"/>
                  <a:gd name="T1" fmla="*/ 30 h 30"/>
                  <a:gd name="T2" fmla="*/ 2 w 72"/>
                  <a:gd name="T3" fmla="*/ 26 h 30"/>
                  <a:gd name="T4" fmla="*/ 22 w 72"/>
                  <a:gd name="T5" fmla="*/ 2 h 30"/>
                  <a:gd name="T6" fmla="*/ 37 w 72"/>
                  <a:gd name="T7" fmla="*/ 0 h 30"/>
                  <a:gd name="T8" fmla="*/ 59 w 72"/>
                  <a:gd name="T9" fmla="*/ 4 h 30"/>
                  <a:gd name="T10" fmla="*/ 71 w 72"/>
                  <a:gd name="T11" fmla="*/ 28 h 30"/>
                  <a:gd name="T12" fmla="*/ 72 w 72"/>
                  <a:gd name="T13" fmla="*/ 30 h 30"/>
                  <a:gd name="T14" fmla="*/ 0 w 72"/>
                  <a:gd name="T1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" h="30">
                    <a:moveTo>
                      <a:pt x="0" y="30"/>
                    </a:moveTo>
                    <a:cubicBezTo>
                      <a:pt x="2" y="26"/>
                      <a:pt x="2" y="26"/>
                      <a:pt x="2" y="26"/>
                    </a:cubicBezTo>
                    <a:cubicBezTo>
                      <a:pt x="7" y="13"/>
                      <a:pt x="11" y="5"/>
                      <a:pt x="22" y="2"/>
                    </a:cubicBezTo>
                    <a:cubicBezTo>
                      <a:pt x="27" y="1"/>
                      <a:pt x="31" y="0"/>
                      <a:pt x="37" y="0"/>
                    </a:cubicBezTo>
                    <a:cubicBezTo>
                      <a:pt x="48" y="0"/>
                      <a:pt x="58" y="3"/>
                      <a:pt x="59" y="4"/>
                    </a:cubicBezTo>
                    <a:cubicBezTo>
                      <a:pt x="64" y="9"/>
                      <a:pt x="70" y="23"/>
                      <a:pt x="71" y="28"/>
                    </a:cubicBezTo>
                    <a:cubicBezTo>
                      <a:pt x="72" y="30"/>
                      <a:pt x="72" y="30"/>
                      <a:pt x="72" y="30"/>
                    </a:cubicBez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36" name="Freeform 12">
                <a:extLst>
                  <a:ext uri="{FF2B5EF4-FFF2-40B4-BE49-F238E27FC236}">
                    <a16:creationId xmlns:a16="http://schemas.microsoft.com/office/drawing/2014/main" id="{EEF736BB-D185-46EA-8DBC-E396655A4D2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9" y="1286"/>
                <a:ext cx="364" cy="227"/>
              </a:xfrm>
              <a:custGeom>
                <a:avLst/>
                <a:gdLst>
                  <a:gd name="T0" fmla="*/ 92 w 130"/>
                  <a:gd name="T1" fmla="*/ 30 h 80"/>
                  <a:gd name="T2" fmla="*/ 79 w 130"/>
                  <a:gd name="T3" fmla="*/ 5 h 80"/>
                  <a:gd name="T4" fmla="*/ 55 w 130"/>
                  <a:gd name="T5" fmla="*/ 0 h 80"/>
                  <a:gd name="T6" fmla="*/ 40 w 130"/>
                  <a:gd name="T7" fmla="*/ 2 h 80"/>
                  <a:gd name="T8" fmla="*/ 15 w 130"/>
                  <a:gd name="T9" fmla="*/ 32 h 80"/>
                  <a:gd name="T10" fmla="*/ 0 w 130"/>
                  <a:gd name="T11" fmla="*/ 74 h 80"/>
                  <a:gd name="T12" fmla="*/ 6 w 130"/>
                  <a:gd name="T13" fmla="*/ 80 h 80"/>
                  <a:gd name="T14" fmla="*/ 117 w 130"/>
                  <a:gd name="T15" fmla="*/ 80 h 80"/>
                  <a:gd name="T16" fmla="*/ 123 w 130"/>
                  <a:gd name="T17" fmla="*/ 75 h 80"/>
                  <a:gd name="T18" fmla="*/ 92 w 130"/>
                  <a:gd name="T19" fmla="*/ 30 h 80"/>
                  <a:gd name="T20" fmla="*/ 26 w 130"/>
                  <a:gd name="T21" fmla="*/ 23 h 80"/>
                  <a:gd name="T22" fmla="*/ 41 w 130"/>
                  <a:gd name="T23" fmla="*/ 8 h 80"/>
                  <a:gd name="T24" fmla="*/ 47 w 130"/>
                  <a:gd name="T25" fmla="*/ 7 h 80"/>
                  <a:gd name="T26" fmla="*/ 47 w 130"/>
                  <a:gd name="T27" fmla="*/ 30 h 80"/>
                  <a:gd name="T28" fmla="*/ 30 w 130"/>
                  <a:gd name="T29" fmla="*/ 30 h 80"/>
                  <a:gd name="T30" fmla="*/ 26 w 130"/>
                  <a:gd name="T31" fmla="*/ 23 h 80"/>
                  <a:gd name="T32" fmla="*/ 51 w 130"/>
                  <a:gd name="T33" fmla="*/ 30 h 80"/>
                  <a:gd name="T34" fmla="*/ 51 w 130"/>
                  <a:gd name="T35" fmla="*/ 6 h 80"/>
                  <a:gd name="T36" fmla="*/ 55 w 130"/>
                  <a:gd name="T37" fmla="*/ 6 h 80"/>
                  <a:gd name="T38" fmla="*/ 75 w 130"/>
                  <a:gd name="T39" fmla="*/ 9 h 80"/>
                  <a:gd name="T40" fmla="*/ 86 w 130"/>
                  <a:gd name="T41" fmla="*/ 30 h 80"/>
                  <a:gd name="T42" fmla="*/ 51 w 130"/>
                  <a:gd name="T43" fmla="*/ 3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0" h="80">
                    <a:moveTo>
                      <a:pt x="92" y="30"/>
                    </a:moveTo>
                    <a:cubicBezTo>
                      <a:pt x="92" y="30"/>
                      <a:pt x="86" y="12"/>
                      <a:pt x="79" y="5"/>
                    </a:cubicBezTo>
                    <a:cubicBezTo>
                      <a:pt x="77" y="3"/>
                      <a:pt x="66" y="0"/>
                      <a:pt x="55" y="0"/>
                    </a:cubicBezTo>
                    <a:cubicBezTo>
                      <a:pt x="50" y="0"/>
                      <a:pt x="44" y="1"/>
                      <a:pt x="40" y="2"/>
                    </a:cubicBezTo>
                    <a:cubicBezTo>
                      <a:pt x="26" y="6"/>
                      <a:pt x="22" y="17"/>
                      <a:pt x="15" y="32"/>
                    </a:cubicBezTo>
                    <a:cubicBezTo>
                      <a:pt x="10" y="41"/>
                      <a:pt x="0" y="41"/>
                      <a:pt x="0" y="74"/>
                    </a:cubicBezTo>
                    <a:cubicBezTo>
                      <a:pt x="0" y="77"/>
                      <a:pt x="3" y="80"/>
                      <a:pt x="6" y="80"/>
                    </a:cubicBezTo>
                    <a:cubicBezTo>
                      <a:pt x="117" y="80"/>
                      <a:pt x="117" y="80"/>
                      <a:pt x="117" y="80"/>
                    </a:cubicBezTo>
                    <a:cubicBezTo>
                      <a:pt x="119" y="80"/>
                      <a:pt x="123" y="78"/>
                      <a:pt x="123" y="75"/>
                    </a:cubicBezTo>
                    <a:cubicBezTo>
                      <a:pt x="130" y="34"/>
                      <a:pt x="92" y="30"/>
                      <a:pt x="92" y="30"/>
                    </a:cubicBezTo>
                    <a:close/>
                    <a:moveTo>
                      <a:pt x="26" y="23"/>
                    </a:moveTo>
                    <a:cubicBezTo>
                      <a:pt x="30" y="15"/>
                      <a:pt x="34" y="10"/>
                      <a:pt x="41" y="8"/>
                    </a:cubicBezTo>
                    <a:cubicBezTo>
                      <a:pt x="43" y="7"/>
                      <a:pt x="45" y="7"/>
                      <a:pt x="47" y="7"/>
                    </a:cubicBezTo>
                    <a:cubicBezTo>
                      <a:pt x="47" y="30"/>
                      <a:pt x="47" y="30"/>
                      <a:pt x="47" y="30"/>
                    </a:cubicBezTo>
                    <a:cubicBezTo>
                      <a:pt x="38" y="30"/>
                      <a:pt x="31" y="30"/>
                      <a:pt x="30" y="30"/>
                    </a:cubicBezTo>
                    <a:cubicBezTo>
                      <a:pt x="25" y="30"/>
                      <a:pt x="24" y="27"/>
                      <a:pt x="26" y="23"/>
                    </a:cubicBezTo>
                    <a:close/>
                    <a:moveTo>
                      <a:pt x="51" y="30"/>
                    </a:moveTo>
                    <a:cubicBezTo>
                      <a:pt x="51" y="6"/>
                      <a:pt x="51" y="6"/>
                      <a:pt x="51" y="6"/>
                    </a:cubicBezTo>
                    <a:cubicBezTo>
                      <a:pt x="52" y="6"/>
                      <a:pt x="53" y="6"/>
                      <a:pt x="55" y="6"/>
                    </a:cubicBezTo>
                    <a:cubicBezTo>
                      <a:pt x="65" y="6"/>
                      <a:pt x="73" y="8"/>
                      <a:pt x="75" y="9"/>
                    </a:cubicBezTo>
                    <a:cubicBezTo>
                      <a:pt x="79" y="13"/>
                      <a:pt x="84" y="23"/>
                      <a:pt x="86" y="30"/>
                    </a:cubicBezTo>
                    <a:cubicBezTo>
                      <a:pt x="79" y="30"/>
                      <a:pt x="64" y="30"/>
                      <a:pt x="51" y="30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37" name="Freeform 13">
                <a:extLst>
                  <a:ext uri="{FF2B5EF4-FFF2-40B4-BE49-F238E27FC236}">
                    <a16:creationId xmlns:a16="http://schemas.microsoft.com/office/drawing/2014/main" id="{320A6E32-D048-4D8F-A2A5-33315AE1A3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" y="1456"/>
                <a:ext cx="113" cy="57"/>
              </a:xfrm>
              <a:custGeom>
                <a:avLst/>
                <a:gdLst>
                  <a:gd name="T0" fmla="*/ 0 w 40"/>
                  <a:gd name="T1" fmla="*/ 20 h 20"/>
                  <a:gd name="T2" fmla="*/ 20 w 40"/>
                  <a:gd name="T3" fmla="*/ 0 h 20"/>
                  <a:gd name="T4" fmla="*/ 40 w 40"/>
                  <a:gd name="T5" fmla="*/ 20 h 20"/>
                  <a:gd name="T6" fmla="*/ 0 w 40"/>
                  <a:gd name="T7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0">
                    <a:moveTo>
                      <a:pt x="0" y="20"/>
                    </a:move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38" name="Oval 14">
                <a:extLst>
                  <a:ext uri="{FF2B5EF4-FFF2-40B4-BE49-F238E27FC236}">
                    <a16:creationId xmlns:a16="http://schemas.microsoft.com/office/drawing/2014/main" id="{896E120E-DECC-4C8C-816B-80D1909C62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" y="1473"/>
                <a:ext cx="79" cy="80"/>
              </a:xfrm>
              <a:prstGeom prst="ellipse">
                <a:avLst/>
              </a:pr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39" name="Oval 15">
                <a:extLst>
                  <a:ext uri="{FF2B5EF4-FFF2-40B4-BE49-F238E27FC236}">
                    <a16:creationId xmlns:a16="http://schemas.microsoft.com/office/drawing/2014/main" id="{85245475-8D79-4FCF-8334-E8EC61A474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3" y="1490"/>
                <a:ext cx="45" cy="4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40" name="Freeform 16">
                <a:extLst>
                  <a:ext uri="{FF2B5EF4-FFF2-40B4-BE49-F238E27FC236}">
                    <a16:creationId xmlns:a16="http://schemas.microsoft.com/office/drawing/2014/main" id="{B02B1F83-8D87-4914-B2C3-7DF3D77862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" y="1456"/>
                <a:ext cx="112" cy="57"/>
              </a:xfrm>
              <a:custGeom>
                <a:avLst/>
                <a:gdLst>
                  <a:gd name="T0" fmla="*/ 0 w 40"/>
                  <a:gd name="T1" fmla="*/ 20 h 20"/>
                  <a:gd name="T2" fmla="*/ 20 w 40"/>
                  <a:gd name="T3" fmla="*/ 0 h 20"/>
                  <a:gd name="T4" fmla="*/ 40 w 40"/>
                  <a:gd name="T5" fmla="*/ 20 h 20"/>
                  <a:gd name="T6" fmla="*/ 0 w 40"/>
                  <a:gd name="T7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0" h="20">
                    <a:moveTo>
                      <a:pt x="0" y="20"/>
                    </a:move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41" name="Oval 17">
                <a:extLst>
                  <a:ext uri="{FF2B5EF4-FFF2-40B4-BE49-F238E27FC236}">
                    <a16:creationId xmlns:a16="http://schemas.microsoft.com/office/drawing/2014/main" id="{A636AB82-3154-4B67-A775-CCAA15F84B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5" y="1473"/>
                <a:ext cx="78" cy="80"/>
              </a:xfrm>
              <a:prstGeom prst="ellipse">
                <a:avLst/>
              </a:pr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42" name="Oval 18">
                <a:extLst>
                  <a:ext uri="{FF2B5EF4-FFF2-40B4-BE49-F238E27FC236}">
                    <a16:creationId xmlns:a16="http://schemas.microsoft.com/office/drawing/2014/main" id="{21EA3F4D-7A3E-4184-98DA-0271C9FA12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1" y="1490"/>
                <a:ext cx="45" cy="4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43" name="Freeform 19">
                <a:extLst>
                  <a:ext uri="{FF2B5EF4-FFF2-40B4-BE49-F238E27FC236}">
                    <a16:creationId xmlns:a16="http://schemas.microsoft.com/office/drawing/2014/main" id="{43CB2111-AE56-4B9F-A09D-E6EDA9E269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4" y="1479"/>
                <a:ext cx="28" cy="17"/>
              </a:xfrm>
              <a:custGeom>
                <a:avLst/>
                <a:gdLst>
                  <a:gd name="T0" fmla="*/ 7 w 10"/>
                  <a:gd name="T1" fmla="*/ 6 h 6"/>
                  <a:gd name="T2" fmla="*/ 3 w 10"/>
                  <a:gd name="T3" fmla="*/ 6 h 6"/>
                  <a:gd name="T4" fmla="*/ 0 w 10"/>
                  <a:gd name="T5" fmla="*/ 3 h 6"/>
                  <a:gd name="T6" fmla="*/ 3 w 10"/>
                  <a:gd name="T7" fmla="*/ 0 h 6"/>
                  <a:gd name="T8" fmla="*/ 7 w 10"/>
                  <a:gd name="T9" fmla="*/ 0 h 6"/>
                  <a:gd name="T10" fmla="*/ 10 w 10"/>
                  <a:gd name="T11" fmla="*/ 3 h 6"/>
                  <a:gd name="T12" fmla="*/ 7 w 10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6">
                    <a:moveTo>
                      <a:pt x="7" y="6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1" y="6"/>
                      <a:pt x="0" y="4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9" y="0"/>
                      <a:pt x="10" y="1"/>
                      <a:pt x="10" y="3"/>
                    </a:cubicBezTo>
                    <a:cubicBezTo>
                      <a:pt x="10" y="4"/>
                      <a:pt x="9" y="6"/>
                      <a:pt x="7" y="6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44" name="Freeform 20">
                <a:extLst>
                  <a:ext uri="{FF2B5EF4-FFF2-40B4-BE49-F238E27FC236}">
                    <a16:creationId xmlns:a16="http://schemas.microsoft.com/office/drawing/2014/main" id="{C75B16C9-A648-4507-9913-004EBEB02F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" y="1479"/>
                <a:ext cx="28" cy="17"/>
              </a:xfrm>
              <a:custGeom>
                <a:avLst/>
                <a:gdLst>
                  <a:gd name="T0" fmla="*/ 7 w 10"/>
                  <a:gd name="T1" fmla="*/ 6 h 6"/>
                  <a:gd name="T2" fmla="*/ 3 w 10"/>
                  <a:gd name="T3" fmla="*/ 6 h 6"/>
                  <a:gd name="T4" fmla="*/ 0 w 10"/>
                  <a:gd name="T5" fmla="*/ 3 h 6"/>
                  <a:gd name="T6" fmla="*/ 3 w 10"/>
                  <a:gd name="T7" fmla="*/ 0 h 6"/>
                  <a:gd name="T8" fmla="*/ 7 w 10"/>
                  <a:gd name="T9" fmla="*/ 0 h 6"/>
                  <a:gd name="T10" fmla="*/ 10 w 10"/>
                  <a:gd name="T11" fmla="*/ 3 h 6"/>
                  <a:gd name="T12" fmla="*/ 7 w 10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6">
                    <a:moveTo>
                      <a:pt x="7" y="6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1" y="6"/>
                      <a:pt x="0" y="4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9" y="0"/>
                      <a:pt x="10" y="1"/>
                      <a:pt x="10" y="3"/>
                    </a:cubicBezTo>
                    <a:cubicBezTo>
                      <a:pt x="10" y="4"/>
                      <a:pt x="9" y="6"/>
                      <a:pt x="7" y="6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45" name="Freeform 21">
                <a:extLst>
                  <a:ext uri="{FF2B5EF4-FFF2-40B4-BE49-F238E27FC236}">
                    <a16:creationId xmlns:a16="http://schemas.microsoft.com/office/drawing/2014/main" id="{57352ACA-093E-4663-A5C2-BCA7E331A6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" y="1405"/>
                <a:ext cx="39" cy="17"/>
              </a:xfrm>
              <a:custGeom>
                <a:avLst/>
                <a:gdLst>
                  <a:gd name="T0" fmla="*/ 11 w 14"/>
                  <a:gd name="T1" fmla="*/ 6 h 6"/>
                  <a:gd name="T2" fmla="*/ 3 w 14"/>
                  <a:gd name="T3" fmla="*/ 6 h 6"/>
                  <a:gd name="T4" fmla="*/ 0 w 14"/>
                  <a:gd name="T5" fmla="*/ 3 h 6"/>
                  <a:gd name="T6" fmla="*/ 3 w 14"/>
                  <a:gd name="T7" fmla="*/ 0 h 6"/>
                  <a:gd name="T8" fmla="*/ 11 w 14"/>
                  <a:gd name="T9" fmla="*/ 0 h 6"/>
                  <a:gd name="T10" fmla="*/ 14 w 14"/>
                  <a:gd name="T11" fmla="*/ 3 h 6"/>
                  <a:gd name="T12" fmla="*/ 11 w 14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6">
                    <a:moveTo>
                      <a:pt x="11" y="6"/>
                    </a:moveTo>
                    <a:cubicBezTo>
                      <a:pt x="3" y="6"/>
                      <a:pt x="3" y="6"/>
                      <a:pt x="3" y="6"/>
                    </a:cubicBezTo>
                    <a:cubicBezTo>
                      <a:pt x="1" y="6"/>
                      <a:pt x="0" y="5"/>
                      <a:pt x="0" y="3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2" y="0"/>
                      <a:pt x="14" y="2"/>
                      <a:pt x="14" y="3"/>
                    </a:cubicBezTo>
                    <a:cubicBezTo>
                      <a:pt x="14" y="5"/>
                      <a:pt x="12" y="6"/>
                      <a:pt x="11" y="6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71" name="Groupe 470">
            <a:extLst>
              <a:ext uri="{FF2B5EF4-FFF2-40B4-BE49-F238E27FC236}">
                <a16:creationId xmlns:a16="http://schemas.microsoft.com/office/drawing/2014/main" id="{74FA8A6F-EF00-4AD8-B411-082A98E0CF4B}"/>
              </a:ext>
            </a:extLst>
          </p:cNvPr>
          <p:cNvGrpSpPr/>
          <p:nvPr/>
        </p:nvGrpSpPr>
        <p:grpSpPr>
          <a:xfrm>
            <a:off x="1492410" y="1960229"/>
            <a:ext cx="865004" cy="865444"/>
            <a:chOff x="1121159" y="1988559"/>
            <a:chExt cx="648743" cy="649073"/>
          </a:xfrm>
        </p:grpSpPr>
        <p:sp>
          <p:nvSpPr>
            <p:cNvPr id="818" name="Oval 5">
              <a:extLst>
                <a:ext uri="{FF2B5EF4-FFF2-40B4-BE49-F238E27FC236}">
                  <a16:creationId xmlns:a16="http://schemas.microsoft.com/office/drawing/2014/main" id="{D7713292-4043-42EB-87F7-F89A469E7C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1159" y="1988559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819" name="Group 24">
              <a:extLst>
                <a:ext uri="{FF2B5EF4-FFF2-40B4-BE49-F238E27FC236}">
                  <a16:creationId xmlns:a16="http://schemas.microsoft.com/office/drawing/2014/main" id="{E4460BA7-EBCE-419D-9316-2D6BAFFF7C5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231448" y="2133600"/>
              <a:ext cx="428164" cy="358990"/>
              <a:chOff x="2702" y="2008"/>
              <a:chExt cx="359" cy="301"/>
            </a:xfrm>
          </p:grpSpPr>
          <p:sp>
            <p:nvSpPr>
              <p:cNvPr id="820" name="Freeform 25">
                <a:extLst>
                  <a:ext uri="{FF2B5EF4-FFF2-40B4-BE49-F238E27FC236}">
                    <a16:creationId xmlns:a16="http://schemas.microsoft.com/office/drawing/2014/main" id="{246DA959-5CA1-4598-A8EE-F21AB93961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3" y="2017"/>
                <a:ext cx="87" cy="82"/>
              </a:xfrm>
              <a:custGeom>
                <a:avLst/>
                <a:gdLst>
                  <a:gd name="T0" fmla="*/ 0 w 31"/>
                  <a:gd name="T1" fmla="*/ 0 h 29"/>
                  <a:gd name="T2" fmla="*/ 0 w 31"/>
                  <a:gd name="T3" fmla="*/ 29 h 29"/>
                  <a:gd name="T4" fmla="*/ 31 w 31"/>
                  <a:gd name="T5" fmla="*/ 29 h 29"/>
                  <a:gd name="T6" fmla="*/ 0 w 31"/>
                  <a:gd name="T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" h="29">
                    <a:moveTo>
                      <a:pt x="0" y="0"/>
                    </a:moveTo>
                    <a:cubicBezTo>
                      <a:pt x="0" y="29"/>
                      <a:pt x="0" y="29"/>
                      <a:pt x="0" y="29"/>
                    </a:cubicBezTo>
                    <a:cubicBezTo>
                      <a:pt x="31" y="29"/>
                      <a:pt x="31" y="29"/>
                      <a:pt x="31" y="29"/>
                    </a:cubicBezTo>
                    <a:cubicBezTo>
                      <a:pt x="31" y="29"/>
                      <a:pt x="16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21" name="Freeform 26">
                <a:extLst>
                  <a:ext uri="{FF2B5EF4-FFF2-40B4-BE49-F238E27FC236}">
                    <a16:creationId xmlns:a16="http://schemas.microsoft.com/office/drawing/2014/main" id="{8DB014F0-C04F-41DE-8187-2312E02EFD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30" y="2008"/>
                <a:ext cx="331" cy="230"/>
              </a:xfrm>
              <a:custGeom>
                <a:avLst/>
                <a:gdLst>
                  <a:gd name="T0" fmla="*/ 102 w 118"/>
                  <a:gd name="T1" fmla="*/ 32 h 81"/>
                  <a:gd name="T2" fmla="*/ 92 w 118"/>
                  <a:gd name="T3" fmla="*/ 29 h 81"/>
                  <a:gd name="T4" fmla="*/ 89 w 118"/>
                  <a:gd name="T5" fmla="*/ 27 h 81"/>
                  <a:gd name="T6" fmla="*/ 59 w 118"/>
                  <a:gd name="T7" fmla="*/ 0 h 81"/>
                  <a:gd name="T8" fmla="*/ 4 w 118"/>
                  <a:gd name="T9" fmla="*/ 0 h 81"/>
                  <a:gd name="T10" fmla="*/ 0 w 118"/>
                  <a:gd name="T11" fmla="*/ 4 h 81"/>
                  <a:gd name="T12" fmla="*/ 0 w 118"/>
                  <a:gd name="T13" fmla="*/ 72 h 81"/>
                  <a:gd name="T14" fmla="*/ 88 w 118"/>
                  <a:gd name="T15" fmla="*/ 72 h 81"/>
                  <a:gd name="T16" fmla="*/ 97 w 118"/>
                  <a:gd name="T17" fmla="*/ 81 h 81"/>
                  <a:gd name="T18" fmla="*/ 106 w 118"/>
                  <a:gd name="T19" fmla="*/ 72 h 81"/>
                  <a:gd name="T20" fmla="*/ 106 w 118"/>
                  <a:gd name="T21" fmla="*/ 72 h 81"/>
                  <a:gd name="T22" fmla="*/ 110 w 118"/>
                  <a:gd name="T23" fmla="*/ 72 h 81"/>
                  <a:gd name="T24" fmla="*/ 118 w 118"/>
                  <a:gd name="T25" fmla="*/ 64 h 81"/>
                  <a:gd name="T26" fmla="*/ 118 w 118"/>
                  <a:gd name="T27" fmla="*/ 51 h 81"/>
                  <a:gd name="T28" fmla="*/ 102 w 118"/>
                  <a:gd name="T29" fmla="*/ 32 h 81"/>
                  <a:gd name="T30" fmla="*/ 84 w 118"/>
                  <a:gd name="T31" fmla="*/ 29 h 81"/>
                  <a:gd name="T32" fmla="*/ 62 w 118"/>
                  <a:gd name="T33" fmla="*/ 29 h 81"/>
                  <a:gd name="T34" fmla="*/ 60 w 118"/>
                  <a:gd name="T35" fmla="*/ 27 h 81"/>
                  <a:gd name="T36" fmla="*/ 60 w 118"/>
                  <a:gd name="T37" fmla="*/ 6 h 81"/>
                  <a:gd name="T38" fmla="*/ 84 w 118"/>
                  <a:gd name="T39" fmla="*/ 29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18" h="81">
                    <a:moveTo>
                      <a:pt x="102" y="32"/>
                    </a:moveTo>
                    <a:cubicBezTo>
                      <a:pt x="92" y="29"/>
                      <a:pt x="92" y="29"/>
                      <a:pt x="92" y="29"/>
                    </a:cubicBezTo>
                    <a:cubicBezTo>
                      <a:pt x="91" y="29"/>
                      <a:pt x="90" y="28"/>
                      <a:pt x="89" y="27"/>
                    </a:cubicBezTo>
                    <a:cubicBezTo>
                      <a:pt x="86" y="22"/>
                      <a:pt x="72" y="0"/>
                      <a:pt x="59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1"/>
                      <a:pt x="0" y="4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88" y="72"/>
                      <a:pt x="88" y="72"/>
                      <a:pt x="88" y="72"/>
                    </a:cubicBezTo>
                    <a:cubicBezTo>
                      <a:pt x="88" y="77"/>
                      <a:pt x="92" y="81"/>
                      <a:pt x="97" y="81"/>
                    </a:cubicBezTo>
                    <a:cubicBezTo>
                      <a:pt x="102" y="81"/>
                      <a:pt x="106" y="77"/>
                      <a:pt x="106" y="72"/>
                    </a:cubicBezTo>
                    <a:cubicBezTo>
                      <a:pt x="106" y="72"/>
                      <a:pt x="106" y="72"/>
                      <a:pt x="106" y="72"/>
                    </a:cubicBezTo>
                    <a:cubicBezTo>
                      <a:pt x="110" y="72"/>
                      <a:pt x="110" y="72"/>
                      <a:pt x="110" y="72"/>
                    </a:cubicBezTo>
                    <a:cubicBezTo>
                      <a:pt x="114" y="72"/>
                      <a:pt x="118" y="68"/>
                      <a:pt x="118" y="64"/>
                    </a:cubicBezTo>
                    <a:cubicBezTo>
                      <a:pt x="118" y="51"/>
                      <a:pt x="118" y="51"/>
                      <a:pt x="118" y="51"/>
                    </a:cubicBezTo>
                    <a:cubicBezTo>
                      <a:pt x="118" y="42"/>
                      <a:pt x="112" y="34"/>
                      <a:pt x="102" y="32"/>
                    </a:cubicBezTo>
                    <a:close/>
                    <a:moveTo>
                      <a:pt x="84" y="29"/>
                    </a:moveTo>
                    <a:cubicBezTo>
                      <a:pt x="62" y="29"/>
                      <a:pt x="62" y="29"/>
                      <a:pt x="62" y="29"/>
                    </a:cubicBezTo>
                    <a:cubicBezTo>
                      <a:pt x="61" y="29"/>
                      <a:pt x="60" y="29"/>
                      <a:pt x="60" y="27"/>
                    </a:cubicBezTo>
                    <a:cubicBezTo>
                      <a:pt x="60" y="6"/>
                      <a:pt x="60" y="6"/>
                      <a:pt x="60" y="6"/>
                    </a:cubicBezTo>
                    <a:cubicBezTo>
                      <a:pt x="64" y="6"/>
                      <a:pt x="71" y="10"/>
                      <a:pt x="84" y="29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22" name="Freeform 27">
                <a:extLst>
                  <a:ext uri="{FF2B5EF4-FFF2-40B4-BE49-F238E27FC236}">
                    <a16:creationId xmlns:a16="http://schemas.microsoft.com/office/drawing/2014/main" id="{78218A9E-6BA9-4957-B547-20576EC34C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6" y="2127"/>
                <a:ext cx="244" cy="145"/>
              </a:xfrm>
              <a:custGeom>
                <a:avLst/>
                <a:gdLst>
                  <a:gd name="T0" fmla="*/ 1 w 87"/>
                  <a:gd name="T1" fmla="*/ 51 h 51"/>
                  <a:gd name="T2" fmla="*/ 0 w 87"/>
                  <a:gd name="T3" fmla="*/ 49 h 51"/>
                  <a:gd name="T4" fmla="*/ 7 w 87"/>
                  <a:gd name="T5" fmla="*/ 27 h 51"/>
                  <a:gd name="T6" fmla="*/ 12 w 87"/>
                  <a:gd name="T7" fmla="*/ 21 h 51"/>
                  <a:gd name="T8" fmla="*/ 13 w 87"/>
                  <a:gd name="T9" fmla="*/ 18 h 51"/>
                  <a:gd name="T10" fmla="*/ 28 w 87"/>
                  <a:gd name="T11" fmla="*/ 1 h 51"/>
                  <a:gd name="T12" fmla="*/ 38 w 87"/>
                  <a:gd name="T13" fmla="*/ 0 h 51"/>
                  <a:gd name="T14" fmla="*/ 54 w 87"/>
                  <a:gd name="T15" fmla="*/ 2 h 51"/>
                  <a:gd name="T16" fmla="*/ 63 w 87"/>
                  <a:gd name="T17" fmla="*/ 20 h 51"/>
                  <a:gd name="T18" fmla="*/ 64 w 87"/>
                  <a:gd name="T19" fmla="*/ 21 h 51"/>
                  <a:gd name="T20" fmla="*/ 66 w 87"/>
                  <a:gd name="T21" fmla="*/ 22 h 51"/>
                  <a:gd name="T22" fmla="*/ 82 w 87"/>
                  <a:gd name="T23" fmla="*/ 29 h 51"/>
                  <a:gd name="T24" fmla="*/ 86 w 87"/>
                  <a:gd name="T25" fmla="*/ 50 h 51"/>
                  <a:gd name="T26" fmla="*/ 84 w 87"/>
                  <a:gd name="T27" fmla="*/ 51 h 51"/>
                  <a:gd name="T28" fmla="*/ 1 w 87"/>
                  <a:gd name="T29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7" h="51">
                    <a:moveTo>
                      <a:pt x="1" y="51"/>
                    </a:moveTo>
                    <a:cubicBezTo>
                      <a:pt x="0" y="51"/>
                      <a:pt x="0" y="50"/>
                      <a:pt x="0" y="49"/>
                    </a:cubicBezTo>
                    <a:cubicBezTo>
                      <a:pt x="0" y="35"/>
                      <a:pt x="4" y="31"/>
                      <a:pt x="7" y="27"/>
                    </a:cubicBezTo>
                    <a:cubicBezTo>
                      <a:pt x="9" y="25"/>
                      <a:pt x="10" y="24"/>
                      <a:pt x="12" y="21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7" y="9"/>
                      <a:pt x="20" y="3"/>
                      <a:pt x="28" y="1"/>
                    </a:cubicBezTo>
                    <a:cubicBezTo>
                      <a:pt x="31" y="0"/>
                      <a:pt x="34" y="0"/>
                      <a:pt x="38" y="0"/>
                    </a:cubicBezTo>
                    <a:cubicBezTo>
                      <a:pt x="46" y="0"/>
                      <a:pt x="53" y="2"/>
                      <a:pt x="54" y="2"/>
                    </a:cubicBezTo>
                    <a:cubicBezTo>
                      <a:pt x="58" y="6"/>
                      <a:pt x="62" y="16"/>
                      <a:pt x="63" y="20"/>
                    </a:cubicBezTo>
                    <a:cubicBezTo>
                      <a:pt x="64" y="21"/>
                      <a:pt x="64" y="21"/>
                      <a:pt x="64" y="21"/>
                    </a:cubicBezTo>
                    <a:cubicBezTo>
                      <a:pt x="66" y="22"/>
                      <a:pt x="66" y="22"/>
                      <a:pt x="66" y="22"/>
                    </a:cubicBezTo>
                    <a:cubicBezTo>
                      <a:pt x="66" y="22"/>
                      <a:pt x="76" y="22"/>
                      <a:pt x="82" y="29"/>
                    </a:cubicBezTo>
                    <a:cubicBezTo>
                      <a:pt x="86" y="34"/>
                      <a:pt x="87" y="41"/>
                      <a:pt x="86" y="50"/>
                    </a:cubicBezTo>
                    <a:cubicBezTo>
                      <a:pt x="86" y="50"/>
                      <a:pt x="85" y="51"/>
                      <a:pt x="84" y="51"/>
                    </a:cubicBezTo>
                    <a:lnTo>
                      <a:pt x="1" y="5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23" name="Freeform 28">
                <a:extLst>
                  <a:ext uri="{FF2B5EF4-FFF2-40B4-BE49-F238E27FC236}">
                    <a16:creationId xmlns:a16="http://schemas.microsoft.com/office/drawing/2014/main" id="{887D3001-6C66-4322-99B8-4FDAFBF27D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07" y="2119"/>
                <a:ext cx="270" cy="162"/>
              </a:xfrm>
              <a:custGeom>
                <a:avLst/>
                <a:gdLst>
                  <a:gd name="T0" fmla="*/ 69 w 96"/>
                  <a:gd name="T1" fmla="*/ 22 h 57"/>
                  <a:gd name="T2" fmla="*/ 59 w 96"/>
                  <a:gd name="T3" fmla="*/ 3 h 57"/>
                  <a:gd name="T4" fmla="*/ 41 w 96"/>
                  <a:gd name="T5" fmla="*/ 0 h 57"/>
                  <a:gd name="T6" fmla="*/ 30 w 96"/>
                  <a:gd name="T7" fmla="*/ 1 h 57"/>
                  <a:gd name="T8" fmla="*/ 12 w 96"/>
                  <a:gd name="T9" fmla="*/ 23 h 57"/>
                  <a:gd name="T10" fmla="*/ 0 w 96"/>
                  <a:gd name="T11" fmla="*/ 52 h 57"/>
                  <a:gd name="T12" fmla="*/ 4 w 96"/>
                  <a:gd name="T13" fmla="*/ 57 h 57"/>
                  <a:gd name="T14" fmla="*/ 87 w 96"/>
                  <a:gd name="T15" fmla="*/ 57 h 57"/>
                  <a:gd name="T16" fmla="*/ 92 w 96"/>
                  <a:gd name="T17" fmla="*/ 53 h 57"/>
                  <a:gd name="T18" fmla="*/ 69 w 96"/>
                  <a:gd name="T19" fmla="*/ 22 h 57"/>
                  <a:gd name="T20" fmla="*/ 21 w 96"/>
                  <a:gd name="T21" fmla="*/ 17 h 57"/>
                  <a:gd name="T22" fmla="*/ 32 w 96"/>
                  <a:gd name="T23" fmla="*/ 7 h 57"/>
                  <a:gd name="T24" fmla="*/ 35 w 96"/>
                  <a:gd name="T25" fmla="*/ 6 h 57"/>
                  <a:gd name="T26" fmla="*/ 35 w 96"/>
                  <a:gd name="T27" fmla="*/ 21 h 57"/>
                  <a:gd name="T28" fmla="*/ 24 w 96"/>
                  <a:gd name="T29" fmla="*/ 21 h 57"/>
                  <a:gd name="T30" fmla="*/ 21 w 96"/>
                  <a:gd name="T31" fmla="*/ 17 h 57"/>
                  <a:gd name="T32" fmla="*/ 38 w 96"/>
                  <a:gd name="T33" fmla="*/ 21 h 57"/>
                  <a:gd name="T34" fmla="*/ 38 w 96"/>
                  <a:gd name="T35" fmla="*/ 6 h 57"/>
                  <a:gd name="T36" fmla="*/ 41 w 96"/>
                  <a:gd name="T37" fmla="*/ 6 h 57"/>
                  <a:gd name="T38" fmla="*/ 55 w 96"/>
                  <a:gd name="T39" fmla="*/ 8 h 57"/>
                  <a:gd name="T40" fmla="*/ 62 w 96"/>
                  <a:gd name="T41" fmla="*/ 22 h 57"/>
                  <a:gd name="T42" fmla="*/ 38 w 96"/>
                  <a:gd name="T43" fmla="*/ 21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96" h="57">
                    <a:moveTo>
                      <a:pt x="69" y="22"/>
                    </a:moveTo>
                    <a:cubicBezTo>
                      <a:pt x="69" y="22"/>
                      <a:pt x="64" y="8"/>
                      <a:pt x="59" y="3"/>
                    </a:cubicBezTo>
                    <a:cubicBezTo>
                      <a:pt x="58" y="2"/>
                      <a:pt x="50" y="0"/>
                      <a:pt x="41" y="0"/>
                    </a:cubicBezTo>
                    <a:cubicBezTo>
                      <a:pt x="37" y="0"/>
                      <a:pt x="34" y="0"/>
                      <a:pt x="30" y="1"/>
                    </a:cubicBezTo>
                    <a:cubicBezTo>
                      <a:pt x="20" y="4"/>
                      <a:pt x="17" y="12"/>
                      <a:pt x="12" y="23"/>
                    </a:cubicBezTo>
                    <a:cubicBezTo>
                      <a:pt x="9" y="30"/>
                      <a:pt x="0" y="31"/>
                      <a:pt x="0" y="52"/>
                    </a:cubicBezTo>
                    <a:cubicBezTo>
                      <a:pt x="0" y="55"/>
                      <a:pt x="2" y="57"/>
                      <a:pt x="4" y="57"/>
                    </a:cubicBezTo>
                    <a:cubicBezTo>
                      <a:pt x="87" y="57"/>
                      <a:pt x="87" y="57"/>
                      <a:pt x="87" y="57"/>
                    </a:cubicBezTo>
                    <a:cubicBezTo>
                      <a:pt x="89" y="57"/>
                      <a:pt x="91" y="55"/>
                      <a:pt x="92" y="53"/>
                    </a:cubicBezTo>
                    <a:cubicBezTo>
                      <a:pt x="96" y="23"/>
                      <a:pt x="69" y="22"/>
                      <a:pt x="69" y="22"/>
                    </a:cubicBezTo>
                    <a:close/>
                    <a:moveTo>
                      <a:pt x="21" y="17"/>
                    </a:moveTo>
                    <a:cubicBezTo>
                      <a:pt x="24" y="11"/>
                      <a:pt x="27" y="8"/>
                      <a:pt x="32" y="7"/>
                    </a:cubicBezTo>
                    <a:cubicBezTo>
                      <a:pt x="33" y="6"/>
                      <a:pt x="34" y="6"/>
                      <a:pt x="35" y="6"/>
                    </a:cubicBezTo>
                    <a:cubicBezTo>
                      <a:pt x="35" y="21"/>
                      <a:pt x="35" y="21"/>
                      <a:pt x="35" y="21"/>
                    </a:cubicBezTo>
                    <a:cubicBezTo>
                      <a:pt x="30" y="21"/>
                      <a:pt x="26" y="21"/>
                      <a:pt x="24" y="21"/>
                    </a:cubicBezTo>
                    <a:cubicBezTo>
                      <a:pt x="21" y="21"/>
                      <a:pt x="20" y="20"/>
                      <a:pt x="21" y="17"/>
                    </a:cubicBezTo>
                    <a:close/>
                    <a:moveTo>
                      <a:pt x="38" y="21"/>
                    </a:moveTo>
                    <a:cubicBezTo>
                      <a:pt x="38" y="6"/>
                      <a:pt x="38" y="6"/>
                      <a:pt x="38" y="6"/>
                    </a:cubicBezTo>
                    <a:cubicBezTo>
                      <a:pt x="39" y="6"/>
                      <a:pt x="40" y="6"/>
                      <a:pt x="41" y="6"/>
                    </a:cubicBezTo>
                    <a:cubicBezTo>
                      <a:pt x="48" y="6"/>
                      <a:pt x="54" y="7"/>
                      <a:pt x="55" y="8"/>
                    </a:cubicBezTo>
                    <a:cubicBezTo>
                      <a:pt x="58" y="10"/>
                      <a:pt x="61" y="17"/>
                      <a:pt x="62" y="22"/>
                    </a:cubicBezTo>
                    <a:cubicBezTo>
                      <a:pt x="57" y="22"/>
                      <a:pt x="47" y="21"/>
                      <a:pt x="38" y="21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24" name="Freeform 29">
                <a:extLst>
                  <a:ext uri="{FF2B5EF4-FFF2-40B4-BE49-F238E27FC236}">
                    <a16:creationId xmlns:a16="http://schemas.microsoft.com/office/drawing/2014/main" id="{65357059-6F37-464D-A20F-1AB613F5A9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9" y="2255"/>
                <a:ext cx="22" cy="11"/>
              </a:xfrm>
              <a:custGeom>
                <a:avLst/>
                <a:gdLst>
                  <a:gd name="T0" fmla="*/ 5 w 8"/>
                  <a:gd name="T1" fmla="*/ 4 h 4"/>
                  <a:gd name="T2" fmla="*/ 2 w 8"/>
                  <a:gd name="T3" fmla="*/ 4 h 4"/>
                  <a:gd name="T4" fmla="*/ 0 w 8"/>
                  <a:gd name="T5" fmla="*/ 2 h 4"/>
                  <a:gd name="T6" fmla="*/ 2 w 8"/>
                  <a:gd name="T7" fmla="*/ 0 h 4"/>
                  <a:gd name="T8" fmla="*/ 5 w 8"/>
                  <a:gd name="T9" fmla="*/ 0 h 4"/>
                  <a:gd name="T10" fmla="*/ 8 w 8"/>
                  <a:gd name="T11" fmla="*/ 2 h 4"/>
                  <a:gd name="T12" fmla="*/ 5 w 8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4">
                    <a:moveTo>
                      <a:pt x="5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3"/>
                      <a:pt x="7" y="4"/>
                      <a:pt x="5" y="4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25" name="Freeform 30">
                <a:extLst>
                  <a:ext uri="{FF2B5EF4-FFF2-40B4-BE49-F238E27FC236}">
                    <a16:creationId xmlns:a16="http://schemas.microsoft.com/office/drawing/2014/main" id="{C5EB33D9-A8F0-49E0-95C5-BD0BD9D5FF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2" y="2255"/>
                <a:ext cx="20" cy="11"/>
              </a:xfrm>
              <a:custGeom>
                <a:avLst/>
                <a:gdLst>
                  <a:gd name="T0" fmla="*/ 5 w 7"/>
                  <a:gd name="T1" fmla="*/ 4 h 4"/>
                  <a:gd name="T2" fmla="*/ 2 w 7"/>
                  <a:gd name="T3" fmla="*/ 4 h 4"/>
                  <a:gd name="T4" fmla="*/ 0 w 7"/>
                  <a:gd name="T5" fmla="*/ 2 h 4"/>
                  <a:gd name="T6" fmla="*/ 2 w 7"/>
                  <a:gd name="T7" fmla="*/ 0 h 4"/>
                  <a:gd name="T8" fmla="*/ 5 w 7"/>
                  <a:gd name="T9" fmla="*/ 0 h 4"/>
                  <a:gd name="T10" fmla="*/ 7 w 7"/>
                  <a:gd name="T11" fmla="*/ 2 h 4"/>
                  <a:gd name="T12" fmla="*/ 5 w 7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4">
                    <a:moveTo>
                      <a:pt x="5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6" y="0"/>
                      <a:pt x="7" y="1"/>
                      <a:pt x="7" y="2"/>
                    </a:cubicBezTo>
                    <a:cubicBezTo>
                      <a:pt x="7" y="3"/>
                      <a:pt x="6" y="4"/>
                      <a:pt x="5" y="4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26" name="Freeform 31">
                <a:extLst>
                  <a:ext uri="{FF2B5EF4-FFF2-40B4-BE49-F238E27FC236}">
                    <a16:creationId xmlns:a16="http://schemas.microsoft.com/office/drawing/2014/main" id="{064C44D2-F7E8-4E14-8C27-7FE5479BAB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7" y="2201"/>
                <a:ext cx="28" cy="14"/>
              </a:xfrm>
              <a:custGeom>
                <a:avLst/>
                <a:gdLst>
                  <a:gd name="T0" fmla="*/ 8 w 10"/>
                  <a:gd name="T1" fmla="*/ 5 h 5"/>
                  <a:gd name="T2" fmla="*/ 2 w 10"/>
                  <a:gd name="T3" fmla="*/ 5 h 5"/>
                  <a:gd name="T4" fmla="*/ 0 w 10"/>
                  <a:gd name="T5" fmla="*/ 2 h 5"/>
                  <a:gd name="T6" fmla="*/ 2 w 10"/>
                  <a:gd name="T7" fmla="*/ 0 h 5"/>
                  <a:gd name="T8" fmla="*/ 8 w 10"/>
                  <a:gd name="T9" fmla="*/ 0 h 5"/>
                  <a:gd name="T10" fmla="*/ 10 w 10"/>
                  <a:gd name="T11" fmla="*/ 2 h 5"/>
                  <a:gd name="T12" fmla="*/ 8 w 10"/>
                  <a:gd name="T1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5">
                    <a:moveTo>
                      <a:pt x="8" y="5"/>
                    </a:moveTo>
                    <a:cubicBezTo>
                      <a:pt x="2" y="5"/>
                      <a:pt x="2" y="5"/>
                      <a:pt x="2" y="5"/>
                    </a:cubicBezTo>
                    <a:cubicBezTo>
                      <a:pt x="1" y="5"/>
                      <a:pt x="0" y="4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9" y="0"/>
                      <a:pt x="10" y="1"/>
                      <a:pt x="10" y="2"/>
                    </a:cubicBezTo>
                    <a:cubicBezTo>
                      <a:pt x="10" y="4"/>
                      <a:pt x="9" y="5"/>
                      <a:pt x="8" y="5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27" name="Freeform 32">
                <a:extLst>
                  <a:ext uri="{FF2B5EF4-FFF2-40B4-BE49-F238E27FC236}">
                    <a16:creationId xmlns:a16="http://schemas.microsoft.com/office/drawing/2014/main" id="{F4D74E5A-7975-4378-BFD5-3D019C90F7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3" y="2238"/>
                <a:ext cx="81" cy="43"/>
              </a:xfrm>
              <a:custGeom>
                <a:avLst/>
                <a:gdLst>
                  <a:gd name="T0" fmla="*/ 0 w 29"/>
                  <a:gd name="T1" fmla="*/ 15 h 15"/>
                  <a:gd name="T2" fmla="*/ 15 w 29"/>
                  <a:gd name="T3" fmla="*/ 0 h 15"/>
                  <a:gd name="T4" fmla="*/ 29 w 29"/>
                  <a:gd name="T5" fmla="*/ 15 h 15"/>
                  <a:gd name="T6" fmla="*/ 0 w 29"/>
                  <a:gd name="T7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15">
                    <a:moveTo>
                      <a:pt x="0" y="15"/>
                    </a:moveTo>
                    <a:cubicBezTo>
                      <a:pt x="0" y="7"/>
                      <a:pt x="7" y="0"/>
                      <a:pt x="15" y="0"/>
                    </a:cubicBezTo>
                    <a:cubicBezTo>
                      <a:pt x="23" y="0"/>
                      <a:pt x="29" y="7"/>
                      <a:pt x="29" y="15"/>
                    </a:cubicBez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28" name="Oval 33">
                <a:extLst>
                  <a:ext uri="{FF2B5EF4-FFF2-40B4-BE49-F238E27FC236}">
                    <a16:creationId xmlns:a16="http://schemas.microsoft.com/office/drawing/2014/main" id="{87FFE3E8-0DEE-42A8-A547-C504720AA5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4" y="2252"/>
                <a:ext cx="59" cy="57"/>
              </a:xfrm>
              <a:prstGeom prst="ellipse">
                <a:avLst/>
              </a:pr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29" name="Oval 34">
                <a:extLst>
                  <a:ext uri="{FF2B5EF4-FFF2-40B4-BE49-F238E27FC236}">
                    <a16:creationId xmlns:a16="http://schemas.microsoft.com/office/drawing/2014/main" id="{901056E1-5066-4D26-90D5-68116CD219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58" y="2264"/>
                <a:ext cx="34" cy="3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30" name="Freeform 35">
                <a:extLst>
                  <a:ext uri="{FF2B5EF4-FFF2-40B4-BE49-F238E27FC236}">
                    <a16:creationId xmlns:a16="http://schemas.microsoft.com/office/drawing/2014/main" id="{A91BEEA0-F389-42A8-8DAF-8D6BC44379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6" y="2238"/>
                <a:ext cx="84" cy="43"/>
              </a:xfrm>
              <a:custGeom>
                <a:avLst/>
                <a:gdLst>
                  <a:gd name="T0" fmla="*/ 0 w 30"/>
                  <a:gd name="T1" fmla="*/ 15 h 15"/>
                  <a:gd name="T2" fmla="*/ 15 w 30"/>
                  <a:gd name="T3" fmla="*/ 0 h 15"/>
                  <a:gd name="T4" fmla="*/ 30 w 30"/>
                  <a:gd name="T5" fmla="*/ 15 h 15"/>
                  <a:gd name="T6" fmla="*/ 0 w 30"/>
                  <a:gd name="T7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15">
                    <a:moveTo>
                      <a:pt x="0" y="15"/>
                    </a:moveTo>
                    <a:cubicBezTo>
                      <a:pt x="0" y="7"/>
                      <a:pt x="7" y="0"/>
                      <a:pt x="15" y="0"/>
                    </a:cubicBezTo>
                    <a:cubicBezTo>
                      <a:pt x="23" y="0"/>
                      <a:pt x="30" y="7"/>
                      <a:pt x="30" y="15"/>
                    </a:cubicBez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31" name="Freeform 36">
                <a:extLst>
                  <a:ext uri="{FF2B5EF4-FFF2-40B4-BE49-F238E27FC236}">
                    <a16:creationId xmlns:a16="http://schemas.microsoft.com/office/drawing/2014/main" id="{B639F23D-CDC0-4394-8D37-058D826C29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0" y="2252"/>
                <a:ext cx="56" cy="57"/>
              </a:xfrm>
              <a:custGeom>
                <a:avLst/>
                <a:gdLst>
                  <a:gd name="T0" fmla="*/ 10 w 20"/>
                  <a:gd name="T1" fmla="*/ 0 h 20"/>
                  <a:gd name="T2" fmla="*/ 20 w 20"/>
                  <a:gd name="T3" fmla="*/ 10 h 20"/>
                  <a:gd name="T4" fmla="*/ 10 w 20"/>
                  <a:gd name="T5" fmla="*/ 20 h 20"/>
                  <a:gd name="T6" fmla="*/ 0 w 20"/>
                  <a:gd name="T7" fmla="*/ 10 h 20"/>
                  <a:gd name="T8" fmla="*/ 10 w 20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0">
                    <a:moveTo>
                      <a:pt x="10" y="0"/>
                    </a:moveTo>
                    <a:cubicBezTo>
                      <a:pt x="16" y="0"/>
                      <a:pt x="20" y="4"/>
                      <a:pt x="20" y="10"/>
                    </a:cubicBezTo>
                    <a:cubicBezTo>
                      <a:pt x="20" y="16"/>
                      <a:pt x="15" y="20"/>
                      <a:pt x="10" y="20"/>
                    </a:cubicBezTo>
                    <a:cubicBezTo>
                      <a:pt x="4" y="20"/>
                      <a:pt x="0" y="16"/>
                      <a:pt x="0" y="10"/>
                    </a:cubicBezTo>
                    <a:cubicBezTo>
                      <a:pt x="0" y="4"/>
                      <a:pt x="4" y="0"/>
                      <a:pt x="10" y="0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32" name="Oval 37">
                <a:extLst>
                  <a:ext uri="{FF2B5EF4-FFF2-40B4-BE49-F238E27FC236}">
                    <a16:creationId xmlns:a16="http://schemas.microsoft.com/office/drawing/2014/main" id="{B0E6B456-DA0D-49BC-885E-C2CA075187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1" y="2264"/>
                <a:ext cx="34" cy="3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72" name="Groupe 471">
            <a:extLst>
              <a:ext uri="{FF2B5EF4-FFF2-40B4-BE49-F238E27FC236}">
                <a16:creationId xmlns:a16="http://schemas.microsoft.com/office/drawing/2014/main" id="{50370B88-CA1A-4161-8E00-6C75EE10E72D}"/>
              </a:ext>
            </a:extLst>
          </p:cNvPr>
          <p:cNvGrpSpPr/>
          <p:nvPr/>
        </p:nvGrpSpPr>
        <p:grpSpPr>
          <a:xfrm>
            <a:off x="5859097" y="3103488"/>
            <a:ext cx="865004" cy="865444"/>
            <a:chOff x="4396124" y="2962223"/>
            <a:chExt cx="648743" cy="649073"/>
          </a:xfrm>
        </p:grpSpPr>
        <p:sp>
          <p:nvSpPr>
            <p:cNvPr id="803" name="Oval 5">
              <a:extLst>
                <a:ext uri="{FF2B5EF4-FFF2-40B4-BE49-F238E27FC236}">
                  <a16:creationId xmlns:a16="http://schemas.microsoft.com/office/drawing/2014/main" id="{A146063B-CF9D-4939-AF96-9F5EE9F77F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6124" y="2962223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804" name="Group 40">
              <a:extLst>
                <a:ext uri="{FF2B5EF4-FFF2-40B4-BE49-F238E27FC236}">
                  <a16:creationId xmlns:a16="http://schemas.microsoft.com/office/drawing/2014/main" id="{58D1765A-E67D-404A-85CB-C231000039F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513304" y="3083719"/>
              <a:ext cx="414254" cy="401632"/>
              <a:chOff x="2793" y="1894"/>
              <a:chExt cx="361" cy="350"/>
            </a:xfrm>
          </p:grpSpPr>
          <p:sp>
            <p:nvSpPr>
              <p:cNvPr id="805" name="Freeform 41">
                <a:extLst>
                  <a:ext uri="{FF2B5EF4-FFF2-40B4-BE49-F238E27FC236}">
                    <a16:creationId xmlns:a16="http://schemas.microsoft.com/office/drawing/2014/main" id="{250F67FA-4FF2-4FF3-8BD5-695EC40894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7" y="1925"/>
                <a:ext cx="253" cy="62"/>
              </a:xfrm>
              <a:custGeom>
                <a:avLst/>
                <a:gdLst>
                  <a:gd name="T0" fmla="*/ 45 w 90"/>
                  <a:gd name="T1" fmla="*/ 0 h 22"/>
                  <a:gd name="T2" fmla="*/ 0 w 90"/>
                  <a:gd name="T3" fmla="*/ 19 h 22"/>
                  <a:gd name="T4" fmla="*/ 3 w 90"/>
                  <a:gd name="T5" fmla="*/ 22 h 22"/>
                  <a:gd name="T6" fmla="*/ 45 w 90"/>
                  <a:gd name="T7" fmla="*/ 4 h 22"/>
                  <a:gd name="T8" fmla="*/ 87 w 90"/>
                  <a:gd name="T9" fmla="*/ 22 h 22"/>
                  <a:gd name="T10" fmla="*/ 90 w 90"/>
                  <a:gd name="T11" fmla="*/ 19 h 22"/>
                  <a:gd name="T12" fmla="*/ 45 w 90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0" h="22">
                    <a:moveTo>
                      <a:pt x="45" y="0"/>
                    </a:moveTo>
                    <a:cubicBezTo>
                      <a:pt x="28" y="0"/>
                      <a:pt x="12" y="7"/>
                      <a:pt x="0" y="19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14" y="10"/>
                      <a:pt x="29" y="4"/>
                      <a:pt x="45" y="4"/>
                    </a:cubicBezTo>
                    <a:cubicBezTo>
                      <a:pt x="61" y="4"/>
                      <a:pt x="76" y="10"/>
                      <a:pt x="87" y="22"/>
                    </a:cubicBezTo>
                    <a:cubicBezTo>
                      <a:pt x="90" y="19"/>
                      <a:pt x="90" y="19"/>
                      <a:pt x="90" y="19"/>
                    </a:cubicBezTo>
                    <a:cubicBezTo>
                      <a:pt x="78" y="7"/>
                      <a:pt x="62" y="0"/>
                      <a:pt x="45" y="0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6" name="Freeform 42">
                <a:extLst>
                  <a:ext uri="{FF2B5EF4-FFF2-40B4-BE49-F238E27FC236}">
                    <a16:creationId xmlns:a16="http://schemas.microsoft.com/office/drawing/2014/main" id="{B39599AF-2570-4BB9-AD7E-5A99830A45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2" y="1945"/>
                <a:ext cx="42" cy="48"/>
              </a:xfrm>
              <a:custGeom>
                <a:avLst/>
                <a:gdLst>
                  <a:gd name="T0" fmla="*/ 11 w 15"/>
                  <a:gd name="T1" fmla="*/ 3 h 17"/>
                  <a:gd name="T2" fmla="*/ 0 w 15"/>
                  <a:gd name="T3" fmla="*/ 3 h 17"/>
                  <a:gd name="T4" fmla="*/ 3 w 15"/>
                  <a:gd name="T5" fmla="*/ 6 h 17"/>
                  <a:gd name="T6" fmla="*/ 9 w 15"/>
                  <a:gd name="T7" fmla="*/ 6 h 17"/>
                  <a:gd name="T8" fmla="*/ 9 w 15"/>
                  <a:gd name="T9" fmla="*/ 12 h 17"/>
                  <a:gd name="T10" fmla="*/ 3 w 15"/>
                  <a:gd name="T11" fmla="*/ 12 h 17"/>
                  <a:gd name="T12" fmla="*/ 0 w 15"/>
                  <a:gd name="T13" fmla="*/ 15 h 17"/>
                  <a:gd name="T14" fmla="*/ 6 w 15"/>
                  <a:gd name="T15" fmla="*/ 17 h 17"/>
                  <a:gd name="T16" fmla="*/ 11 w 15"/>
                  <a:gd name="T17" fmla="*/ 15 h 17"/>
                  <a:gd name="T18" fmla="*/ 11 w 15"/>
                  <a:gd name="T19" fmla="*/ 3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" h="17">
                    <a:moveTo>
                      <a:pt x="11" y="3"/>
                    </a:moveTo>
                    <a:cubicBezTo>
                      <a:pt x="8" y="0"/>
                      <a:pt x="3" y="0"/>
                      <a:pt x="0" y="3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5" y="5"/>
                      <a:pt x="7" y="5"/>
                      <a:pt x="9" y="6"/>
                    </a:cubicBezTo>
                    <a:cubicBezTo>
                      <a:pt x="10" y="8"/>
                      <a:pt x="10" y="10"/>
                      <a:pt x="9" y="12"/>
                    </a:cubicBezTo>
                    <a:cubicBezTo>
                      <a:pt x="7" y="13"/>
                      <a:pt x="5" y="13"/>
                      <a:pt x="3" y="12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6"/>
                      <a:pt x="4" y="17"/>
                      <a:pt x="6" y="17"/>
                    </a:cubicBezTo>
                    <a:cubicBezTo>
                      <a:pt x="8" y="17"/>
                      <a:pt x="10" y="16"/>
                      <a:pt x="11" y="15"/>
                    </a:cubicBezTo>
                    <a:cubicBezTo>
                      <a:pt x="15" y="12"/>
                      <a:pt x="15" y="7"/>
                      <a:pt x="11" y="3"/>
                    </a:cubicBezTo>
                    <a:close/>
                  </a:path>
                </a:pathLst>
              </a:custGeom>
              <a:solidFill>
                <a:srgbClr val="2B45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7" name="Freeform 43">
                <a:extLst>
                  <a:ext uri="{FF2B5EF4-FFF2-40B4-BE49-F238E27FC236}">
                    <a16:creationId xmlns:a16="http://schemas.microsoft.com/office/drawing/2014/main" id="{CE46DE0A-A55A-4F9C-82B0-9ECB209278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6" y="1945"/>
                <a:ext cx="39" cy="48"/>
              </a:xfrm>
              <a:custGeom>
                <a:avLst/>
                <a:gdLst>
                  <a:gd name="T0" fmla="*/ 5 w 14"/>
                  <a:gd name="T1" fmla="*/ 12 h 17"/>
                  <a:gd name="T2" fmla="*/ 4 w 14"/>
                  <a:gd name="T3" fmla="*/ 9 h 17"/>
                  <a:gd name="T4" fmla="*/ 5 w 14"/>
                  <a:gd name="T5" fmla="*/ 6 h 17"/>
                  <a:gd name="T6" fmla="*/ 11 w 14"/>
                  <a:gd name="T7" fmla="*/ 6 h 17"/>
                  <a:gd name="T8" fmla="*/ 14 w 14"/>
                  <a:gd name="T9" fmla="*/ 3 h 17"/>
                  <a:gd name="T10" fmla="*/ 3 w 14"/>
                  <a:gd name="T11" fmla="*/ 3 h 17"/>
                  <a:gd name="T12" fmla="*/ 0 w 14"/>
                  <a:gd name="T13" fmla="*/ 9 h 17"/>
                  <a:gd name="T14" fmla="*/ 3 w 14"/>
                  <a:gd name="T15" fmla="*/ 15 h 17"/>
                  <a:gd name="T16" fmla="*/ 8 w 14"/>
                  <a:gd name="T17" fmla="*/ 17 h 17"/>
                  <a:gd name="T18" fmla="*/ 14 w 14"/>
                  <a:gd name="T19" fmla="*/ 15 h 17"/>
                  <a:gd name="T20" fmla="*/ 11 w 14"/>
                  <a:gd name="T21" fmla="*/ 12 h 17"/>
                  <a:gd name="T22" fmla="*/ 5 w 14"/>
                  <a:gd name="T23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" h="17">
                    <a:moveTo>
                      <a:pt x="5" y="12"/>
                    </a:moveTo>
                    <a:cubicBezTo>
                      <a:pt x="5" y="11"/>
                      <a:pt x="4" y="10"/>
                      <a:pt x="4" y="9"/>
                    </a:cubicBezTo>
                    <a:cubicBezTo>
                      <a:pt x="4" y="8"/>
                      <a:pt x="5" y="7"/>
                      <a:pt x="5" y="6"/>
                    </a:cubicBezTo>
                    <a:cubicBezTo>
                      <a:pt x="7" y="5"/>
                      <a:pt x="9" y="5"/>
                      <a:pt x="11" y="6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1" y="0"/>
                      <a:pt x="6" y="0"/>
                      <a:pt x="3" y="3"/>
                    </a:cubicBezTo>
                    <a:cubicBezTo>
                      <a:pt x="1" y="5"/>
                      <a:pt x="0" y="7"/>
                      <a:pt x="0" y="9"/>
                    </a:cubicBezTo>
                    <a:cubicBezTo>
                      <a:pt x="0" y="11"/>
                      <a:pt x="1" y="13"/>
                      <a:pt x="3" y="15"/>
                    </a:cubicBezTo>
                    <a:cubicBezTo>
                      <a:pt x="4" y="16"/>
                      <a:pt x="6" y="17"/>
                      <a:pt x="8" y="17"/>
                    </a:cubicBezTo>
                    <a:cubicBezTo>
                      <a:pt x="10" y="17"/>
                      <a:pt x="12" y="16"/>
                      <a:pt x="14" y="15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9" y="13"/>
                      <a:pt x="7" y="13"/>
                      <a:pt x="5" y="12"/>
                    </a:cubicBezTo>
                    <a:close/>
                  </a:path>
                </a:pathLst>
              </a:custGeom>
              <a:solidFill>
                <a:srgbClr val="2B45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8" name="Freeform 44">
                <a:extLst>
                  <a:ext uri="{FF2B5EF4-FFF2-40B4-BE49-F238E27FC236}">
                    <a16:creationId xmlns:a16="http://schemas.microsoft.com/office/drawing/2014/main" id="{7BE21C9C-9716-4389-840A-17FD26FEAC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9" y="2188"/>
                <a:ext cx="249" cy="56"/>
              </a:xfrm>
              <a:custGeom>
                <a:avLst/>
                <a:gdLst>
                  <a:gd name="T0" fmla="*/ 86 w 88"/>
                  <a:gd name="T1" fmla="*/ 20 h 20"/>
                  <a:gd name="T2" fmla="*/ 2 w 88"/>
                  <a:gd name="T3" fmla="*/ 20 h 20"/>
                  <a:gd name="T4" fmla="*/ 0 w 88"/>
                  <a:gd name="T5" fmla="*/ 18 h 20"/>
                  <a:gd name="T6" fmla="*/ 0 w 88"/>
                  <a:gd name="T7" fmla="*/ 11 h 20"/>
                  <a:gd name="T8" fmla="*/ 11 w 88"/>
                  <a:gd name="T9" fmla="*/ 0 h 20"/>
                  <a:gd name="T10" fmla="*/ 77 w 88"/>
                  <a:gd name="T11" fmla="*/ 0 h 20"/>
                  <a:gd name="T12" fmla="*/ 88 w 88"/>
                  <a:gd name="T13" fmla="*/ 11 h 20"/>
                  <a:gd name="T14" fmla="*/ 88 w 88"/>
                  <a:gd name="T15" fmla="*/ 18 h 20"/>
                  <a:gd name="T16" fmla="*/ 86 w 88"/>
                  <a:gd name="T17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8" h="20">
                    <a:moveTo>
                      <a:pt x="86" y="20"/>
                    </a:moveTo>
                    <a:cubicBezTo>
                      <a:pt x="2" y="20"/>
                      <a:pt x="2" y="20"/>
                      <a:pt x="2" y="20"/>
                    </a:cubicBezTo>
                    <a:cubicBezTo>
                      <a:pt x="1" y="20"/>
                      <a:pt x="0" y="19"/>
                      <a:pt x="0" y="18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5"/>
                      <a:pt x="5" y="0"/>
                      <a:pt x="11" y="0"/>
                    </a:cubicBezTo>
                    <a:cubicBezTo>
                      <a:pt x="77" y="0"/>
                      <a:pt x="77" y="0"/>
                      <a:pt x="77" y="0"/>
                    </a:cubicBezTo>
                    <a:cubicBezTo>
                      <a:pt x="83" y="0"/>
                      <a:pt x="88" y="5"/>
                      <a:pt x="88" y="11"/>
                    </a:cubicBezTo>
                    <a:cubicBezTo>
                      <a:pt x="88" y="18"/>
                      <a:pt x="88" y="18"/>
                      <a:pt x="88" y="18"/>
                    </a:cubicBezTo>
                    <a:cubicBezTo>
                      <a:pt x="88" y="19"/>
                      <a:pt x="87" y="20"/>
                      <a:pt x="86" y="20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9" name="Freeform 45">
                <a:extLst>
                  <a:ext uri="{FF2B5EF4-FFF2-40B4-BE49-F238E27FC236}">
                    <a16:creationId xmlns:a16="http://schemas.microsoft.com/office/drawing/2014/main" id="{BCE52EE1-7F05-4A12-8A96-4B928A3D7D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1" y="1894"/>
                <a:ext cx="22" cy="260"/>
              </a:xfrm>
              <a:custGeom>
                <a:avLst/>
                <a:gdLst>
                  <a:gd name="T0" fmla="*/ 0 w 8"/>
                  <a:gd name="T1" fmla="*/ 8 h 92"/>
                  <a:gd name="T2" fmla="*/ 0 w 8"/>
                  <a:gd name="T3" fmla="*/ 92 h 92"/>
                  <a:gd name="T4" fmla="*/ 8 w 8"/>
                  <a:gd name="T5" fmla="*/ 92 h 92"/>
                  <a:gd name="T6" fmla="*/ 8 w 8"/>
                  <a:gd name="T7" fmla="*/ 0 h 92"/>
                  <a:gd name="T8" fmla="*/ 0 w 8"/>
                  <a:gd name="T9" fmla="*/ 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92">
                    <a:moveTo>
                      <a:pt x="0" y="8"/>
                    </a:moveTo>
                    <a:cubicBezTo>
                      <a:pt x="0" y="92"/>
                      <a:pt x="0" y="92"/>
                      <a:pt x="0" y="92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4"/>
                      <a:pt x="0" y="8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10" name="Freeform 46">
                <a:extLst>
                  <a:ext uri="{FF2B5EF4-FFF2-40B4-BE49-F238E27FC236}">
                    <a16:creationId xmlns:a16="http://schemas.microsoft.com/office/drawing/2014/main" id="{5F968D0E-5D41-40CE-B329-FB2A81B714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3" y="1894"/>
                <a:ext cx="23" cy="260"/>
              </a:xfrm>
              <a:custGeom>
                <a:avLst/>
                <a:gdLst>
                  <a:gd name="T0" fmla="*/ 8 w 8"/>
                  <a:gd name="T1" fmla="*/ 8 h 92"/>
                  <a:gd name="T2" fmla="*/ 0 w 8"/>
                  <a:gd name="T3" fmla="*/ 0 h 92"/>
                  <a:gd name="T4" fmla="*/ 0 w 8"/>
                  <a:gd name="T5" fmla="*/ 92 h 92"/>
                  <a:gd name="T6" fmla="*/ 8 w 8"/>
                  <a:gd name="T7" fmla="*/ 92 h 92"/>
                  <a:gd name="T8" fmla="*/ 8 w 8"/>
                  <a:gd name="T9" fmla="*/ 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92">
                    <a:moveTo>
                      <a:pt x="8" y="8"/>
                    </a:moveTo>
                    <a:cubicBezTo>
                      <a:pt x="8" y="4"/>
                      <a:pt x="4" y="0"/>
                      <a:pt x="0" y="0"/>
                    </a:cubicBezTo>
                    <a:cubicBezTo>
                      <a:pt x="0" y="92"/>
                      <a:pt x="0" y="92"/>
                      <a:pt x="0" y="92"/>
                    </a:cubicBezTo>
                    <a:cubicBezTo>
                      <a:pt x="8" y="92"/>
                      <a:pt x="8" y="92"/>
                      <a:pt x="8" y="92"/>
                    </a:cubicBezTo>
                    <a:lnTo>
                      <a:pt x="8" y="8"/>
                    </a:ln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11" name="Freeform 47">
                <a:extLst>
                  <a:ext uri="{FF2B5EF4-FFF2-40B4-BE49-F238E27FC236}">
                    <a16:creationId xmlns:a16="http://schemas.microsoft.com/office/drawing/2014/main" id="{0CE3D449-26B8-4800-9F37-D1FF366704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5" y="2142"/>
                <a:ext cx="157" cy="46"/>
              </a:xfrm>
              <a:custGeom>
                <a:avLst/>
                <a:gdLst>
                  <a:gd name="T0" fmla="*/ 56 w 56"/>
                  <a:gd name="T1" fmla="*/ 16 h 16"/>
                  <a:gd name="T2" fmla="*/ 0 w 56"/>
                  <a:gd name="T3" fmla="*/ 16 h 16"/>
                  <a:gd name="T4" fmla="*/ 0 w 56"/>
                  <a:gd name="T5" fmla="*/ 8 h 16"/>
                  <a:gd name="T6" fmla="*/ 8 w 56"/>
                  <a:gd name="T7" fmla="*/ 0 h 16"/>
                  <a:gd name="T8" fmla="*/ 48 w 56"/>
                  <a:gd name="T9" fmla="*/ 0 h 16"/>
                  <a:gd name="T10" fmla="*/ 56 w 56"/>
                  <a:gd name="T11" fmla="*/ 8 h 16"/>
                  <a:gd name="T12" fmla="*/ 56 w 56"/>
                  <a:gd name="T13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" h="16">
                    <a:moveTo>
                      <a:pt x="56" y="16"/>
                    </a:moveTo>
                    <a:cubicBezTo>
                      <a:pt x="0" y="16"/>
                      <a:pt x="0" y="16"/>
                      <a:pt x="0" y="16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4"/>
                      <a:pt x="4" y="0"/>
                      <a:pt x="8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52" y="0"/>
                      <a:pt x="56" y="4"/>
                      <a:pt x="56" y="8"/>
                    </a:cubicBezTo>
                    <a:lnTo>
                      <a:pt x="56" y="16"/>
                    </a:ln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12" name="Freeform 48">
                <a:extLst>
                  <a:ext uri="{FF2B5EF4-FFF2-40B4-BE49-F238E27FC236}">
                    <a16:creationId xmlns:a16="http://schemas.microsoft.com/office/drawing/2014/main" id="{4EA18C09-5F0C-4078-B6CF-D58F664E94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3" y="1976"/>
                <a:ext cx="113" cy="90"/>
              </a:xfrm>
              <a:custGeom>
                <a:avLst/>
                <a:gdLst>
                  <a:gd name="T0" fmla="*/ 38 w 40"/>
                  <a:gd name="T1" fmla="*/ 32 h 32"/>
                  <a:gd name="T2" fmla="*/ 37 w 40"/>
                  <a:gd name="T3" fmla="*/ 31 h 32"/>
                  <a:gd name="T4" fmla="*/ 20 w 40"/>
                  <a:gd name="T5" fmla="*/ 5 h 32"/>
                  <a:gd name="T6" fmla="*/ 3 w 40"/>
                  <a:gd name="T7" fmla="*/ 31 h 32"/>
                  <a:gd name="T8" fmla="*/ 1 w 40"/>
                  <a:gd name="T9" fmla="*/ 31 h 32"/>
                  <a:gd name="T10" fmla="*/ 0 w 40"/>
                  <a:gd name="T11" fmla="*/ 29 h 32"/>
                  <a:gd name="T12" fmla="*/ 19 w 40"/>
                  <a:gd name="T13" fmla="*/ 1 h 32"/>
                  <a:gd name="T14" fmla="*/ 21 w 40"/>
                  <a:gd name="T15" fmla="*/ 1 h 32"/>
                  <a:gd name="T16" fmla="*/ 40 w 40"/>
                  <a:gd name="T17" fmla="*/ 29 h 32"/>
                  <a:gd name="T18" fmla="*/ 39 w 40"/>
                  <a:gd name="T19" fmla="*/ 31 h 32"/>
                  <a:gd name="T20" fmla="*/ 38 w 40"/>
                  <a:gd name="T2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0" h="32">
                    <a:moveTo>
                      <a:pt x="38" y="32"/>
                    </a:moveTo>
                    <a:cubicBezTo>
                      <a:pt x="38" y="32"/>
                      <a:pt x="37" y="31"/>
                      <a:pt x="37" y="31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3" y="32"/>
                      <a:pt x="2" y="32"/>
                      <a:pt x="1" y="31"/>
                    </a:cubicBezTo>
                    <a:cubicBezTo>
                      <a:pt x="0" y="31"/>
                      <a:pt x="0" y="30"/>
                      <a:pt x="0" y="29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19" y="0"/>
                      <a:pt x="21" y="0"/>
                      <a:pt x="21" y="1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40" y="30"/>
                      <a:pt x="40" y="31"/>
                      <a:pt x="39" y="31"/>
                    </a:cubicBezTo>
                    <a:cubicBezTo>
                      <a:pt x="39" y="32"/>
                      <a:pt x="39" y="32"/>
                      <a:pt x="38" y="32"/>
                    </a:cubicBezTo>
                    <a:close/>
                  </a:path>
                </a:pathLst>
              </a:custGeom>
              <a:solidFill>
                <a:srgbClr val="E523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13" name="Freeform 49">
                <a:extLst>
                  <a:ext uri="{FF2B5EF4-FFF2-40B4-BE49-F238E27FC236}">
                    <a16:creationId xmlns:a16="http://schemas.microsoft.com/office/drawing/2014/main" id="{D4AF2FFB-C20E-4C26-8747-A76F7CAE45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3" y="2061"/>
                <a:ext cx="56" cy="56"/>
              </a:xfrm>
              <a:custGeom>
                <a:avLst/>
                <a:gdLst>
                  <a:gd name="T0" fmla="*/ 0 w 20"/>
                  <a:gd name="T1" fmla="*/ 0 h 20"/>
                  <a:gd name="T2" fmla="*/ 20 w 20"/>
                  <a:gd name="T3" fmla="*/ 20 h 20"/>
                  <a:gd name="T4" fmla="*/ 20 w 20"/>
                  <a:gd name="T5" fmla="*/ 0 h 20"/>
                  <a:gd name="T6" fmla="*/ 0 w 20"/>
                  <a:gd name="T7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20">
                    <a:moveTo>
                      <a:pt x="0" y="0"/>
                    </a:moveTo>
                    <a:cubicBezTo>
                      <a:pt x="0" y="11"/>
                      <a:pt x="9" y="20"/>
                      <a:pt x="20" y="20"/>
                    </a:cubicBezTo>
                    <a:cubicBezTo>
                      <a:pt x="20" y="0"/>
                      <a:pt x="20" y="0"/>
                      <a:pt x="2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14" name="Freeform 50">
                <a:extLst>
                  <a:ext uri="{FF2B5EF4-FFF2-40B4-BE49-F238E27FC236}">
                    <a16:creationId xmlns:a16="http://schemas.microsoft.com/office/drawing/2014/main" id="{D0104655-AFA3-4E46-B6D4-612BFEF419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9" y="2061"/>
                <a:ext cx="57" cy="56"/>
              </a:xfrm>
              <a:custGeom>
                <a:avLst/>
                <a:gdLst>
                  <a:gd name="T0" fmla="*/ 0 w 20"/>
                  <a:gd name="T1" fmla="*/ 0 h 20"/>
                  <a:gd name="T2" fmla="*/ 0 w 20"/>
                  <a:gd name="T3" fmla="*/ 20 h 20"/>
                  <a:gd name="T4" fmla="*/ 20 w 20"/>
                  <a:gd name="T5" fmla="*/ 0 h 20"/>
                  <a:gd name="T6" fmla="*/ 0 w 20"/>
                  <a:gd name="T7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20">
                    <a:moveTo>
                      <a:pt x="0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11" y="20"/>
                      <a:pt x="20" y="11"/>
                      <a:pt x="2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15" name="Freeform 51">
                <a:extLst>
                  <a:ext uri="{FF2B5EF4-FFF2-40B4-BE49-F238E27FC236}">
                    <a16:creationId xmlns:a16="http://schemas.microsoft.com/office/drawing/2014/main" id="{4188F0AC-4048-414C-9482-4A6F9FC65B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1" y="1976"/>
                <a:ext cx="113" cy="90"/>
              </a:xfrm>
              <a:custGeom>
                <a:avLst/>
                <a:gdLst>
                  <a:gd name="T0" fmla="*/ 2 w 40"/>
                  <a:gd name="T1" fmla="*/ 32 h 32"/>
                  <a:gd name="T2" fmla="*/ 1 w 40"/>
                  <a:gd name="T3" fmla="*/ 31 h 32"/>
                  <a:gd name="T4" fmla="*/ 0 w 40"/>
                  <a:gd name="T5" fmla="*/ 29 h 32"/>
                  <a:gd name="T6" fmla="*/ 19 w 40"/>
                  <a:gd name="T7" fmla="*/ 1 h 32"/>
                  <a:gd name="T8" fmla="*/ 20 w 40"/>
                  <a:gd name="T9" fmla="*/ 0 h 32"/>
                  <a:gd name="T10" fmla="*/ 20 w 40"/>
                  <a:gd name="T11" fmla="*/ 0 h 32"/>
                  <a:gd name="T12" fmla="*/ 21 w 40"/>
                  <a:gd name="T13" fmla="*/ 1 h 32"/>
                  <a:gd name="T14" fmla="*/ 40 w 40"/>
                  <a:gd name="T15" fmla="*/ 29 h 32"/>
                  <a:gd name="T16" fmla="*/ 39 w 40"/>
                  <a:gd name="T17" fmla="*/ 31 h 32"/>
                  <a:gd name="T18" fmla="*/ 37 w 40"/>
                  <a:gd name="T19" fmla="*/ 31 h 32"/>
                  <a:gd name="T20" fmla="*/ 20 w 40"/>
                  <a:gd name="T21" fmla="*/ 5 h 32"/>
                  <a:gd name="T22" fmla="*/ 3 w 40"/>
                  <a:gd name="T23" fmla="*/ 31 h 32"/>
                  <a:gd name="T24" fmla="*/ 2 w 40"/>
                  <a:gd name="T25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0" h="32">
                    <a:moveTo>
                      <a:pt x="2" y="32"/>
                    </a:moveTo>
                    <a:cubicBezTo>
                      <a:pt x="1" y="32"/>
                      <a:pt x="1" y="32"/>
                      <a:pt x="1" y="31"/>
                    </a:cubicBezTo>
                    <a:cubicBezTo>
                      <a:pt x="0" y="31"/>
                      <a:pt x="0" y="30"/>
                      <a:pt x="0" y="29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19" y="1"/>
                      <a:pt x="19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1" y="0"/>
                      <a:pt x="21" y="1"/>
                      <a:pt x="21" y="1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40" y="30"/>
                      <a:pt x="40" y="31"/>
                      <a:pt x="39" y="31"/>
                    </a:cubicBezTo>
                    <a:cubicBezTo>
                      <a:pt x="38" y="32"/>
                      <a:pt x="37" y="32"/>
                      <a:pt x="37" y="31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3" y="31"/>
                      <a:pt x="2" y="32"/>
                      <a:pt x="2" y="32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16" name="Freeform 52">
                <a:extLst>
                  <a:ext uri="{FF2B5EF4-FFF2-40B4-BE49-F238E27FC236}">
                    <a16:creationId xmlns:a16="http://schemas.microsoft.com/office/drawing/2014/main" id="{50FCC2C2-FC70-4E28-AFF5-70B290094B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1" y="2061"/>
                <a:ext cx="57" cy="56"/>
              </a:xfrm>
              <a:custGeom>
                <a:avLst/>
                <a:gdLst>
                  <a:gd name="T0" fmla="*/ 0 w 20"/>
                  <a:gd name="T1" fmla="*/ 0 h 20"/>
                  <a:gd name="T2" fmla="*/ 20 w 20"/>
                  <a:gd name="T3" fmla="*/ 20 h 20"/>
                  <a:gd name="T4" fmla="*/ 20 w 20"/>
                  <a:gd name="T5" fmla="*/ 0 h 20"/>
                  <a:gd name="T6" fmla="*/ 0 w 20"/>
                  <a:gd name="T7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20">
                    <a:moveTo>
                      <a:pt x="0" y="0"/>
                    </a:moveTo>
                    <a:cubicBezTo>
                      <a:pt x="0" y="11"/>
                      <a:pt x="9" y="20"/>
                      <a:pt x="20" y="20"/>
                    </a:cubicBezTo>
                    <a:cubicBezTo>
                      <a:pt x="20" y="0"/>
                      <a:pt x="20" y="0"/>
                      <a:pt x="2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17" name="Freeform 53">
                <a:extLst>
                  <a:ext uri="{FF2B5EF4-FFF2-40B4-BE49-F238E27FC236}">
                    <a16:creationId xmlns:a16="http://schemas.microsoft.com/office/drawing/2014/main" id="{4788B857-3B70-407F-9B93-F54BC6A0BC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8" y="2061"/>
                <a:ext cx="56" cy="56"/>
              </a:xfrm>
              <a:custGeom>
                <a:avLst/>
                <a:gdLst>
                  <a:gd name="T0" fmla="*/ 0 w 20"/>
                  <a:gd name="T1" fmla="*/ 0 h 20"/>
                  <a:gd name="T2" fmla="*/ 0 w 20"/>
                  <a:gd name="T3" fmla="*/ 20 h 20"/>
                  <a:gd name="T4" fmla="*/ 20 w 20"/>
                  <a:gd name="T5" fmla="*/ 0 h 20"/>
                  <a:gd name="T6" fmla="*/ 0 w 20"/>
                  <a:gd name="T7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20">
                    <a:moveTo>
                      <a:pt x="0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11" y="20"/>
                      <a:pt x="20" y="11"/>
                      <a:pt x="2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73" name="Groupe 472">
            <a:extLst>
              <a:ext uri="{FF2B5EF4-FFF2-40B4-BE49-F238E27FC236}">
                <a16:creationId xmlns:a16="http://schemas.microsoft.com/office/drawing/2014/main" id="{1D540061-C77E-4A97-8FAC-45499D8BCB93}"/>
              </a:ext>
            </a:extLst>
          </p:cNvPr>
          <p:cNvGrpSpPr/>
          <p:nvPr/>
        </p:nvGrpSpPr>
        <p:grpSpPr>
          <a:xfrm>
            <a:off x="9134113" y="1960229"/>
            <a:ext cx="865004" cy="865444"/>
            <a:chOff x="6852348" y="1988559"/>
            <a:chExt cx="648743" cy="649073"/>
          </a:xfrm>
        </p:grpSpPr>
        <p:sp>
          <p:nvSpPr>
            <p:cNvPr id="782" name="Oval 5">
              <a:extLst>
                <a:ext uri="{FF2B5EF4-FFF2-40B4-BE49-F238E27FC236}">
                  <a16:creationId xmlns:a16="http://schemas.microsoft.com/office/drawing/2014/main" id="{F01606FC-88E9-49BD-A27A-3AB643B924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2348" y="1988559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783" name="Group 56">
              <a:extLst>
                <a:ext uri="{FF2B5EF4-FFF2-40B4-BE49-F238E27FC236}">
                  <a16:creationId xmlns:a16="http://schemas.microsoft.com/office/drawing/2014/main" id="{B0B06A2B-7BF0-45A5-B2EC-4D81928A3A9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80552" y="2128838"/>
              <a:ext cx="392334" cy="368514"/>
              <a:chOff x="4380" y="1273"/>
              <a:chExt cx="280" cy="263"/>
            </a:xfrm>
          </p:grpSpPr>
          <p:sp>
            <p:nvSpPr>
              <p:cNvPr id="784" name="Freeform 57">
                <a:extLst>
                  <a:ext uri="{FF2B5EF4-FFF2-40B4-BE49-F238E27FC236}">
                    <a16:creationId xmlns:a16="http://schemas.microsoft.com/office/drawing/2014/main" id="{09461666-446A-44E3-B2AA-1879698AD6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0" y="1343"/>
                <a:ext cx="70" cy="193"/>
              </a:xfrm>
              <a:custGeom>
                <a:avLst/>
                <a:gdLst>
                  <a:gd name="T0" fmla="*/ 32 w 32"/>
                  <a:gd name="T1" fmla="*/ 88 h 88"/>
                  <a:gd name="T2" fmla="*/ 4 w 32"/>
                  <a:gd name="T3" fmla="*/ 88 h 88"/>
                  <a:gd name="T4" fmla="*/ 0 w 32"/>
                  <a:gd name="T5" fmla="*/ 84 h 88"/>
                  <a:gd name="T6" fmla="*/ 0 w 32"/>
                  <a:gd name="T7" fmla="*/ 8 h 88"/>
                  <a:gd name="T8" fmla="*/ 8 w 32"/>
                  <a:gd name="T9" fmla="*/ 0 h 88"/>
                  <a:gd name="T10" fmla="*/ 32 w 32"/>
                  <a:gd name="T11" fmla="*/ 0 h 88"/>
                  <a:gd name="T12" fmla="*/ 32 w 32"/>
                  <a:gd name="T13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88">
                    <a:moveTo>
                      <a:pt x="32" y="88"/>
                    </a:moveTo>
                    <a:cubicBezTo>
                      <a:pt x="4" y="88"/>
                      <a:pt x="4" y="88"/>
                      <a:pt x="4" y="88"/>
                    </a:cubicBezTo>
                    <a:cubicBezTo>
                      <a:pt x="2" y="88"/>
                      <a:pt x="0" y="86"/>
                      <a:pt x="0" y="84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4"/>
                      <a:pt x="4" y="0"/>
                      <a:pt x="8" y="0"/>
                    </a:cubicBezTo>
                    <a:cubicBezTo>
                      <a:pt x="32" y="0"/>
                      <a:pt x="32" y="0"/>
                      <a:pt x="32" y="0"/>
                    </a:cubicBezTo>
                    <a:lnTo>
                      <a:pt x="32" y="88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5" name="Freeform 58">
                <a:extLst>
                  <a:ext uri="{FF2B5EF4-FFF2-40B4-BE49-F238E27FC236}">
                    <a16:creationId xmlns:a16="http://schemas.microsoft.com/office/drawing/2014/main" id="{1AB9BC4A-AD98-4FEB-BD65-736B536B0C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" y="1372"/>
                <a:ext cx="18" cy="26"/>
              </a:xfrm>
              <a:custGeom>
                <a:avLst/>
                <a:gdLst>
                  <a:gd name="T0" fmla="*/ 6 w 8"/>
                  <a:gd name="T1" fmla="*/ 12 h 12"/>
                  <a:gd name="T2" fmla="*/ 2 w 8"/>
                  <a:gd name="T3" fmla="*/ 12 h 12"/>
                  <a:gd name="T4" fmla="*/ 0 w 8"/>
                  <a:gd name="T5" fmla="*/ 10 h 12"/>
                  <a:gd name="T6" fmla="*/ 0 w 8"/>
                  <a:gd name="T7" fmla="*/ 2 h 12"/>
                  <a:gd name="T8" fmla="*/ 2 w 8"/>
                  <a:gd name="T9" fmla="*/ 0 h 12"/>
                  <a:gd name="T10" fmla="*/ 6 w 8"/>
                  <a:gd name="T11" fmla="*/ 0 h 12"/>
                  <a:gd name="T12" fmla="*/ 8 w 8"/>
                  <a:gd name="T13" fmla="*/ 2 h 12"/>
                  <a:gd name="T14" fmla="*/ 8 w 8"/>
                  <a:gd name="T15" fmla="*/ 10 h 12"/>
                  <a:gd name="T16" fmla="*/ 6 w 8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6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1"/>
                      <a:pt x="7" y="12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6" name="Freeform 59">
                <a:extLst>
                  <a:ext uri="{FF2B5EF4-FFF2-40B4-BE49-F238E27FC236}">
                    <a16:creationId xmlns:a16="http://schemas.microsoft.com/office/drawing/2014/main" id="{E86E58FE-739C-433E-9E26-8ED66BA7DA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" y="1424"/>
                <a:ext cx="18" cy="27"/>
              </a:xfrm>
              <a:custGeom>
                <a:avLst/>
                <a:gdLst>
                  <a:gd name="T0" fmla="*/ 6 w 8"/>
                  <a:gd name="T1" fmla="*/ 12 h 12"/>
                  <a:gd name="T2" fmla="*/ 2 w 8"/>
                  <a:gd name="T3" fmla="*/ 12 h 12"/>
                  <a:gd name="T4" fmla="*/ 0 w 8"/>
                  <a:gd name="T5" fmla="*/ 10 h 12"/>
                  <a:gd name="T6" fmla="*/ 0 w 8"/>
                  <a:gd name="T7" fmla="*/ 2 h 12"/>
                  <a:gd name="T8" fmla="*/ 2 w 8"/>
                  <a:gd name="T9" fmla="*/ 0 h 12"/>
                  <a:gd name="T10" fmla="*/ 6 w 8"/>
                  <a:gd name="T11" fmla="*/ 0 h 12"/>
                  <a:gd name="T12" fmla="*/ 8 w 8"/>
                  <a:gd name="T13" fmla="*/ 2 h 12"/>
                  <a:gd name="T14" fmla="*/ 8 w 8"/>
                  <a:gd name="T15" fmla="*/ 10 h 12"/>
                  <a:gd name="T16" fmla="*/ 6 w 8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6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1"/>
                      <a:pt x="7" y="12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7" name="Freeform 60">
                <a:extLst>
                  <a:ext uri="{FF2B5EF4-FFF2-40B4-BE49-F238E27FC236}">
                    <a16:creationId xmlns:a16="http://schemas.microsoft.com/office/drawing/2014/main" id="{3EBD3D06-DAFC-4E05-B595-29546A3828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6" y="1475"/>
                <a:ext cx="18" cy="26"/>
              </a:xfrm>
              <a:custGeom>
                <a:avLst/>
                <a:gdLst>
                  <a:gd name="T0" fmla="*/ 6 w 8"/>
                  <a:gd name="T1" fmla="*/ 12 h 12"/>
                  <a:gd name="T2" fmla="*/ 2 w 8"/>
                  <a:gd name="T3" fmla="*/ 12 h 12"/>
                  <a:gd name="T4" fmla="*/ 0 w 8"/>
                  <a:gd name="T5" fmla="*/ 10 h 12"/>
                  <a:gd name="T6" fmla="*/ 0 w 8"/>
                  <a:gd name="T7" fmla="*/ 2 h 12"/>
                  <a:gd name="T8" fmla="*/ 2 w 8"/>
                  <a:gd name="T9" fmla="*/ 0 h 12"/>
                  <a:gd name="T10" fmla="*/ 6 w 8"/>
                  <a:gd name="T11" fmla="*/ 0 h 12"/>
                  <a:gd name="T12" fmla="*/ 8 w 8"/>
                  <a:gd name="T13" fmla="*/ 2 h 12"/>
                  <a:gd name="T14" fmla="*/ 8 w 8"/>
                  <a:gd name="T15" fmla="*/ 10 h 12"/>
                  <a:gd name="T16" fmla="*/ 6 w 8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6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2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2"/>
                      <a:pt x="7" y="12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8" name="Freeform 61">
                <a:extLst>
                  <a:ext uri="{FF2B5EF4-FFF2-40B4-BE49-F238E27FC236}">
                    <a16:creationId xmlns:a16="http://schemas.microsoft.com/office/drawing/2014/main" id="{129FD71F-7F29-495F-9AEB-27E8B33F63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0" y="1343"/>
                <a:ext cx="70" cy="193"/>
              </a:xfrm>
              <a:custGeom>
                <a:avLst/>
                <a:gdLst>
                  <a:gd name="T0" fmla="*/ 28 w 32"/>
                  <a:gd name="T1" fmla="*/ 88 h 88"/>
                  <a:gd name="T2" fmla="*/ 0 w 32"/>
                  <a:gd name="T3" fmla="*/ 88 h 88"/>
                  <a:gd name="T4" fmla="*/ 0 w 32"/>
                  <a:gd name="T5" fmla="*/ 0 h 88"/>
                  <a:gd name="T6" fmla="*/ 24 w 32"/>
                  <a:gd name="T7" fmla="*/ 0 h 88"/>
                  <a:gd name="T8" fmla="*/ 32 w 32"/>
                  <a:gd name="T9" fmla="*/ 8 h 88"/>
                  <a:gd name="T10" fmla="*/ 32 w 32"/>
                  <a:gd name="T11" fmla="*/ 84 h 88"/>
                  <a:gd name="T12" fmla="*/ 28 w 32"/>
                  <a:gd name="T13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88">
                    <a:moveTo>
                      <a:pt x="28" y="88"/>
                    </a:moveTo>
                    <a:cubicBezTo>
                      <a:pt x="0" y="88"/>
                      <a:pt x="0" y="88"/>
                      <a:pt x="0" y="88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8" y="0"/>
                      <a:pt x="32" y="4"/>
                      <a:pt x="32" y="8"/>
                    </a:cubicBezTo>
                    <a:cubicBezTo>
                      <a:pt x="32" y="84"/>
                      <a:pt x="32" y="84"/>
                      <a:pt x="32" y="84"/>
                    </a:cubicBezTo>
                    <a:cubicBezTo>
                      <a:pt x="32" y="86"/>
                      <a:pt x="30" y="88"/>
                      <a:pt x="28" y="88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9" name="Freeform 62">
                <a:extLst>
                  <a:ext uri="{FF2B5EF4-FFF2-40B4-BE49-F238E27FC236}">
                    <a16:creationId xmlns:a16="http://schemas.microsoft.com/office/drawing/2014/main" id="{ADCC41D7-B1F0-4132-8888-4B8BD4574A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6" y="1372"/>
                <a:ext cx="18" cy="26"/>
              </a:xfrm>
              <a:custGeom>
                <a:avLst/>
                <a:gdLst>
                  <a:gd name="T0" fmla="*/ 6 w 8"/>
                  <a:gd name="T1" fmla="*/ 12 h 12"/>
                  <a:gd name="T2" fmla="*/ 2 w 8"/>
                  <a:gd name="T3" fmla="*/ 12 h 12"/>
                  <a:gd name="T4" fmla="*/ 0 w 8"/>
                  <a:gd name="T5" fmla="*/ 10 h 12"/>
                  <a:gd name="T6" fmla="*/ 0 w 8"/>
                  <a:gd name="T7" fmla="*/ 2 h 12"/>
                  <a:gd name="T8" fmla="*/ 2 w 8"/>
                  <a:gd name="T9" fmla="*/ 0 h 12"/>
                  <a:gd name="T10" fmla="*/ 6 w 8"/>
                  <a:gd name="T11" fmla="*/ 0 h 12"/>
                  <a:gd name="T12" fmla="*/ 8 w 8"/>
                  <a:gd name="T13" fmla="*/ 2 h 12"/>
                  <a:gd name="T14" fmla="*/ 8 w 8"/>
                  <a:gd name="T15" fmla="*/ 10 h 12"/>
                  <a:gd name="T16" fmla="*/ 6 w 8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6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1"/>
                      <a:pt x="7" y="12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0" name="Freeform 63">
                <a:extLst>
                  <a:ext uri="{FF2B5EF4-FFF2-40B4-BE49-F238E27FC236}">
                    <a16:creationId xmlns:a16="http://schemas.microsoft.com/office/drawing/2014/main" id="{BE2FED4D-E864-42D7-BDBA-23519A1CCE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6" y="1424"/>
                <a:ext cx="18" cy="27"/>
              </a:xfrm>
              <a:custGeom>
                <a:avLst/>
                <a:gdLst>
                  <a:gd name="T0" fmla="*/ 6 w 8"/>
                  <a:gd name="T1" fmla="*/ 12 h 12"/>
                  <a:gd name="T2" fmla="*/ 2 w 8"/>
                  <a:gd name="T3" fmla="*/ 12 h 12"/>
                  <a:gd name="T4" fmla="*/ 0 w 8"/>
                  <a:gd name="T5" fmla="*/ 10 h 12"/>
                  <a:gd name="T6" fmla="*/ 0 w 8"/>
                  <a:gd name="T7" fmla="*/ 2 h 12"/>
                  <a:gd name="T8" fmla="*/ 2 w 8"/>
                  <a:gd name="T9" fmla="*/ 0 h 12"/>
                  <a:gd name="T10" fmla="*/ 6 w 8"/>
                  <a:gd name="T11" fmla="*/ 0 h 12"/>
                  <a:gd name="T12" fmla="*/ 8 w 8"/>
                  <a:gd name="T13" fmla="*/ 2 h 12"/>
                  <a:gd name="T14" fmla="*/ 8 w 8"/>
                  <a:gd name="T15" fmla="*/ 10 h 12"/>
                  <a:gd name="T16" fmla="*/ 6 w 8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6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1"/>
                      <a:pt x="7" y="12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1" name="Freeform 64">
                <a:extLst>
                  <a:ext uri="{FF2B5EF4-FFF2-40B4-BE49-F238E27FC236}">
                    <a16:creationId xmlns:a16="http://schemas.microsoft.com/office/drawing/2014/main" id="{C31B2CE3-EA7C-434F-B781-2261B5B0D9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6" y="1475"/>
                <a:ext cx="18" cy="26"/>
              </a:xfrm>
              <a:custGeom>
                <a:avLst/>
                <a:gdLst>
                  <a:gd name="T0" fmla="*/ 6 w 8"/>
                  <a:gd name="T1" fmla="*/ 12 h 12"/>
                  <a:gd name="T2" fmla="*/ 2 w 8"/>
                  <a:gd name="T3" fmla="*/ 12 h 12"/>
                  <a:gd name="T4" fmla="*/ 0 w 8"/>
                  <a:gd name="T5" fmla="*/ 10 h 12"/>
                  <a:gd name="T6" fmla="*/ 0 w 8"/>
                  <a:gd name="T7" fmla="*/ 2 h 12"/>
                  <a:gd name="T8" fmla="*/ 2 w 8"/>
                  <a:gd name="T9" fmla="*/ 0 h 12"/>
                  <a:gd name="T10" fmla="*/ 6 w 8"/>
                  <a:gd name="T11" fmla="*/ 0 h 12"/>
                  <a:gd name="T12" fmla="*/ 8 w 8"/>
                  <a:gd name="T13" fmla="*/ 2 h 12"/>
                  <a:gd name="T14" fmla="*/ 8 w 8"/>
                  <a:gd name="T15" fmla="*/ 10 h 12"/>
                  <a:gd name="T16" fmla="*/ 6 w 8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6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2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2"/>
                      <a:pt x="7" y="12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2" name="Freeform 65">
                <a:extLst>
                  <a:ext uri="{FF2B5EF4-FFF2-40B4-BE49-F238E27FC236}">
                    <a16:creationId xmlns:a16="http://schemas.microsoft.com/office/drawing/2014/main" id="{521BA6C7-7FBC-4216-BFC4-3517B1163A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0" y="1273"/>
                <a:ext cx="140" cy="263"/>
              </a:xfrm>
              <a:custGeom>
                <a:avLst/>
                <a:gdLst>
                  <a:gd name="T0" fmla="*/ 64 w 64"/>
                  <a:gd name="T1" fmla="*/ 120 h 120"/>
                  <a:gd name="T2" fmla="*/ 0 w 64"/>
                  <a:gd name="T3" fmla="*/ 120 h 120"/>
                  <a:gd name="T4" fmla="*/ 0 w 64"/>
                  <a:gd name="T5" fmla="*/ 8 h 120"/>
                  <a:gd name="T6" fmla="*/ 8 w 64"/>
                  <a:gd name="T7" fmla="*/ 0 h 120"/>
                  <a:gd name="T8" fmla="*/ 56 w 64"/>
                  <a:gd name="T9" fmla="*/ 0 h 120"/>
                  <a:gd name="T10" fmla="*/ 64 w 64"/>
                  <a:gd name="T11" fmla="*/ 8 h 120"/>
                  <a:gd name="T12" fmla="*/ 64 w 64"/>
                  <a:gd name="T13" fmla="*/ 12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120">
                    <a:moveTo>
                      <a:pt x="64" y="120"/>
                    </a:moveTo>
                    <a:cubicBezTo>
                      <a:pt x="0" y="120"/>
                      <a:pt x="0" y="120"/>
                      <a:pt x="0" y="120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4"/>
                      <a:pt x="4" y="0"/>
                      <a:pt x="8" y="0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60" y="0"/>
                      <a:pt x="64" y="4"/>
                      <a:pt x="64" y="8"/>
                    </a:cubicBezTo>
                    <a:lnTo>
                      <a:pt x="64" y="120"/>
                    </a:ln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3" name="Freeform 66">
                <a:extLst>
                  <a:ext uri="{FF2B5EF4-FFF2-40B4-BE49-F238E27FC236}">
                    <a16:creationId xmlns:a16="http://schemas.microsoft.com/office/drawing/2014/main" id="{A7481A4B-2095-4744-89AB-191A2A1778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4" y="1299"/>
                <a:ext cx="17" cy="27"/>
              </a:xfrm>
              <a:custGeom>
                <a:avLst/>
                <a:gdLst>
                  <a:gd name="T0" fmla="*/ 6 w 8"/>
                  <a:gd name="T1" fmla="*/ 12 h 12"/>
                  <a:gd name="T2" fmla="*/ 2 w 8"/>
                  <a:gd name="T3" fmla="*/ 12 h 12"/>
                  <a:gd name="T4" fmla="*/ 0 w 8"/>
                  <a:gd name="T5" fmla="*/ 10 h 12"/>
                  <a:gd name="T6" fmla="*/ 0 w 8"/>
                  <a:gd name="T7" fmla="*/ 2 h 12"/>
                  <a:gd name="T8" fmla="*/ 2 w 8"/>
                  <a:gd name="T9" fmla="*/ 0 h 12"/>
                  <a:gd name="T10" fmla="*/ 6 w 8"/>
                  <a:gd name="T11" fmla="*/ 0 h 12"/>
                  <a:gd name="T12" fmla="*/ 8 w 8"/>
                  <a:gd name="T13" fmla="*/ 2 h 12"/>
                  <a:gd name="T14" fmla="*/ 8 w 8"/>
                  <a:gd name="T15" fmla="*/ 10 h 12"/>
                  <a:gd name="T16" fmla="*/ 6 w 8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6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1"/>
                      <a:pt x="7" y="12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4" name="Freeform 67">
                <a:extLst>
                  <a:ext uri="{FF2B5EF4-FFF2-40B4-BE49-F238E27FC236}">
                    <a16:creationId xmlns:a16="http://schemas.microsoft.com/office/drawing/2014/main" id="{AB20306E-4782-470E-95D4-5B9BE50D5A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8" y="1299"/>
                <a:ext cx="18" cy="27"/>
              </a:xfrm>
              <a:custGeom>
                <a:avLst/>
                <a:gdLst>
                  <a:gd name="T0" fmla="*/ 6 w 8"/>
                  <a:gd name="T1" fmla="*/ 12 h 12"/>
                  <a:gd name="T2" fmla="*/ 2 w 8"/>
                  <a:gd name="T3" fmla="*/ 12 h 12"/>
                  <a:gd name="T4" fmla="*/ 0 w 8"/>
                  <a:gd name="T5" fmla="*/ 10 h 12"/>
                  <a:gd name="T6" fmla="*/ 0 w 8"/>
                  <a:gd name="T7" fmla="*/ 2 h 12"/>
                  <a:gd name="T8" fmla="*/ 2 w 8"/>
                  <a:gd name="T9" fmla="*/ 0 h 12"/>
                  <a:gd name="T10" fmla="*/ 6 w 8"/>
                  <a:gd name="T11" fmla="*/ 0 h 12"/>
                  <a:gd name="T12" fmla="*/ 8 w 8"/>
                  <a:gd name="T13" fmla="*/ 2 h 12"/>
                  <a:gd name="T14" fmla="*/ 8 w 8"/>
                  <a:gd name="T15" fmla="*/ 10 h 12"/>
                  <a:gd name="T16" fmla="*/ 6 w 8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6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1"/>
                      <a:pt x="7" y="12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5" name="Freeform 68">
                <a:extLst>
                  <a:ext uri="{FF2B5EF4-FFF2-40B4-BE49-F238E27FC236}">
                    <a16:creationId xmlns:a16="http://schemas.microsoft.com/office/drawing/2014/main" id="{82E7ADA3-FFE2-4E96-9A24-4390380AA0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11" y="1299"/>
                <a:ext cx="18" cy="27"/>
              </a:xfrm>
              <a:custGeom>
                <a:avLst/>
                <a:gdLst>
                  <a:gd name="T0" fmla="*/ 6 w 8"/>
                  <a:gd name="T1" fmla="*/ 12 h 12"/>
                  <a:gd name="T2" fmla="*/ 2 w 8"/>
                  <a:gd name="T3" fmla="*/ 12 h 12"/>
                  <a:gd name="T4" fmla="*/ 0 w 8"/>
                  <a:gd name="T5" fmla="*/ 10 h 12"/>
                  <a:gd name="T6" fmla="*/ 0 w 8"/>
                  <a:gd name="T7" fmla="*/ 2 h 12"/>
                  <a:gd name="T8" fmla="*/ 2 w 8"/>
                  <a:gd name="T9" fmla="*/ 0 h 12"/>
                  <a:gd name="T10" fmla="*/ 6 w 8"/>
                  <a:gd name="T11" fmla="*/ 0 h 12"/>
                  <a:gd name="T12" fmla="*/ 8 w 8"/>
                  <a:gd name="T13" fmla="*/ 2 h 12"/>
                  <a:gd name="T14" fmla="*/ 8 w 8"/>
                  <a:gd name="T15" fmla="*/ 10 h 12"/>
                  <a:gd name="T16" fmla="*/ 6 w 8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6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1"/>
                      <a:pt x="7" y="12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6" name="Freeform 69">
                <a:extLst>
                  <a:ext uri="{FF2B5EF4-FFF2-40B4-BE49-F238E27FC236}">
                    <a16:creationId xmlns:a16="http://schemas.microsoft.com/office/drawing/2014/main" id="{CB2D8F86-A153-4C15-B9F2-40E939767E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4" y="1352"/>
                <a:ext cx="17" cy="26"/>
              </a:xfrm>
              <a:custGeom>
                <a:avLst/>
                <a:gdLst>
                  <a:gd name="T0" fmla="*/ 6 w 8"/>
                  <a:gd name="T1" fmla="*/ 12 h 12"/>
                  <a:gd name="T2" fmla="*/ 2 w 8"/>
                  <a:gd name="T3" fmla="*/ 12 h 12"/>
                  <a:gd name="T4" fmla="*/ 0 w 8"/>
                  <a:gd name="T5" fmla="*/ 10 h 12"/>
                  <a:gd name="T6" fmla="*/ 0 w 8"/>
                  <a:gd name="T7" fmla="*/ 2 h 12"/>
                  <a:gd name="T8" fmla="*/ 2 w 8"/>
                  <a:gd name="T9" fmla="*/ 0 h 12"/>
                  <a:gd name="T10" fmla="*/ 6 w 8"/>
                  <a:gd name="T11" fmla="*/ 0 h 12"/>
                  <a:gd name="T12" fmla="*/ 8 w 8"/>
                  <a:gd name="T13" fmla="*/ 2 h 12"/>
                  <a:gd name="T14" fmla="*/ 8 w 8"/>
                  <a:gd name="T15" fmla="*/ 10 h 12"/>
                  <a:gd name="T16" fmla="*/ 6 w 8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6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1"/>
                      <a:pt x="7" y="12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7" name="Freeform 70">
                <a:extLst>
                  <a:ext uri="{FF2B5EF4-FFF2-40B4-BE49-F238E27FC236}">
                    <a16:creationId xmlns:a16="http://schemas.microsoft.com/office/drawing/2014/main" id="{1E73532C-2248-4489-A78C-E256C60A53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8" y="1352"/>
                <a:ext cx="18" cy="26"/>
              </a:xfrm>
              <a:custGeom>
                <a:avLst/>
                <a:gdLst>
                  <a:gd name="T0" fmla="*/ 6 w 8"/>
                  <a:gd name="T1" fmla="*/ 12 h 12"/>
                  <a:gd name="T2" fmla="*/ 2 w 8"/>
                  <a:gd name="T3" fmla="*/ 12 h 12"/>
                  <a:gd name="T4" fmla="*/ 0 w 8"/>
                  <a:gd name="T5" fmla="*/ 10 h 12"/>
                  <a:gd name="T6" fmla="*/ 0 w 8"/>
                  <a:gd name="T7" fmla="*/ 2 h 12"/>
                  <a:gd name="T8" fmla="*/ 2 w 8"/>
                  <a:gd name="T9" fmla="*/ 0 h 12"/>
                  <a:gd name="T10" fmla="*/ 6 w 8"/>
                  <a:gd name="T11" fmla="*/ 0 h 12"/>
                  <a:gd name="T12" fmla="*/ 8 w 8"/>
                  <a:gd name="T13" fmla="*/ 2 h 12"/>
                  <a:gd name="T14" fmla="*/ 8 w 8"/>
                  <a:gd name="T15" fmla="*/ 10 h 12"/>
                  <a:gd name="T16" fmla="*/ 6 w 8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6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1"/>
                      <a:pt x="7" y="12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8" name="Freeform 71">
                <a:extLst>
                  <a:ext uri="{FF2B5EF4-FFF2-40B4-BE49-F238E27FC236}">
                    <a16:creationId xmlns:a16="http://schemas.microsoft.com/office/drawing/2014/main" id="{4B6DAE80-9662-4FB8-8AC3-955906BFE8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11" y="1352"/>
                <a:ext cx="18" cy="26"/>
              </a:xfrm>
              <a:custGeom>
                <a:avLst/>
                <a:gdLst>
                  <a:gd name="T0" fmla="*/ 6 w 8"/>
                  <a:gd name="T1" fmla="*/ 12 h 12"/>
                  <a:gd name="T2" fmla="*/ 2 w 8"/>
                  <a:gd name="T3" fmla="*/ 12 h 12"/>
                  <a:gd name="T4" fmla="*/ 0 w 8"/>
                  <a:gd name="T5" fmla="*/ 10 h 12"/>
                  <a:gd name="T6" fmla="*/ 0 w 8"/>
                  <a:gd name="T7" fmla="*/ 2 h 12"/>
                  <a:gd name="T8" fmla="*/ 2 w 8"/>
                  <a:gd name="T9" fmla="*/ 0 h 12"/>
                  <a:gd name="T10" fmla="*/ 6 w 8"/>
                  <a:gd name="T11" fmla="*/ 0 h 12"/>
                  <a:gd name="T12" fmla="*/ 8 w 8"/>
                  <a:gd name="T13" fmla="*/ 2 h 12"/>
                  <a:gd name="T14" fmla="*/ 8 w 8"/>
                  <a:gd name="T15" fmla="*/ 10 h 12"/>
                  <a:gd name="T16" fmla="*/ 6 w 8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6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1"/>
                      <a:pt x="7" y="12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9" name="Freeform 72">
                <a:extLst>
                  <a:ext uri="{FF2B5EF4-FFF2-40B4-BE49-F238E27FC236}">
                    <a16:creationId xmlns:a16="http://schemas.microsoft.com/office/drawing/2014/main" id="{6F6E08FE-4796-495D-9456-72C75DFB46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4" y="1405"/>
                <a:ext cx="17" cy="26"/>
              </a:xfrm>
              <a:custGeom>
                <a:avLst/>
                <a:gdLst>
                  <a:gd name="T0" fmla="*/ 6 w 8"/>
                  <a:gd name="T1" fmla="*/ 12 h 12"/>
                  <a:gd name="T2" fmla="*/ 2 w 8"/>
                  <a:gd name="T3" fmla="*/ 12 h 12"/>
                  <a:gd name="T4" fmla="*/ 0 w 8"/>
                  <a:gd name="T5" fmla="*/ 10 h 12"/>
                  <a:gd name="T6" fmla="*/ 0 w 8"/>
                  <a:gd name="T7" fmla="*/ 2 h 12"/>
                  <a:gd name="T8" fmla="*/ 2 w 8"/>
                  <a:gd name="T9" fmla="*/ 0 h 12"/>
                  <a:gd name="T10" fmla="*/ 6 w 8"/>
                  <a:gd name="T11" fmla="*/ 0 h 12"/>
                  <a:gd name="T12" fmla="*/ 8 w 8"/>
                  <a:gd name="T13" fmla="*/ 2 h 12"/>
                  <a:gd name="T14" fmla="*/ 8 w 8"/>
                  <a:gd name="T15" fmla="*/ 10 h 12"/>
                  <a:gd name="T16" fmla="*/ 6 w 8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6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1"/>
                      <a:pt x="7" y="12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0" name="Freeform 73">
                <a:extLst>
                  <a:ext uri="{FF2B5EF4-FFF2-40B4-BE49-F238E27FC236}">
                    <a16:creationId xmlns:a16="http://schemas.microsoft.com/office/drawing/2014/main" id="{ACAD8E4E-09E1-4E7D-9F2B-7E39120E3D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8" y="1405"/>
                <a:ext cx="18" cy="26"/>
              </a:xfrm>
              <a:custGeom>
                <a:avLst/>
                <a:gdLst>
                  <a:gd name="T0" fmla="*/ 6 w 8"/>
                  <a:gd name="T1" fmla="*/ 12 h 12"/>
                  <a:gd name="T2" fmla="*/ 2 w 8"/>
                  <a:gd name="T3" fmla="*/ 12 h 12"/>
                  <a:gd name="T4" fmla="*/ 0 w 8"/>
                  <a:gd name="T5" fmla="*/ 10 h 12"/>
                  <a:gd name="T6" fmla="*/ 0 w 8"/>
                  <a:gd name="T7" fmla="*/ 2 h 12"/>
                  <a:gd name="T8" fmla="*/ 2 w 8"/>
                  <a:gd name="T9" fmla="*/ 0 h 12"/>
                  <a:gd name="T10" fmla="*/ 6 w 8"/>
                  <a:gd name="T11" fmla="*/ 0 h 12"/>
                  <a:gd name="T12" fmla="*/ 8 w 8"/>
                  <a:gd name="T13" fmla="*/ 2 h 12"/>
                  <a:gd name="T14" fmla="*/ 8 w 8"/>
                  <a:gd name="T15" fmla="*/ 10 h 12"/>
                  <a:gd name="T16" fmla="*/ 6 w 8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6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1"/>
                      <a:pt x="7" y="12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1" name="Freeform 74">
                <a:extLst>
                  <a:ext uri="{FF2B5EF4-FFF2-40B4-BE49-F238E27FC236}">
                    <a16:creationId xmlns:a16="http://schemas.microsoft.com/office/drawing/2014/main" id="{535D3C77-B460-4E45-AA83-A50D873E4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11" y="1405"/>
                <a:ext cx="18" cy="26"/>
              </a:xfrm>
              <a:custGeom>
                <a:avLst/>
                <a:gdLst>
                  <a:gd name="T0" fmla="*/ 6 w 8"/>
                  <a:gd name="T1" fmla="*/ 12 h 12"/>
                  <a:gd name="T2" fmla="*/ 2 w 8"/>
                  <a:gd name="T3" fmla="*/ 12 h 12"/>
                  <a:gd name="T4" fmla="*/ 0 w 8"/>
                  <a:gd name="T5" fmla="*/ 10 h 12"/>
                  <a:gd name="T6" fmla="*/ 0 w 8"/>
                  <a:gd name="T7" fmla="*/ 2 h 12"/>
                  <a:gd name="T8" fmla="*/ 2 w 8"/>
                  <a:gd name="T9" fmla="*/ 0 h 12"/>
                  <a:gd name="T10" fmla="*/ 6 w 8"/>
                  <a:gd name="T11" fmla="*/ 0 h 12"/>
                  <a:gd name="T12" fmla="*/ 8 w 8"/>
                  <a:gd name="T13" fmla="*/ 2 h 12"/>
                  <a:gd name="T14" fmla="*/ 8 w 8"/>
                  <a:gd name="T15" fmla="*/ 10 h 12"/>
                  <a:gd name="T16" fmla="*/ 6 w 8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6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1" y="12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1"/>
                      <a:pt x="7" y="12"/>
                      <a:pt x="6" y="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2" name="Rectangle 75">
                <a:extLst>
                  <a:ext uri="{FF2B5EF4-FFF2-40B4-BE49-F238E27FC236}">
                    <a16:creationId xmlns:a16="http://schemas.microsoft.com/office/drawing/2014/main" id="{2B654701-5A34-41BE-B5F7-3F12A1368C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98" y="1466"/>
                <a:ext cx="44" cy="70"/>
              </a:xfrm>
              <a:prstGeom prst="rect">
                <a:avLst/>
              </a:pr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74" name="Groupe 473">
            <a:extLst>
              <a:ext uri="{FF2B5EF4-FFF2-40B4-BE49-F238E27FC236}">
                <a16:creationId xmlns:a16="http://schemas.microsoft.com/office/drawing/2014/main" id="{D211E92D-7F91-4F7D-8C41-5D47E7AD0290}"/>
              </a:ext>
            </a:extLst>
          </p:cNvPr>
          <p:cNvGrpSpPr/>
          <p:nvPr/>
        </p:nvGrpSpPr>
        <p:grpSpPr>
          <a:xfrm>
            <a:off x="3675754" y="3103488"/>
            <a:ext cx="865004" cy="865444"/>
            <a:chOff x="2758642" y="2962223"/>
            <a:chExt cx="648743" cy="649073"/>
          </a:xfrm>
        </p:grpSpPr>
        <p:sp>
          <p:nvSpPr>
            <p:cNvPr id="768" name="Oval 5">
              <a:extLst>
                <a:ext uri="{FF2B5EF4-FFF2-40B4-BE49-F238E27FC236}">
                  <a16:creationId xmlns:a16="http://schemas.microsoft.com/office/drawing/2014/main" id="{7347C5B5-9282-4B3B-B5CA-9B42723844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8642" y="2962223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769" name="Group 78">
              <a:extLst>
                <a:ext uri="{FF2B5EF4-FFF2-40B4-BE49-F238E27FC236}">
                  <a16:creationId xmlns:a16="http://schemas.microsoft.com/office/drawing/2014/main" id="{430BB363-1825-483F-ADEA-10CCAB7E094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865522" y="3069268"/>
              <a:ext cx="434982" cy="434982"/>
              <a:chOff x="1746" y="1853"/>
              <a:chExt cx="360" cy="360"/>
            </a:xfrm>
          </p:grpSpPr>
          <p:sp>
            <p:nvSpPr>
              <p:cNvPr id="770" name="Freeform 79">
                <a:extLst>
                  <a:ext uri="{FF2B5EF4-FFF2-40B4-BE49-F238E27FC236}">
                    <a16:creationId xmlns:a16="http://schemas.microsoft.com/office/drawing/2014/main" id="{0DB99265-03D0-450E-85EC-2190022D86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9" y="2002"/>
                <a:ext cx="87" cy="85"/>
              </a:xfrm>
              <a:custGeom>
                <a:avLst/>
                <a:gdLst>
                  <a:gd name="T0" fmla="*/ 13 w 31"/>
                  <a:gd name="T1" fmla="*/ 20 h 30"/>
                  <a:gd name="T2" fmla="*/ 16 w 31"/>
                  <a:gd name="T3" fmla="*/ 20 h 30"/>
                  <a:gd name="T4" fmla="*/ 31 w 31"/>
                  <a:gd name="T5" fmla="*/ 30 h 30"/>
                  <a:gd name="T6" fmla="*/ 31 w 31"/>
                  <a:gd name="T7" fmla="*/ 0 h 30"/>
                  <a:gd name="T8" fmla="*/ 0 w 31"/>
                  <a:gd name="T9" fmla="*/ 0 h 30"/>
                  <a:gd name="T10" fmla="*/ 0 w 31"/>
                  <a:gd name="T11" fmla="*/ 26 h 30"/>
                  <a:gd name="T12" fmla="*/ 13 w 31"/>
                  <a:gd name="T13" fmla="*/ 2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30">
                    <a:moveTo>
                      <a:pt x="13" y="20"/>
                    </a:moveTo>
                    <a:cubicBezTo>
                      <a:pt x="16" y="20"/>
                      <a:pt x="16" y="20"/>
                      <a:pt x="16" y="20"/>
                    </a:cubicBezTo>
                    <a:cubicBezTo>
                      <a:pt x="22" y="20"/>
                      <a:pt x="28" y="24"/>
                      <a:pt x="31" y="3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3" y="22"/>
                      <a:pt x="8" y="20"/>
                      <a:pt x="13" y="20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71" name="Freeform 80">
                <a:extLst>
                  <a:ext uri="{FF2B5EF4-FFF2-40B4-BE49-F238E27FC236}">
                    <a16:creationId xmlns:a16="http://schemas.microsoft.com/office/drawing/2014/main" id="{54EA4CF0-D8FD-44AC-9CB8-5F399BA67B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6" y="2002"/>
                <a:ext cx="87" cy="85"/>
              </a:xfrm>
              <a:custGeom>
                <a:avLst/>
                <a:gdLst>
                  <a:gd name="T0" fmla="*/ 0 w 31"/>
                  <a:gd name="T1" fmla="*/ 30 h 30"/>
                  <a:gd name="T2" fmla="*/ 15 w 31"/>
                  <a:gd name="T3" fmla="*/ 20 h 30"/>
                  <a:gd name="T4" fmla="*/ 18 w 31"/>
                  <a:gd name="T5" fmla="*/ 20 h 30"/>
                  <a:gd name="T6" fmla="*/ 31 w 31"/>
                  <a:gd name="T7" fmla="*/ 26 h 30"/>
                  <a:gd name="T8" fmla="*/ 31 w 31"/>
                  <a:gd name="T9" fmla="*/ 0 h 30"/>
                  <a:gd name="T10" fmla="*/ 0 w 31"/>
                  <a:gd name="T11" fmla="*/ 0 h 30"/>
                  <a:gd name="T12" fmla="*/ 0 w 31"/>
                  <a:gd name="T13" fmla="*/ 30 h 30"/>
                  <a:gd name="T14" fmla="*/ 0 w 31"/>
                  <a:gd name="T1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" h="30">
                    <a:moveTo>
                      <a:pt x="0" y="30"/>
                    </a:moveTo>
                    <a:cubicBezTo>
                      <a:pt x="3" y="24"/>
                      <a:pt x="9" y="20"/>
                      <a:pt x="15" y="20"/>
                    </a:cubicBezTo>
                    <a:cubicBezTo>
                      <a:pt x="18" y="20"/>
                      <a:pt x="18" y="20"/>
                      <a:pt x="18" y="20"/>
                    </a:cubicBezTo>
                    <a:cubicBezTo>
                      <a:pt x="23" y="20"/>
                      <a:pt x="28" y="22"/>
                      <a:pt x="31" y="26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30"/>
                      <a:pt x="0" y="30"/>
                      <a:pt x="0" y="30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72" name="Freeform 81">
                <a:extLst>
                  <a:ext uri="{FF2B5EF4-FFF2-40B4-BE49-F238E27FC236}">
                    <a16:creationId xmlns:a16="http://schemas.microsoft.com/office/drawing/2014/main" id="{22B9B9F6-AD72-4D82-A4E4-BC851136D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6" y="2070"/>
                <a:ext cx="79" cy="95"/>
              </a:xfrm>
              <a:custGeom>
                <a:avLst/>
                <a:gdLst>
                  <a:gd name="T0" fmla="*/ 28 w 28"/>
                  <a:gd name="T1" fmla="*/ 13 h 34"/>
                  <a:gd name="T2" fmla="*/ 28 w 28"/>
                  <a:gd name="T3" fmla="*/ 13 h 34"/>
                  <a:gd name="T4" fmla="*/ 15 w 28"/>
                  <a:gd name="T5" fmla="*/ 0 h 34"/>
                  <a:gd name="T6" fmla="*/ 13 w 28"/>
                  <a:gd name="T7" fmla="*/ 0 h 34"/>
                  <a:gd name="T8" fmla="*/ 0 w 28"/>
                  <a:gd name="T9" fmla="*/ 13 h 34"/>
                  <a:gd name="T10" fmla="*/ 0 w 28"/>
                  <a:gd name="T11" fmla="*/ 32 h 34"/>
                  <a:gd name="T12" fmla="*/ 2 w 28"/>
                  <a:gd name="T13" fmla="*/ 34 h 34"/>
                  <a:gd name="T14" fmla="*/ 12 w 28"/>
                  <a:gd name="T15" fmla="*/ 34 h 34"/>
                  <a:gd name="T16" fmla="*/ 12 w 28"/>
                  <a:gd name="T17" fmla="*/ 30 h 34"/>
                  <a:gd name="T18" fmla="*/ 28 w 28"/>
                  <a:gd name="T19" fmla="*/ 1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" h="34">
                    <a:moveTo>
                      <a:pt x="28" y="13"/>
                    </a:moveTo>
                    <a:cubicBezTo>
                      <a:pt x="28" y="13"/>
                      <a:pt x="28" y="13"/>
                      <a:pt x="28" y="13"/>
                    </a:cubicBezTo>
                    <a:cubicBezTo>
                      <a:pt x="28" y="6"/>
                      <a:pt x="23" y="0"/>
                      <a:pt x="1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3"/>
                      <a:pt x="1" y="34"/>
                      <a:pt x="2" y="34"/>
                    </a:cubicBezTo>
                    <a:cubicBezTo>
                      <a:pt x="12" y="34"/>
                      <a:pt x="12" y="34"/>
                      <a:pt x="12" y="34"/>
                    </a:cubicBezTo>
                    <a:cubicBezTo>
                      <a:pt x="12" y="30"/>
                      <a:pt x="12" y="30"/>
                      <a:pt x="12" y="30"/>
                    </a:cubicBezTo>
                    <a:cubicBezTo>
                      <a:pt x="12" y="21"/>
                      <a:pt x="19" y="13"/>
                      <a:pt x="28" y="13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73" name="Freeform 82">
                <a:extLst>
                  <a:ext uri="{FF2B5EF4-FFF2-40B4-BE49-F238E27FC236}">
                    <a16:creationId xmlns:a16="http://schemas.microsoft.com/office/drawing/2014/main" id="{CAAE7D21-A867-4B1A-83F9-B3C62AA8BE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9" y="2070"/>
                <a:ext cx="81" cy="64"/>
              </a:xfrm>
              <a:custGeom>
                <a:avLst/>
                <a:gdLst>
                  <a:gd name="T0" fmla="*/ 14 w 29"/>
                  <a:gd name="T1" fmla="*/ 23 h 23"/>
                  <a:gd name="T2" fmla="*/ 29 w 29"/>
                  <a:gd name="T3" fmla="*/ 13 h 23"/>
                  <a:gd name="T4" fmla="*/ 16 w 29"/>
                  <a:gd name="T5" fmla="*/ 0 h 23"/>
                  <a:gd name="T6" fmla="*/ 13 w 29"/>
                  <a:gd name="T7" fmla="*/ 0 h 23"/>
                  <a:gd name="T8" fmla="*/ 0 w 29"/>
                  <a:gd name="T9" fmla="*/ 13 h 23"/>
                  <a:gd name="T10" fmla="*/ 0 w 29"/>
                  <a:gd name="T11" fmla="*/ 13 h 23"/>
                  <a:gd name="T12" fmla="*/ 14 w 29"/>
                  <a:gd name="T13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23">
                    <a:moveTo>
                      <a:pt x="14" y="23"/>
                    </a:moveTo>
                    <a:cubicBezTo>
                      <a:pt x="17" y="17"/>
                      <a:pt x="22" y="13"/>
                      <a:pt x="29" y="13"/>
                    </a:cubicBezTo>
                    <a:cubicBezTo>
                      <a:pt x="29" y="6"/>
                      <a:pt x="23" y="0"/>
                      <a:pt x="16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6" y="13"/>
                      <a:pt x="12" y="17"/>
                      <a:pt x="14" y="23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74" name="Freeform 83">
                <a:extLst>
                  <a:ext uri="{FF2B5EF4-FFF2-40B4-BE49-F238E27FC236}">
                    <a16:creationId xmlns:a16="http://schemas.microsoft.com/office/drawing/2014/main" id="{B36658EA-75FB-4E9A-90BB-70EC069AC9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2" y="2070"/>
                <a:ext cx="81" cy="64"/>
              </a:xfrm>
              <a:custGeom>
                <a:avLst/>
                <a:gdLst>
                  <a:gd name="T0" fmla="*/ 14 w 29"/>
                  <a:gd name="T1" fmla="*/ 23 h 23"/>
                  <a:gd name="T2" fmla="*/ 29 w 29"/>
                  <a:gd name="T3" fmla="*/ 13 h 23"/>
                  <a:gd name="T4" fmla="*/ 16 w 29"/>
                  <a:gd name="T5" fmla="*/ 0 h 23"/>
                  <a:gd name="T6" fmla="*/ 13 w 29"/>
                  <a:gd name="T7" fmla="*/ 0 h 23"/>
                  <a:gd name="T8" fmla="*/ 0 w 29"/>
                  <a:gd name="T9" fmla="*/ 13 h 23"/>
                  <a:gd name="T10" fmla="*/ 0 w 29"/>
                  <a:gd name="T11" fmla="*/ 13 h 23"/>
                  <a:gd name="T12" fmla="*/ 14 w 29"/>
                  <a:gd name="T13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23">
                    <a:moveTo>
                      <a:pt x="14" y="23"/>
                    </a:moveTo>
                    <a:cubicBezTo>
                      <a:pt x="17" y="17"/>
                      <a:pt x="22" y="13"/>
                      <a:pt x="29" y="13"/>
                    </a:cubicBezTo>
                    <a:cubicBezTo>
                      <a:pt x="29" y="6"/>
                      <a:pt x="23" y="0"/>
                      <a:pt x="16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7" y="13"/>
                      <a:pt x="12" y="17"/>
                      <a:pt x="14" y="23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75" name="Freeform 84">
                <a:extLst>
                  <a:ext uri="{FF2B5EF4-FFF2-40B4-BE49-F238E27FC236}">
                    <a16:creationId xmlns:a16="http://schemas.microsoft.com/office/drawing/2014/main" id="{DA701332-425D-41A5-8655-EC1484AB47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7" y="2070"/>
                <a:ext cx="79" cy="95"/>
              </a:xfrm>
              <a:custGeom>
                <a:avLst/>
                <a:gdLst>
                  <a:gd name="T0" fmla="*/ 15 w 28"/>
                  <a:gd name="T1" fmla="*/ 0 h 34"/>
                  <a:gd name="T2" fmla="*/ 13 w 28"/>
                  <a:gd name="T3" fmla="*/ 0 h 34"/>
                  <a:gd name="T4" fmla="*/ 0 w 28"/>
                  <a:gd name="T5" fmla="*/ 13 h 34"/>
                  <a:gd name="T6" fmla="*/ 0 w 28"/>
                  <a:gd name="T7" fmla="*/ 13 h 34"/>
                  <a:gd name="T8" fmla="*/ 15 w 28"/>
                  <a:gd name="T9" fmla="*/ 30 h 34"/>
                  <a:gd name="T10" fmla="*/ 15 w 28"/>
                  <a:gd name="T11" fmla="*/ 34 h 34"/>
                  <a:gd name="T12" fmla="*/ 26 w 28"/>
                  <a:gd name="T13" fmla="*/ 34 h 34"/>
                  <a:gd name="T14" fmla="*/ 28 w 28"/>
                  <a:gd name="T15" fmla="*/ 32 h 34"/>
                  <a:gd name="T16" fmla="*/ 28 w 28"/>
                  <a:gd name="T17" fmla="*/ 13 h 34"/>
                  <a:gd name="T18" fmla="*/ 15 w 28"/>
                  <a:gd name="T1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" h="34">
                    <a:moveTo>
                      <a:pt x="15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5" y="0"/>
                      <a:pt x="0" y="6"/>
                      <a:pt x="0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8" y="14"/>
                      <a:pt x="15" y="21"/>
                      <a:pt x="15" y="30"/>
                    </a:cubicBezTo>
                    <a:cubicBezTo>
                      <a:pt x="15" y="34"/>
                      <a:pt x="15" y="34"/>
                      <a:pt x="15" y="34"/>
                    </a:cubicBezTo>
                    <a:cubicBezTo>
                      <a:pt x="26" y="34"/>
                      <a:pt x="26" y="34"/>
                      <a:pt x="26" y="34"/>
                    </a:cubicBezTo>
                    <a:cubicBezTo>
                      <a:pt x="27" y="34"/>
                      <a:pt x="28" y="33"/>
                      <a:pt x="28" y="32"/>
                    </a:cubicBezTo>
                    <a:cubicBezTo>
                      <a:pt x="28" y="13"/>
                      <a:pt x="28" y="13"/>
                      <a:pt x="28" y="13"/>
                    </a:cubicBezTo>
                    <a:cubicBezTo>
                      <a:pt x="28" y="6"/>
                      <a:pt x="22" y="0"/>
                      <a:pt x="15" y="0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76" name="Freeform 85">
                <a:extLst>
                  <a:ext uri="{FF2B5EF4-FFF2-40B4-BE49-F238E27FC236}">
                    <a16:creationId xmlns:a16="http://schemas.microsoft.com/office/drawing/2014/main" id="{11A08A5A-0413-4722-B0E3-B3169CE6C1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1" y="2117"/>
                <a:ext cx="81" cy="96"/>
              </a:xfrm>
              <a:custGeom>
                <a:avLst/>
                <a:gdLst>
                  <a:gd name="T0" fmla="*/ 17 w 29"/>
                  <a:gd name="T1" fmla="*/ 0 h 34"/>
                  <a:gd name="T2" fmla="*/ 16 w 29"/>
                  <a:gd name="T3" fmla="*/ 0 h 34"/>
                  <a:gd name="T4" fmla="*/ 13 w 29"/>
                  <a:gd name="T5" fmla="*/ 0 h 34"/>
                  <a:gd name="T6" fmla="*/ 12 w 29"/>
                  <a:gd name="T7" fmla="*/ 0 h 34"/>
                  <a:gd name="T8" fmla="*/ 0 w 29"/>
                  <a:gd name="T9" fmla="*/ 13 h 34"/>
                  <a:gd name="T10" fmla="*/ 0 w 29"/>
                  <a:gd name="T11" fmla="*/ 17 h 34"/>
                  <a:gd name="T12" fmla="*/ 0 w 29"/>
                  <a:gd name="T13" fmla="*/ 32 h 34"/>
                  <a:gd name="T14" fmla="*/ 2 w 29"/>
                  <a:gd name="T15" fmla="*/ 34 h 34"/>
                  <a:gd name="T16" fmla="*/ 29 w 29"/>
                  <a:gd name="T17" fmla="*/ 34 h 34"/>
                  <a:gd name="T18" fmla="*/ 29 w 29"/>
                  <a:gd name="T19" fmla="*/ 17 h 34"/>
                  <a:gd name="T20" fmla="*/ 29 w 29"/>
                  <a:gd name="T21" fmla="*/ 13 h 34"/>
                  <a:gd name="T22" fmla="*/ 17 w 29"/>
                  <a:gd name="T23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9" h="34">
                    <a:moveTo>
                      <a:pt x="17" y="0"/>
                    </a:moveTo>
                    <a:cubicBezTo>
                      <a:pt x="17" y="0"/>
                      <a:pt x="16" y="0"/>
                      <a:pt x="16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3" y="0"/>
                      <a:pt x="12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3"/>
                      <a:pt x="1" y="34"/>
                      <a:pt x="2" y="34"/>
                    </a:cubicBezTo>
                    <a:cubicBezTo>
                      <a:pt x="29" y="34"/>
                      <a:pt x="29" y="34"/>
                      <a:pt x="29" y="34"/>
                    </a:cubicBezTo>
                    <a:cubicBezTo>
                      <a:pt x="29" y="17"/>
                      <a:pt x="29" y="17"/>
                      <a:pt x="29" y="17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9" y="6"/>
                      <a:pt x="24" y="1"/>
                      <a:pt x="17" y="0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77" name="Freeform 86">
                <a:extLst>
                  <a:ext uri="{FF2B5EF4-FFF2-40B4-BE49-F238E27FC236}">
                    <a16:creationId xmlns:a16="http://schemas.microsoft.com/office/drawing/2014/main" id="{9C150B51-468B-4408-9BC3-59924E9461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7" y="2117"/>
                <a:ext cx="78" cy="96"/>
              </a:xfrm>
              <a:custGeom>
                <a:avLst/>
                <a:gdLst>
                  <a:gd name="T0" fmla="*/ 16 w 28"/>
                  <a:gd name="T1" fmla="*/ 0 h 34"/>
                  <a:gd name="T2" fmla="*/ 15 w 28"/>
                  <a:gd name="T3" fmla="*/ 0 h 34"/>
                  <a:gd name="T4" fmla="*/ 12 w 28"/>
                  <a:gd name="T5" fmla="*/ 0 h 34"/>
                  <a:gd name="T6" fmla="*/ 12 w 28"/>
                  <a:gd name="T7" fmla="*/ 0 h 34"/>
                  <a:gd name="T8" fmla="*/ 0 w 28"/>
                  <a:gd name="T9" fmla="*/ 13 h 34"/>
                  <a:gd name="T10" fmla="*/ 0 w 28"/>
                  <a:gd name="T11" fmla="*/ 17 h 34"/>
                  <a:gd name="T12" fmla="*/ 0 w 28"/>
                  <a:gd name="T13" fmla="*/ 34 h 34"/>
                  <a:gd name="T14" fmla="*/ 28 w 28"/>
                  <a:gd name="T15" fmla="*/ 34 h 34"/>
                  <a:gd name="T16" fmla="*/ 28 w 28"/>
                  <a:gd name="T17" fmla="*/ 17 h 34"/>
                  <a:gd name="T18" fmla="*/ 28 w 28"/>
                  <a:gd name="T19" fmla="*/ 13 h 34"/>
                  <a:gd name="T20" fmla="*/ 16 w 28"/>
                  <a:gd name="T21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34">
                    <a:moveTo>
                      <a:pt x="16" y="0"/>
                    </a:moveTo>
                    <a:cubicBezTo>
                      <a:pt x="16" y="0"/>
                      <a:pt x="15" y="0"/>
                      <a:pt x="15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5" y="0"/>
                      <a:pt x="0" y="6"/>
                      <a:pt x="0" y="13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28" y="34"/>
                      <a:pt x="28" y="34"/>
                      <a:pt x="28" y="34"/>
                    </a:cubicBezTo>
                    <a:cubicBezTo>
                      <a:pt x="28" y="17"/>
                      <a:pt x="28" y="17"/>
                      <a:pt x="28" y="17"/>
                    </a:cubicBezTo>
                    <a:cubicBezTo>
                      <a:pt x="28" y="13"/>
                      <a:pt x="28" y="13"/>
                      <a:pt x="28" y="13"/>
                    </a:cubicBezTo>
                    <a:cubicBezTo>
                      <a:pt x="28" y="6"/>
                      <a:pt x="23" y="1"/>
                      <a:pt x="16" y="0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78" name="Freeform 87">
                <a:extLst>
                  <a:ext uri="{FF2B5EF4-FFF2-40B4-BE49-F238E27FC236}">
                    <a16:creationId xmlns:a16="http://schemas.microsoft.com/office/drawing/2014/main" id="{4ADDCA90-5B37-4D40-8412-F9E63BF55B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9" y="2117"/>
                <a:ext cx="79" cy="96"/>
              </a:xfrm>
              <a:custGeom>
                <a:avLst/>
                <a:gdLst>
                  <a:gd name="T0" fmla="*/ 17 w 28"/>
                  <a:gd name="T1" fmla="*/ 0 h 34"/>
                  <a:gd name="T2" fmla="*/ 15 w 28"/>
                  <a:gd name="T3" fmla="*/ 0 h 34"/>
                  <a:gd name="T4" fmla="*/ 13 w 28"/>
                  <a:gd name="T5" fmla="*/ 0 h 34"/>
                  <a:gd name="T6" fmla="*/ 12 w 28"/>
                  <a:gd name="T7" fmla="*/ 0 h 34"/>
                  <a:gd name="T8" fmla="*/ 0 w 28"/>
                  <a:gd name="T9" fmla="*/ 13 h 34"/>
                  <a:gd name="T10" fmla="*/ 0 w 28"/>
                  <a:gd name="T11" fmla="*/ 17 h 34"/>
                  <a:gd name="T12" fmla="*/ 0 w 28"/>
                  <a:gd name="T13" fmla="*/ 34 h 34"/>
                  <a:gd name="T14" fmla="*/ 26 w 28"/>
                  <a:gd name="T15" fmla="*/ 34 h 34"/>
                  <a:gd name="T16" fmla="*/ 28 w 28"/>
                  <a:gd name="T17" fmla="*/ 32 h 34"/>
                  <a:gd name="T18" fmla="*/ 28 w 28"/>
                  <a:gd name="T19" fmla="*/ 17 h 34"/>
                  <a:gd name="T20" fmla="*/ 28 w 28"/>
                  <a:gd name="T21" fmla="*/ 13 h 34"/>
                  <a:gd name="T22" fmla="*/ 17 w 28"/>
                  <a:gd name="T23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" h="34">
                    <a:moveTo>
                      <a:pt x="17" y="0"/>
                    </a:moveTo>
                    <a:cubicBezTo>
                      <a:pt x="16" y="0"/>
                      <a:pt x="16" y="0"/>
                      <a:pt x="1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5" y="0"/>
                      <a:pt x="0" y="6"/>
                      <a:pt x="0" y="13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26" y="34"/>
                      <a:pt x="26" y="34"/>
                      <a:pt x="26" y="34"/>
                    </a:cubicBezTo>
                    <a:cubicBezTo>
                      <a:pt x="27" y="34"/>
                      <a:pt x="28" y="33"/>
                      <a:pt x="28" y="32"/>
                    </a:cubicBezTo>
                    <a:cubicBezTo>
                      <a:pt x="28" y="17"/>
                      <a:pt x="28" y="17"/>
                      <a:pt x="28" y="17"/>
                    </a:cubicBezTo>
                    <a:cubicBezTo>
                      <a:pt x="28" y="13"/>
                      <a:pt x="28" y="13"/>
                      <a:pt x="28" y="13"/>
                    </a:cubicBezTo>
                    <a:cubicBezTo>
                      <a:pt x="28" y="6"/>
                      <a:pt x="23" y="1"/>
                      <a:pt x="17" y="0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79" name="Freeform 88">
                <a:extLst>
                  <a:ext uri="{FF2B5EF4-FFF2-40B4-BE49-F238E27FC236}">
                    <a16:creationId xmlns:a16="http://schemas.microsoft.com/office/drawing/2014/main" id="{C1A5B96F-FBF3-4D33-9C2A-D973D681D6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2" y="1926"/>
                <a:ext cx="107" cy="56"/>
              </a:xfrm>
              <a:custGeom>
                <a:avLst/>
                <a:gdLst>
                  <a:gd name="T0" fmla="*/ 27 w 38"/>
                  <a:gd name="T1" fmla="*/ 0 h 20"/>
                  <a:gd name="T2" fmla="*/ 19 w 38"/>
                  <a:gd name="T3" fmla="*/ 3 h 20"/>
                  <a:gd name="T4" fmla="*/ 11 w 38"/>
                  <a:gd name="T5" fmla="*/ 0 h 20"/>
                  <a:gd name="T6" fmla="*/ 0 w 38"/>
                  <a:gd name="T7" fmla="*/ 10 h 20"/>
                  <a:gd name="T8" fmla="*/ 0 w 38"/>
                  <a:gd name="T9" fmla="*/ 17 h 20"/>
                  <a:gd name="T10" fmla="*/ 3 w 38"/>
                  <a:gd name="T11" fmla="*/ 20 h 20"/>
                  <a:gd name="T12" fmla="*/ 35 w 38"/>
                  <a:gd name="T13" fmla="*/ 20 h 20"/>
                  <a:gd name="T14" fmla="*/ 38 w 38"/>
                  <a:gd name="T15" fmla="*/ 17 h 20"/>
                  <a:gd name="T16" fmla="*/ 38 w 38"/>
                  <a:gd name="T17" fmla="*/ 10 h 20"/>
                  <a:gd name="T18" fmla="*/ 27 w 38"/>
                  <a:gd name="T1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20">
                    <a:moveTo>
                      <a:pt x="27" y="0"/>
                    </a:moveTo>
                    <a:cubicBezTo>
                      <a:pt x="24" y="2"/>
                      <a:pt x="22" y="3"/>
                      <a:pt x="19" y="3"/>
                    </a:cubicBezTo>
                    <a:cubicBezTo>
                      <a:pt x="16" y="3"/>
                      <a:pt x="14" y="2"/>
                      <a:pt x="11" y="0"/>
                    </a:cubicBezTo>
                    <a:cubicBezTo>
                      <a:pt x="7" y="1"/>
                      <a:pt x="0" y="5"/>
                      <a:pt x="0" y="10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18"/>
                      <a:pt x="2" y="20"/>
                      <a:pt x="3" y="20"/>
                    </a:cubicBezTo>
                    <a:cubicBezTo>
                      <a:pt x="35" y="20"/>
                      <a:pt x="35" y="20"/>
                      <a:pt x="35" y="20"/>
                    </a:cubicBezTo>
                    <a:cubicBezTo>
                      <a:pt x="36" y="20"/>
                      <a:pt x="38" y="18"/>
                      <a:pt x="38" y="17"/>
                    </a:cubicBezTo>
                    <a:cubicBezTo>
                      <a:pt x="38" y="10"/>
                      <a:pt x="38" y="10"/>
                      <a:pt x="38" y="10"/>
                    </a:cubicBezTo>
                    <a:cubicBezTo>
                      <a:pt x="38" y="5"/>
                      <a:pt x="31" y="1"/>
                      <a:pt x="27" y="0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0" name="Freeform 89">
                <a:extLst>
                  <a:ext uri="{FF2B5EF4-FFF2-40B4-BE49-F238E27FC236}">
                    <a16:creationId xmlns:a16="http://schemas.microsoft.com/office/drawing/2014/main" id="{7D73F06B-D318-4CBD-9FF2-7606AE481C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8" y="1853"/>
                <a:ext cx="56" cy="68"/>
              </a:xfrm>
              <a:custGeom>
                <a:avLst/>
                <a:gdLst>
                  <a:gd name="T0" fmla="*/ 10 w 20"/>
                  <a:gd name="T1" fmla="*/ 24 h 24"/>
                  <a:gd name="T2" fmla="*/ 0 w 20"/>
                  <a:gd name="T3" fmla="*/ 12 h 24"/>
                  <a:gd name="T4" fmla="*/ 10 w 20"/>
                  <a:gd name="T5" fmla="*/ 0 h 24"/>
                  <a:gd name="T6" fmla="*/ 20 w 20"/>
                  <a:gd name="T7" fmla="*/ 12 h 24"/>
                  <a:gd name="T8" fmla="*/ 10 w 20"/>
                  <a:gd name="T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4">
                    <a:moveTo>
                      <a:pt x="10" y="24"/>
                    </a:moveTo>
                    <a:cubicBezTo>
                      <a:pt x="4" y="24"/>
                      <a:pt x="0" y="19"/>
                      <a:pt x="0" y="12"/>
                    </a:cubicBezTo>
                    <a:cubicBezTo>
                      <a:pt x="0" y="3"/>
                      <a:pt x="4" y="0"/>
                      <a:pt x="10" y="0"/>
                    </a:cubicBezTo>
                    <a:cubicBezTo>
                      <a:pt x="16" y="0"/>
                      <a:pt x="20" y="3"/>
                      <a:pt x="20" y="12"/>
                    </a:cubicBezTo>
                    <a:cubicBezTo>
                      <a:pt x="20" y="19"/>
                      <a:pt x="16" y="24"/>
                      <a:pt x="10" y="24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1" name="Freeform 90">
                <a:extLst>
                  <a:ext uri="{FF2B5EF4-FFF2-40B4-BE49-F238E27FC236}">
                    <a16:creationId xmlns:a16="http://schemas.microsoft.com/office/drawing/2014/main" id="{720FE119-9219-4A94-A557-57683B57F4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0" y="1994"/>
                <a:ext cx="192" cy="17"/>
              </a:xfrm>
              <a:custGeom>
                <a:avLst/>
                <a:gdLst>
                  <a:gd name="T0" fmla="*/ 65 w 68"/>
                  <a:gd name="T1" fmla="*/ 0 h 6"/>
                  <a:gd name="T2" fmla="*/ 3 w 68"/>
                  <a:gd name="T3" fmla="*/ 0 h 6"/>
                  <a:gd name="T4" fmla="*/ 0 w 68"/>
                  <a:gd name="T5" fmla="*/ 3 h 6"/>
                  <a:gd name="T6" fmla="*/ 3 w 68"/>
                  <a:gd name="T7" fmla="*/ 6 h 6"/>
                  <a:gd name="T8" fmla="*/ 65 w 68"/>
                  <a:gd name="T9" fmla="*/ 6 h 6"/>
                  <a:gd name="T10" fmla="*/ 68 w 68"/>
                  <a:gd name="T11" fmla="*/ 3 h 6"/>
                  <a:gd name="T12" fmla="*/ 65 w 68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" h="6">
                    <a:moveTo>
                      <a:pt x="65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4"/>
                      <a:pt x="1" y="6"/>
                      <a:pt x="3" y="6"/>
                    </a:cubicBezTo>
                    <a:cubicBezTo>
                      <a:pt x="65" y="6"/>
                      <a:pt x="65" y="6"/>
                      <a:pt x="65" y="6"/>
                    </a:cubicBezTo>
                    <a:cubicBezTo>
                      <a:pt x="67" y="6"/>
                      <a:pt x="68" y="4"/>
                      <a:pt x="68" y="3"/>
                    </a:cubicBezTo>
                    <a:cubicBezTo>
                      <a:pt x="68" y="1"/>
                      <a:pt x="67" y="0"/>
                      <a:pt x="65" y="0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75" name="Groupe 474">
            <a:extLst>
              <a:ext uri="{FF2B5EF4-FFF2-40B4-BE49-F238E27FC236}">
                <a16:creationId xmlns:a16="http://schemas.microsoft.com/office/drawing/2014/main" id="{791C41CC-E291-4A16-B1F8-EA8AB3813C8B}"/>
              </a:ext>
            </a:extLst>
          </p:cNvPr>
          <p:cNvGrpSpPr/>
          <p:nvPr/>
        </p:nvGrpSpPr>
        <p:grpSpPr>
          <a:xfrm>
            <a:off x="6950768" y="3103488"/>
            <a:ext cx="865004" cy="865444"/>
            <a:chOff x="5214865" y="2962223"/>
            <a:chExt cx="648743" cy="649073"/>
          </a:xfrm>
        </p:grpSpPr>
        <p:sp>
          <p:nvSpPr>
            <p:cNvPr id="751" name="Oval 5">
              <a:extLst>
                <a:ext uri="{FF2B5EF4-FFF2-40B4-BE49-F238E27FC236}">
                  <a16:creationId xmlns:a16="http://schemas.microsoft.com/office/drawing/2014/main" id="{8E0E8C92-6C71-4288-9977-1DC2A201C1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4865" y="2962223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752" name="Graphique 166">
              <a:extLst>
                <a:ext uri="{FF2B5EF4-FFF2-40B4-BE49-F238E27FC236}">
                  <a16:creationId xmlns:a16="http://schemas.microsoft.com/office/drawing/2014/main" id="{69B84318-D8D6-4047-9969-31266E6C6633}"/>
                </a:ext>
              </a:extLst>
            </p:cNvPr>
            <p:cNvGrpSpPr/>
            <p:nvPr/>
          </p:nvGrpSpPr>
          <p:grpSpPr>
            <a:xfrm>
              <a:off x="5326317" y="3133725"/>
              <a:ext cx="425838" cy="306070"/>
              <a:chOff x="5343355" y="3206354"/>
              <a:chExt cx="304800" cy="219075"/>
            </a:xfrm>
          </p:grpSpPr>
          <p:sp>
            <p:nvSpPr>
              <p:cNvPr id="753" name="Forme libre : forme 752">
                <a:extLst>
                  <a:ext uri="{FF2B5EF4-FFF2-40B4-BE49-F238E27FC236}">
                    <a16:creationId xmlns:a16="http://schemas.microsoft.com/office/drawing/2014/main" id="{8C3DC588-EB93-44ED-8F80-1CB0400CFEEE}"/>
                  </a:ext>
                </a:extLst>
              </p:cNvPr>
              <p:cNvSpPr/>
              <p:nvPr/>
            </p:nvSpPr>
            <p:spPr>
              <a:xfrm>
                <a:off x="5379740" y="3206354"/>
                <a:ext cx="266700" cy="209550"/>
              </a:xfrm>
              <a:custGeom>
                <a:avLst/>
                <a:gdLst>
                  <a:gd name="connsiteX0" fmla="*/ 268415 w 266700"/>
                  <a:gd name="connsiteY0" fmla="*/ 181928 h 209550"/>
                  <a:gd name="connsiteX1" fmla="*/ 268415 w 266700"/>
                  <a:gd name="connsiteY1" fmla="*/ 63722 h 209550"/>
                  <a:gd name="connsiteX2" fmla="*/ 204692 w 266700"/>
                  <a:gd name="connsiteY2" fmla="*/ 0 h 209550"/>
                  <a:gd name="connsiteX3" fmla="*/ 126587 w 266700"/>
                  <a:gd name="connsiteY3" fmla="*/ 0 h 209550"/>
                  <a:gd name="connsiteX4" fmla="*/ 126968 w 266700"/>
                  <a:gd name="connsiteY4" fmla="*/ 44768 h 209550"/>
                  <a:gd name="connsiteX5" fmla="*/ 0 w 266700"/>
                  <a:gd name="connsiteY5" fmla="*/ 44863 h 209550"/>
                  <a:gd name="connsiteX6" fmla="*/ 0 w 266700"/>
                  <a:gd name="connsiteY6" fmla="*/ 218313 h 209550"/>
                  <a:gd name="connsiteX7" fmla="*/ 232029 w 266700"/>
                  <a:gd name="connsiteY7" fmla="*/ 218313 h 209550"/>
                  <a:gd name="connsiteX8" fmla="*/ 268415 w 266700"/>
                  <a:gd name="connsiteY8" fmla="*/ 181928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66700" h="209550">
                    <a:moveTo>
                      <a:pt x="268415" y="181928"/>
                    </a:moveTo>
                    <a:lnTo>
                      <a:pt x="268415" y="63722"/>
                    </a:lnTo>
                    <a:lnTo>
                      <a:pt x="204692" y="0"/>
                    </a:lnTo>
                    <a:lnTo>
                      <a:pt x="126587" y="0"/>
                    </a:lnTo>
                    <a:lnTo>
                      <a:pt x="126968" y="44768"/>
                    </a:lnTo>
                    <a:lnTo>
                      <a:pt x="0" y="44863"/>
                    </a:lnTo>
                    <a:lnTo>
                      <a:pt x="0" y="218313"/>
                    </a:lnTo>
                    <a:lnTo>
                      <a:pt x="232029" y="218313"/>
                    </a:lnTo>
                    <a:cubicBezTo>
                      <a:pt x="252127" y="218408"/>
                      <a:pt x="268415" y="202025"/>
                      <a:pt x="268415" y="181928"/>
                    </a:cubicBezTo>
                    <a:close/>
                  </a:path>
                </a:pathLst>
              </a:custGeom>
              <a:solidFill>
                <a:srgbClr val="FC0D1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754" name="Forme libre : forme 753">
                <a:extLst>
                  <a:ext uri="{FF2B5EF4-FFF2-40B4-BE49-F238E27FC236}">
                    <a16:creationId xmlns:a16="http://schemas.microsoft.com/office/drawing/2014/main" id="{C5ADE9A7-2E5F-4B96-97C7-47FDFD8442B3}"/>
                  </a:ext>
                </a:extLst>
              </p:cNvPr>
              <p:cNvSpPr/>
              <p:nvPr/>
            </p:nvSpPr>
            <p:spPr>
              <a:xfrm>
                <a:off x="5375168" y="3206354"/>
                <a:ext cx="133350" cy="209550"/>
              </a:xfrm>
              <a:custGeom>
                <a:avLst/>
                <a:gdLst>
                  <a:gd name="connsiteX0" fmla="*/ 142018 w 133350"/>
                  <a:gd name="connsiteY0" fmla="*/ 218408 h 209550"/>
                  <a:gd name="connsiteX1" fmla="*/ 0 w 133350"/>
                  <a:gd name="connsiteY1" fmla="*/ 218408 h 209550"/>
                  <a:gd name="connsiteX2" fmla="*/ 0 w 133350"/>
                  <a:gd name="connsiteY2" fmla="*/ 16288 h 209550"/>
                  <a:gd name="connsiteX3" fmla="*/ 31909 w 133350"/>
                  <a:gd name="connsiteY3" fmla="*/ 16193 h 209550"/>
                  <a:gd name="connsiteX4" fmla="*/ 31909 w 133350"/>
                  <a:gd name="connsiteY4" fmla="*/ 0 h 209550"/>
                  <a:gd name="connsiteX5" fmla="*/ 142018 w 133350"/>
                  <a:gd name="connsiteY5" fmla="*/ 0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3350" h="209550">
                    <a:moveTo>
                      <a:pt x="142018" y="218408"/>
                    </a:moveTo>
                    <a:lnTo>
                      <a:pt x="0" y="218408"/>
                    </a:lnTo>
                    <a:lnTo>
                      <a:pt x="0" y="16288"/>
                    </a:lnTo>
                    <a:lnTo>
                      <a:pt x="31909" y="16193"/>
                    </a:lnTo>
                    <a:lnTo>
                      <a:pt x="31909" y="0"/>
                    </a:lnTo>
                    <a:lnTo>
                      <a:pt x="142018" y="0"/>
                    </a:lnTo>
                    <a:close/>
                  </a:path>
                </a:pathLst>
              </a:custGeom>
              <a:solidFill>
                <a:srgbClr val="FC0D1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755" name="Forme libre : forme 754">
                <a:extLst>
                  <a:ext uri="{FF2B5EF4-FFF2-40B4-BE49-F238E27FC236}">
                    <a16:creationId xmlns:a16="http://schemas.microsoft.com/office/drawing/2014/main" id="{8191992A-1750-404C-A55A-CCA6C33CF8A9}"/>
                  </a:ext>
                </a:extLst>
              </p:cNvPr>
              <p:cNvSpPr/>
              <p:nvPr/>
            </p:nvSpPr>
            <p:spPr>
              <a:xfrm>
                <a:off x="5538427" y="3303700"/>
                <a:ext cx="76200" cy="9525"/>
              </a:xfrm>
              <a:custGeom>
                <a:avLst/>
                <a:gdLst>
                  <a:gd name="connsiteX0" fmla="*/ 0 w 76200"/>
                  <a:gd name="connsiteY0" fmla="*/ 0 h 0"/>
                  <a:gd name="connsiteX1" fmla="*/ 79629 w 76200"/>
                  <a:gd name="connsiteY1" fmla="*/ 0 h 0"/>
                  <a:gd name="connsiteX2" fmla="*/ 79629 w 76200"/>
                  <a:gd name="connsiteY2" fmla="*/ 7715 h 0"/>
                  <a:gd name="connsiteX3" fmla="*/ 0 w 76200"/>
                  <a:gd name="connsiteY3" fmla="*/ 7715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">
                    <a:moveTo>
                      <a:pt x="0" y="0"/>
                    </a:moveTo>
                    <a:lnTo>
                      <a:pt x="79629" y="0"/>
                    </a:lnTo>
                    <a:lnTo>
                      <a:pt x="79629" y="7715"/>
                    </a:lnTo>
                    <a:lnTo>
                      <a:pt x="0" y="7715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756" name="Forme libre : forme 755">
                <a:extLst>
                  <a:ext uri="{FF2B5EF4-FFF2-40B4-BE49-F238E27FC236}">
                    <a16:creationId xmlns:a16="http://schemas.microsoft.com/office/drawing/2014/main" id="{202D21DE-3B81-4B51-852E-219FFF969351}"/>
                  </a:ext>
                </a:extLst>
              </p:cNvPr>
              <p:cNvSpPr/>
              <p:nvPr/>
            </p:nvSpPr>
            <p:spPr>
              <a:xfrm>
                <a:off x="5538427" y="3358468"/>
                <a:ext cx="76200" cy="9525"/>
              </a:xfrm>
              <a:custGeom>
                <a:avLst/>
                <a:gdLst>
                  <a:gd name="connsiteX0" fmla="*/ 0 w 76200"/>
                  <a:gd name="connsiteY0" fmla="*/ 0 h 0"/>
                  <a:gd name="connsiteX1" fmla="*/ 79629 w 76200"/>
                  <a:gd name="connsiteY1" fmla="*/ 0 h 0"/>
                  <a:gd name="connsiteX2" fmla="*/ 79629 w 76200"/>
                  <a:gd name="connsiteY2" fmla="*/ 7715 h 0"/>
                  <a:gd name="connsiteX3" fmla="*/ 0 w 76200"/>
                  <a:gd name="connsiteY3" fmla="*/ 7715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">
                    <a:moveTo>
                      <a:pt x="0" y="0"/>
                    </a:moveTo>
                    <a:lnTo>
                      <a:pt x="79629" y="0"/>
                    </a:lnTo>
                    <a:lnTo>
                      <a:pt x="79629" y="7715"/>
                    </a:lnTo>
                    <a:lnTo>
                      <a:pt x="0" y="7715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757" name="Forme libre : forme 756">
                <a:extLst>
                  <a:ext uri="{FF2B5EF4-FFF2-40B4-BE49-F238E27FC236}">
                    <a16:creationId xmlns:a16="http://schemas.microsoft.com/office/drawing/2014/main" id="{A47BAB0E-6AAC-4FDE-8546-E5D5009975DF}"/>
                  </a:ext>
                </a:extLst>
              </p:cNvPr>
              <p:cNvSpPr/>
              <p:nvPr/>
            </p:nvSpPr>
            <p:spPr>
              <a:xfrm>
                <a:off x="5437557" y="3385805"/>
                <a:ext cx="76200" cy="9525"/>
              </a:xfrm>
              <a:custGeom>
                <a:avLst/>
                <a:gdLst>
                  <a:gd name="connsiteX0" fmla="*/ 0 w 76200"/>
                  <a:gd name="connsiteY0" fmla="*/ 0 h 0"/>
                  <a:gd name="connsiteX1" fmla="*/ 79629 w 76200"/>
                  <a:gd name="connsiteY1" fmla="*/ 0 h 0"/>
                  <a:gd name="connsiteX2" fmla="*/ 79629 w 76200"/>
                  <a:gd name="connsiteY2" fmla="*/ 7715 h 0"/>
                  <a:gd name="connsiteX3" fmla="*/ 0 w 76200"/>
                  <a:gd name="connsiteY3" fmla="*/ 7715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">
                    <a:moveTo>
                      <a:pt x="0" y="0"/>
                    </a:moveTo>
                    <a:lnTo>
                      <a:pt x="79629" y="0"/>
                    </a:lnTo>
                    <a:lnTo>
                      <a:pt x="79629" y="7715"/>
                    </a:lnTo>
                    <a:lnTo>
                      <a:pt x="0" y="7715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758" name="Forme libre : forme 757">
                <a:extLst>
                  <a:ext uri="{FF2B5EF4-FFF2-40B4-BE49-F238E27FC236}">
                    <a16:creationId xmlns:a16="http://schemas.microsoft.com/office/drawing/2014/main" id="{3EECCF7C-B85D-4511-8521-6A9287DBF827}"/>
                  </a:ext>
                </a:extLst>
              </p:cNvPr>
              <p:cNvSpPr/>
              <p:nvPr/>
            </p:nvSpPr>
            <p:spPr>
              <a:xfrm>
                <a:off x="5538427" y="3385805"/>
                <a:ext cx="76200" cy="9525"/>
              </a:xfrm>
              <a:custGeom>
                <a:avLst/>
                <a:gdLst>
                  <a:gd name="connsiteX0" fmla="*/ 0 w 76200"/>
                  <a:gd name="connsiteY0" fmla="*/ 0 h 0"/>
                  <a:gd name="connsiteX1" fmla="*/ 79629 w 76200"/>
                  <a:gd name="connsiteY1" fmla="*/ 0 h 0"/>
                  <a:gd name="connsiteX2" fmla="*/ 79629 w 76200"/>
                  <a:gd name="connsiteY2" fmla="*/ 7715 h 0"/>
                  <a:gd name="connsiteX3" fmla="*/ 0 w 76200"/>
                  <a:gd name="connsiteY3" fmla="*/ 7715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">
                    <a:moveTo>
                      <a:pt x="0" y="0"/>
                    </a:moveTo>
                    <a:lnTo>
                      <a:pt x="79629" y="0"/>
                    </a:lnTo>
                    <a:lnTo>
                      <a:pt x="79629" y="7715"/>
                    </a:lnTo>
                    <a:lnTo>
                      <a:pt x="0" y="7715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759" name="Forme libre : forme 758">
                <a:extLst>
                  <a:ext uri="{FF2B5EF4-FFF2-40B4-BE49-F238E27FC236}">
                    <a16:creationId xmlns:a16="http://schemas.microsoft.com/office/drawing/2014/main" id="{7BEE0E7F-71B1-4518-8725-52869F01A75D}"/>
                  </a:ext>
                </a:extLst>
              </p:cNvPr>
              <p:cNvSpPr/>
              <p:nvPr/>
            </p:nvSpPr>
            <p:spPr>
              <a:xfrm>
                <a:off x="5538427" y="3331132"/>
                <a:ext cx="76200" cy="9525"/>
              </a:xfrm>
              <a:custGeom>
                <a:avLst/>
                <a:gdLst>
                  <a:gd name="connsiteX0" fmla="*/ 0 w 76200"/>
                  <a:gd name="connsiteY0" fmla="*/ 0 h 0"/>
                  <a:gd name="connsiteX1" fmla="*/ 79629 w 76200"/>
                  <a:gd name="connsiteY1" fmla="*/ 0 h 0"/>
                  <a:gd name="connsiteX2" fmla="*/ 79629 w 76200"/>
                  <a:gd name="connsiteY2" fmla="*/ 7715 h 0"/>
                  <a:gd name="connsiteX3" fmla="*/ 0 w 76200"/>
                  <a:gd name="connsiteY3" fmla="*/ 7715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">
                    <a:moveTo>
                      <a:pt x="0" y="0"/>
                    </a:moveTo>
                    <a:lnTo>
                      <a:pt x="79629" y="0"/>
                    </a:lnTo>
                    <a:lnTo>
                      <a:pt x="79629" y="7715"/>
                    </a:lnTo>
                    <a:lnTo>
                      <a:pt x="0" y="7715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760" name="Forme libre : forme 759">
                <a:extLst>
                  <a:ext uri="{FF2B5EF4-FFF2-40B4-BE49-F238E27FC236}">
                    <a16:creationId xmlns:a16="http://schemas.microsoft.com/office/drawing/2014/main" id="{4240A706-E8C1-4C93-B782-8DC13A57B913}"/>
                  </a:ext>
                </a:extLst>
              </p:cNvPr>
              <p:cNvSpPr/>
              <p:nvPr/>
            </p:nvSpPr>
            <p:spPr>
              <a:xfrm>
                <a:off x="5439843" y="3242549"/>
                <a:ext cx="104775" cy="28575"/>
              </a:xfrm>
              <a:custGeom>
                <a:avLst/>
                <a:gdLst>
                  <a:gd name="connsiteX0" fmla="*/ 0 w 104775"/>
                  <a:gd name="connsiteY0" fmla="*/ 0 h 28575"/>
                  <a:gd name="connsiteX1" fmla="*/ 0 w 104775"/>
                  <a:gd name="connsiteY1" fmla="*/ 33338 h 28575"/>
                  <a:gd name="connsiteX2" fmla="*/ 112205 w 104775"/>
                  <a:gd name="connsiteY2" fmla="*/ 33338 h 28575"/>
                  <a:gd name="connsiteX3" fmla="*/ 112205 w 104775"/>
                  <a:gd name="connsiteY3" fmla="*/ 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775" h="28575">
                    <a:moveTo>
                      <a:pt x="0" y="0"/>
                    </a:moveTo>
                    <a:lnTo>
                      <a:pt x="0" y="33338"/>
                    </a:lnTo>
                    <a:lnTo>
                      <a:pt x="112205" y="33338"/>
                    </a:lnTo>
                    <a:lnTo>
                      <a:pt x="112205" y="0"/>
                    </a:lnTo>
                    <a:close/>
                  </a:path>
                </a:pathLst>
              </a:custGeom>
              <a:solidFill>
                <a:srgbClr val="2E404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761" name="Forme libre : forme 760">
                <a:extLst>
                  <a:ext uri="{FF2B5EF4-FFF2-40B4-BE49-F238E27FC236}">
                    <a16:creationId xmlns:a16="http://schemas.microsoft.com/office/drawing/2014/main" id="{38031353-D2DB-4757-8DDD-F72D09568306}"/>
                  </a:ext>
                </a:extLst>
              </p:cNvPr>
              <p:cNvSpPr/>
              <p:nvPr/>
            </p:nvSpPr>
            <p:spPr>
              <a:xfrm>
                <a:off x="5437557" y="3302938"/>
                <a:ext cx="76200" cy="57150"/>
              </a:xfrm>
              <a:custGeom>
                <a:avLst/>
                <a:gdLst>
                  <a:gd name="connsiteX0" fmla="*/ 0 w 76200"/>
                  <a:gd name="connsiteY0" fmla="*/ 0 h 57150"/>
                  <a:gd name="connsiteX1" fmla="*/ 79629 w 76200"/>
                  <a:gd name="connsiteY1" fmla="*/ 0 h 57150"/>
                  <a:gd name="connsiteX2" fmla="*/ 79629 w 76200"/>
                  <a:gd name="connsiteY2" fmla="*/ 63722 h 57150"/>
                  <a:gd name="connsiteX3" fmla="*/ 0 w 76200"/>
                  <a:gd name="connsiteY3" fmla="*/ 63722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" h="57150">
                    <a:moveTo>
                      <a:pt x="0" y="0"/>
                    </a:moveTo>
                    <a:lnTo>
                      <a:pt x="79629" y="0"/>
                    </a:lnTo>
                    <a:lnTo>
                      <a:pt x="79629" y="63722"/>
                    </a:lnTo>
                    <a:lnTo>
                      <a:pt x="0" y="63722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762" name="Forme libre : forme 761">
                <a:extLst>
                  <a:ext uri="{FF2B5EF4-FFF2-40B4-BE49-F238E27FC236}">
                    <a16:creationId xmlns:a16="http://schemas.microsoft.com/office/drawing/2014/main" id="{F19F361C-81DB-4F4E-993F-23D2A620D9B3}"/>
                  </a:ext>
                </a:extLst>
              </p:cNvPr>
              <p:cNvSpPr/>
              <p:nvPr/>
            </p:nvSpPr>
            <p:spPr>
              <a:xfrm>
                <a:off x="5455083" y="3344371"/>
                <a:ext cx="38100" cy="19050"/>
              </a:xfrm>
              <a:custGeom>
                <a:avLst/>
                <a:gdLst>
                  <a:gd name="connsiteX0" fmla="*/ 44577 w 38100"/>
                  <a:gd name="connsiteY0" fmla="*/ 22289 h 19050"/>
                  <a:gd name="connsiteX1" fmla="*/ 22289 w 38100"/>
                  <a:gd name="connsiteY1" fmla="*/ 0 h 19050"/>
                  <a:gd name="connsiteX2" fmla="*/ 0 w 38100"/>
                  <a:gd name="connsiteY2" fmla="*/ 22289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100" h="19050">
                    <a:moveTo>
                      <a:pt x="44577" y="22289"/>
                    </a:moveTo>
                    <a:cubicBezTo>
                      <a:pt x="44577" y="10001"/>
                      <a:pt x="34576" y="0"/>
                      <a:pt x="22289" y="0"/>
                    </a:cubicBezTo>
                    <a:cubicBezTo>
                      <a:pt x="10001" y="0"/>
                      <a:pt x="0" y="10001"/>
                      <a:pt x="0" y="22289"/>
                    </a:cubicBezTo>
                  </a:path>
                </a:pathLst>
              </a:custGeom>
              <a:solidFill>
                <a:srgbClr val="FC0D1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763" name="Forme libre : forme 762">
                <a:extLst>
                  <a:ext uri="{FF2B5EF4-FFF2-40B4-BE49-F238E27FC236}">
                    <a16:creationId xmlns:a16="http://schemas.microsoft.com/office/drawing/2014/main" id="{BF730677-0A17-41E6-B862-E5D117F1967E}"/>
                  </a:ext>
                </a:extLst>
              </p:cNvPr>
              <p:cNvSpPr/>
              <p:nvPr/>
            </p:nvSpPr>
            <p:spPr>
              <a:xfrm>
                <a:off x="5466132" y="3317986"/>
                <a:ext cx="19050" cy="19050"/>
              </a:xfrm>
              <a:custGeom>
                <a:avLst/>
                <a:gdLst>
                  <a:gd name="connsiteX0" fmla="*/ 22670 w 19050"/>
                  <a:gd name="connsiteY0" fmla="*/ 11336 h 19050"/>
                  <a:gd name="connsiteX1" fmla="*/ 11335 w 19050"/>
                  <a:gd name="connsiteY1" fmla="*/ 22671 h 19050"/>
                  <a:gd name="connsiteX2" fmla="*/ 0 w 19050"/>
                  <a:gd name="connsiteY2" fmla="*/ 11336 h 19050"/>
                  <a:gd name="connsiteX3" fmla="*/ 11335 w 19050"/>
                  <a:gd name="connsiteY3" fmla="*/ 1 h 19050"/>
                  <a:gd name="connsiteX4" fmla="*/ 22670 w 19050"/>
                  <a:gd name="connsiteY4" fmla="*/ 11336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22670" y="11336"/>
                    </a:moveTo>
                    <a:cubicBezTo>
                      <a:pt x="22670" y="17623"/>
                      <a:pt x="17621" y="22671"/>
                      <a:pt x="11335" y="22671"/>
                    </a:cubicBezTo>
                    <a:cubicBezTo>
                      <a:pt x="5048" y="22671"/>
                      <a:pt x="0" y="17623"/>
                      <a:pt x="0" y="11336"/>
                    </a:cubicBezTo>
                    <a:cubicBezTo>
                      <a:pt x="0" y="5050"/>
                      <a:pt x="5048" y="1"/>
                      <a:pt x="11335" y="1"/>
                    </a:cubicBezTo>
                    <a:cubicBezTo>
                      <a:pt x="17526" y="-94"/>
                      <a:pt x="22670" y="5050"/>
                      <a:pt x="22670" y="11336"/>
                    </a:cubicBezTo>
                  </a:path>
                </a:pathLst>
              </a:custGeom>
              <a:solidFill>
                <a:srgbClr val="FC0D1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764" name="Forme libre : forme 763">
                <a:extLst>
                  <a:ext uri="{FF2B5EF4-FFF2-40B4-BE49-F238E27FC236}">
                    <a16:creationId xmlns:a16="http://schemas.microsoft.com/office/drawing/2014/main" id="{A6BB4491-FC21-4C09-881A-2C685FEDC4F7}"/>
                  </a:ext>
                </a:extLst>
              </p:cNvPr>
              <p:cNvSpPr/>
              <p:nvPr/>
            </p:nvSpPr>
            <p:spPr>
              <a:xfrm>
                <a:off x="5576718" y="3206354"/>
                <a:ext cx="66675" cy="66675"/>
              </a:xfrm>
              <a:custGeom>
                <a:avLst/>
                <a:gdLst>
                  <a:gd name="connsiteX0" fmla="*/ 71438 w 66675"/>
                  <a:gd name="connsiteY0" fmla="*/ 71438 h 66675"/>
                  <a:gd name="connsiteX1" fmla="*/ 3905 w 66675"/>
                  <a:gd name="connsiteY1" fmla="*/ 71438 h 66675"/>
                  <a:gd name="connsiteX2" fmla="*/ 0 w 66675"/>
                  <a:gd name="connsiteY2" fmla="*/ 67532 h 66675"/>
                  <a:gd name="connsiteX3" fmla="*/ 0 w 66675"/>
                  <a:gd name="connsiteY3" fmla="*/ 0 h 66675"/>
                  <a:gd name="connsiteX4" fmla="*/ 7715 w 66675"/>
                  <a:gd name="connsiteY4" fmla="*/ 0 h 66675"/>
                  <a:gd name="connsiteX5" fmla="*/ 7715 w 66675"/>
                  <a:gd name="connsiteY5" fmla="*/ 63722 h 66675"/>
                  <a:gd name="connsiteX6" fmla="*/ 71438 w 66675"/>
                  <a:gd name="connsiteY6" fmla="*/ 63722 h 66675"/>
                  <a:gd name="connsiteX7" fmla="*/ 71438 w 66675"/>
                  <a:gd name="connsiteY7" fmla="*/ 71438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675" h="66675">
                    <a:moveTo>
                      <a:pt x="71438" y="71438"/>
                    </a:moveTo>
                    <a:lnTo>
                      <a:pt x="3905" y="71438"/>
                    </a:lnTo>
                    <a:cubicBezTo>
                      <a:pt x="1810" y="71438"/>
                      <a:pt x="0" y="69723"/>
                      <a:pt x="0" y="67532"/>
                    </a:cubicBezTo>
                    <a:lnTo>
                      <a:pt x="0" y="0"/>
                    </a:lnTo>
                    <a:lnTo>
                      <a:pt x="7715" y="0"/>
                    </a:lnTo>
                    <a:lnTo>
                      <a:pt x="7715" y="63722"/>
                    </a:lnTo>
                    <a:lnTo>
                      <a:pt x="71438" y="63722"/>
                    </a:lnTo>
                    <a:lnTo>
                      <a:pt x="71438" y="71438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765" name="Forme libre : forme 764">
                <a:extLst>
                  <a:ext uri="{FF2B5EF4-FFF2-40B4-BE49-F238E27FC236}">
                    <a16:creationId xmlns:a16="http://schemas.microsoft.com/office/drawing/2014/main" id="{24F62F24-7DFF-4CA3-B5FD-64F7A988E5CA}"/>
                  </a:ext>
                </a:extLst>
              </p:cNvPr>
              <p:cNvSpPr/>
              <p:nvPr/>
            </p:nvSpPr>
            <p:spPr>
              <a:xfrm>
                <a:off x="5343355" y="3206354"/>
                <a:ext cx="57150" cy="209550"/>
              </a:xfrm>
              <a:custGeom>
                <a:avLst/>
                <a:gdLst>
                  <a:gd name="connsiteX0" fmla="*/ 50006 w 57150"/>
                  <a:gd name="connsiteY0" fmla="*/ 0 h 209550"/>
                  <a:gd name="connsiteX1" fmla="*/ 50006 w 57150"/>
                  <a:gd name="connsiteY1" fmla="*/ 15050 h 209550"/>
                  <a:gd name="connsiteX2" fmla="*/ 0 w 57150"/>
                  <a:gd name="connsiteY2" fmla="*/ 15050 h 209550"/>
                  <a:gd name="connsiteX3" fmla="*/ 0 w 57150"/>
                  <a:gd name="connsiteY3" fmla="*/ 186500 h 209550"/>
                  <a:gd name="connsiteX4" fmla="*/ 31814 w 57150"/>
                  <a:gd name="connsiteY4" fmla="*/ 218313 h 209550"/>
                  <a:gd name="connsiteX5" fmla="*/ 63627 w 57150"/>
                  <a:gd name="connsiteY5" fmla="*/ 186500 h 209550"/>
                  <a:gd name="connsiteX6" fmla="*/ 63627 w 57150"/>
                  <a:gd name="connsiteY6" fmla="*/ 0 h 209550"/>
                  <a:gd name="connsiteX7" fmla="*/ 50006 w 57150"/>
                  <a:gd name="connsiteY7" fmla="*/ 0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7150" h="209550">
                    <a:moveTo>
                      <a:pt x="50006" y="0"/>
                    </a:moveTo>
                    <a:lnTo>
                      <a:pt x="50006" y="15050"/>
                    </a:lnTo>
                    <a:lnTo>
                      <a:pt x="0" y="15050"/>
                    </a:lnTo>
                    <a:lnTo>
                      <a:pt x="0" y="186500"/>
                    </a:lnTo>
                    <a:cubicBezTo>
                      <a:pt x="0" y="204121"/>
                      <a:pt x="14288" y="218313"/>
                      <a:pt x="31814" y="218313"/>
                    </a:cubicBezTo>
                    <a:cubicBezTo>
                      <a:pt x="49435" y="218313"/>
                      <a:pt x="63627" y="204026"/>
                      <a:pt x="63627" y="186500"/>
                    </a:cubicBezTo>
                    <a:lnTo>
                      <a:pt x="63627" y="0"/>
                    </a:lnTo>
                    <a:lnTo>
                      <a:pt x="50006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766" name="Forme libre : forme 765">
                <a:extLst>
                  <a:ext uri="{FF2B5EF4-FFF2-40B4-BE49-F238E27FC236}">
                    <a16:creationId xmlns:a16="http://schemas.microsoft.com/office/drawing/2014/main" id="{EBFDCC7A-08B6-497C-9080-1A5E5F067218}"/>
                  </a:ext>
                </a:extLst>
              </p:cNvPr>
              <p:cNvSpPr/>
              <p:nvPr/>
            </p:nvSpPr>
            <p:spPr>
              <a:xfrm>
                <a:off x="5343355" y="3206354"/>
                <a:ext cx="9525" cy="9525"/>
              </a:xfrm>
              <a:custGeom>
                <a:avLst/>
                <a:gdLst/>
                <a:ahLst/>
                <a:cxnLst/>
                <a:rect l="l" t="t" r="r" b="b"/>
                <a:pathLst>
                  <a:path/>
                </a:pathLst>
              </a:custGeom>
              <a:solidFill>
                <a:srgbClr val="C61B1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767" name="Forme libre : forme 766">
                <a:extLst>
                  <a:ext uri="{FF2B5EF4-FFF2-40B4-BE49-F238E27FC236}">
                    <a16:creationId xmlns:a16="http://schemas.microsoft.com/office/drawing/2014/main" id="{4B934C77-248A-4152-9774-22BB0FB12FED}"/>
                  </a:ext>
                </a:extLst>
              </p:cNvPr>
              <p:cNvSpPr/>
              <p:nvPr/>
            </p:nvSpPr>
            <p:spPr>
              <a:xfrm>
                <a:off x="5356976" y="3233691"/>
                <a:ext cx="28575" cy="171450"/>
              </a:xfrm>
              <a:custGeom>
                <a:avLst/>
                <a:gdLst>
                  <a:gd name="connsiteX0" fmla="*/ 18193 w 28575"/>
                  <a:gd name="connsiteY0" fmla="*/ 178213 h 171450"/>
                  <a:gd name="connsiteX1" fmla="*/ 18193 w 28575"/>
                  <a:gd name="connsiteY1" fmla="*/ 178213 h 171450"/>
                  <a:gd name="connsiteX2" fmla="*/ 0 w 28575"/>
                  <a:gd name="connsiteY2" fmla="*/ 160020 h 171450"/>
                  <a:gd name="connsiteX3" fmla="*/ 0 w 28575"/>
                  <a:gd name="connsiteY3" fmla="*/ 0 h 171450"/>
                  <a:gd name="connsiteX4" fmla="*/ 36386 w 28575"/>
                  <a:gd name="connsiteY4" fmla="*/ 0 h 171450"/>
                  <a:gd name="connsiteX5" fmla="*/ 36386 w 28575"/>
                  <a:gd name="connsiteY5" fmla="*/ 160020 h 171450"/>
                  <a:gd name="connsiteX6" fmla="*/ 18193 w 28575"/>
                  <a:gd name="connsiteY6" fmla="*/ 178213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575" h="171450">
                    <a:moveTo>
                      <a:pt x="18193" y="178213"/>
                    </a:moveTo>
                    <a:lnTo>
                      <a:pt x="18193" y="178213"/>
                    </a:lnTo>
                    <a:cubicBezTo>
                      <a:pt x="8096" y="178213"/>
                      <a:pt x="0" y="170021"/>
                      <a:pt x="0" y="160020"/>
                    </a:cubicBezTo>
                    <a:lnTo>
                      <a:pt x="0" y="0"/>
                    </a:lnTo>
                    <a:lnTo>
                      <a:pt x="36386" y="0"/>
                    </a:lnTo>
                    <a:lnTo>
                      <a:pt x="36386" y="160020"/>
                    </a:lnTo>
                    <a:cubicBezTo>
                      <a:pt x="36386" y="170021"/>
                      <a:pt x="28289" y="178213"/>
                      <a:pt x="18193" y="178213"/>
                    </a:cubicBezTo>
                    <a:close/>
                  </a:path>
                </a:pathLst>
              </a:custGeom>
              <a:solidFill>
                <a:srgbClr val="C6222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grpSp>
        <p:nvGrpSpPr>
          <p:cNvPr id="476" name="Groupe 475">
            <a:extLst>
              <a:ext uri="{FF2B5EF4-FFF2-40B4-BE49-F238E27FC236}">
                <a16:creationId xmlns:a16="http://schemas.microsoft.com/office/drawing/2014/main" id="{4B6DAB99-C8F3-4A72-AB3D-FA97F30BC415}"/>
              </a:ext>
            </a:extLst>
          </p:cNvPr>
          <p:cNvGrpSpPr/>
          <p:nvPr/>
        </p:nvGrpSpPr>
        <p:grpSpPr>
          <a:xfrm>
            <a:off x="1492410" y="3103488"/>
            <a:ext cx="865004" cy="865444"/>
            <a:chOff x="1121159" y="2962223"/>
            <a:chExt cx="648743" cy="649073"/>
          </a:xfrm>
        </p:grpSpPr>
        <p:sp>
          <p:nvSpPr>
            <p:cNvPr id="735" name="Oval 5">
              <a:extLst>
                <a:ext uri="{FF2B5EF4-FFF2-40B4-BE49-F238E27FC236}">
                  <a16:creationId xmlns:a16="http://schemas.microsoft.com/office/drawing/2014/main" id="{2D413879-877E-42B9-8E71-2FC0777143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1159" y="2962223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736" name="Group 93">
              <a:extLst>
                <a:ext uri="{FF2B5EF4-FFF2-40B4-BE49-F238E27FC236}">
                  <a16:creationId xmlns:a16="http://schemas.microsoft.com/office/drawing/2014/main" id="{7CF8D027-8D1E-47F2-A995-260633C339C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230424" y="3099659"/>
              <a:ext cx="430212" cy="374200"/>
              <a:chOff x="716" y="1899"/>
              <a:chExt cx="361" cy="314"/>
            </a:xfrm>
          </p:grpSpPr>
          <p:sp>
            <p:nvSpPr>
              <p:cNvPr id="737" name="Freeform 94">
                <a:extLst>
                  <a:ext uri="{FF2B5EF4-FFF2-40B4-BE49-F238E27FC236}">
                    <a16:creationId xmlns:a16="http://schemas.microsoft.com/office/drawing/2014/main" id="{C91020A9-CEF4-467D-903E-E27B5C29FC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3" y="1970"/>
                <a:ext cx="132" cy="42"/>
              </a:xfrm>
              <a:custGeom>
                <a:avLst/>
                <a:gdLst>
                  <a:gd name="T0" fmla="*/ 47 w 47"/>
                  <a:gd name="T1" fmla="*/ 0 h 15"/>
                  <a:gd name="T2" fmla="*/ 38 w 47"/>
                  <a:gd name="T3" fmla="*/ 15 h 15"/>
                  <a:gd name="T4" fmla="*/ 9 w 47"/>
                  <a:gd name="T5" fmla="*/ 15 h 15"/>
                  <a:gd name="T6" fmla="*/ 0 w 47"/>
                  <a:gd name="T7" fmla="*/ 0 h 15"/>
                  <a:gd name="T8" fmla="*/ 47 w 47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15">
                    <a:moveTo>
                      <a:pt x="47" y="0"/>
                    </a:moveTo>
                    <a:cubicBezTo>
                      <a:pt x="47" y="8"/>
                      <a:pt x="43" y="15"/>
                      <a:pt x="38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4" y="15"/>
                      <a:pt x="0" y="9"/>
                      <a:pt x="0" y="0"/>
                    </a:cubicBezTo>
                    <a:lnTo>
                      <a:pt x="47" y="0"/>
                    </a:ln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38" name="Freeform 95">
                <a:extLst>
                  <a:ext uri="{FF2B5EF4-FFF2-40B4-BE49-F238E27FC236}">
                    <a16:creationId xmlns:a16="http://schemas.microsoft.com/office/drawing/2014/main" id="{1A5CCAE5-2069-4A6D-8C1E-DD1246B23D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3" y="1899"/>
                <a:ext cx="132" cy="71"/>
              </a:xfrm>
              <a:custGeom>
                <a:avLst/>
                <a:gdLst>
                  <a:gd name="T0" fmla="*/ 0 w 47"/>
                  <a:gd name="T1" fmla="*/ 25 h 25"/>
                  <a:gd name="T2" fmla="*/ 23 w 47"/>
                  <a:gd name="T3" fmla="*/ 0 h 25"/>
                  <a:gd name="T4" fmla="*/ 47 w 47"/>
                  <a:gd name="T5" fmla="*/ 25 h 25"/>
                  <a:gd name="T6" fmla="*/ 0 w 47"/>
                  <a:gd name="T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" h="25">
                    <a:moveTo>
                      <a:pt x="0" y="25"/>
                    </a:moveTo>
                    <a:cubicBezTo>
                      <a:pt x="0" y="8"/>
                      <a:pt x="10" y="0"/>
                      <a:pt x="23" y="0"/>
                    </a:cubicBezTo>
                    <a:cubicBezTo>
                      <a:pt x="36" y="0"/>
                      <a:pt x="47" y="8"/>
                      <a:pt x="47" y="25"/>
                    </a:cubicBez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39" name="Freeform 96">
                <a:extLst>
                  <a:ext uri="{FF2B5EF4-FFF2-40B4-BE49-F238E27FC236}">
                    <a16:creationId xmlns:a16="http://schemas.microsoft.com/office/drawing/2014/main" id="{6E64892E-8A5F-459D-8234-AB0956937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6" y="2046"/>
                <a:ext cx="203" cy="167"/>
              </a:xfrm>
              <a:custGeom>
                <a:avLst/>
                <a:gdLst>
                  <a:gd name="T0" fmla="*/ 51 w 72"/>
                  <a:gd name="T1" fmla="*/ 0 h 59"/>
                  <a:gd name="T2" fmla="*/ 36 w 72"/>
                  <a:gd name="T3" fmla="*/ 6 h 59"/>
                  <a:gd name="T4" fmla="*/ 21 w 72"/>
                  <a:gd name="T5" fmla="*/ 0 h 59"/>
                  <a:gd name="T6" fmla="*/ 0 w 72"/>
                  <a:gd name="T7" fmla="*/ 23 h 59"/>
                  <a:gd name="T8" fmla="*/ 0 w 72"/>
                  <a:gd name="T9" fmla="*/ 53 h 59"/>
                  <a:gd name="T10" fmla="*/ 6 w 72"/>
                  <a:gd name="T11" fmla="*/ 59 h 59"/>
                  <a:gd name="T12" fmla="*/ 66 w 72"/>
                  <a:gd name="T13" fmla="*/ 59 h 59"/>
                  <a:gd name="T14" fmla="*/ 72 w 72"/>
                  <a:gd name="T15" fmla="*/ 53 h 59"/>
                  <a:gd name="T16" fmla="*/ 72 w 72"/>
                  <a:gd name="T17" fmla="*/ 23 h 59"/>
                  <a:gd name="T18" fmla="*/ 51 w 72"/>
                  <a:gd name="T19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59">
                    <a:moveTo>
                      <a:pt x="51" y="0"/>
                    </a:moveTo>
                    <a:cubicBezTo>
                      <a:pt x="46" y="4"/>
                      <a:pt x="41" y="6"/>
                      <a:pt x="36" y="6"/>
                    </a:cubicBezTo>
                    <a:cubicBezTo>
                      <a:pt x="31" y="6"/>
                      <a:pt x="26" y="4"/>
                      <a:pt x="21" y="0"/>
                    </a:cubicBezTo>
                    <a:cubicBezTo>
                      <a:pt x="12" y="3"/>
                      <a:pt x="0" y="12"/>
                      <a:pt x="0" y="23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0" y="56"/>
                      <a:pt x="3" y="59"/>
                      <a:pt x="6" y="59"/>
                    </a:cubicBezTo>
                    <a:cubicBezTo>
                      <a:pt x="66" y="59"/>
                      <a:pt x="66" y="59"/>
                      <a:pt x="66" y="59"/>
                    </a:cubicBezTo>
                    <a:cubicBezTo>
                      <a:pt x="69" y="59"/>
                      <a:pt x="72" y="56"/>
                      <a:pt x="72" y="53"/>
                    </a:cubicBezTo>
                    <a:cubicBezTo>
                      <a:pt x="72" y="23"/>
                      <a:pt x="72" y="23"/>
                      <a:pt x="72" y="23"/>
                    </a:cubicBezTo>
                    <a:cubicBezTo>
                      <a:pt x="72" y="12"/>
                      <a:pt x="60" y="3"/>
                      <a:pt x="51" y="0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40" name="Freeform 97">
                <a:extLst>
                  <a:ext uri="{FF2B5EF4-FFF2-40B4-BE49-F238E27FC236}">
                    <a16:creationId xmlns:a16="http://schemas.microsoft.com/office/drawing/2014/main" id="{B827B36B-6573-4D14-A5EE-E42FF46FB6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4" y="1911"/>
                <a:ext cx="110" cy="132"/>
              </a:xfrm>
              <a:custGeom>
                <a:avLst/>
                <a:gdLst>
                  <a:gd name="T0" fmla="*/ 20 w 39"/>
                  <a:gd name="T1" fmla="*/ 47 h 47"/>
                  <a:gd name="T2" fmla="*/ 0 w 39"/>
                  <a:gd name="T3" fmla="*/ 23 h 47"/>
                  <a:gd name="T4" fmla="*/ 20 w 39"/>
                  <a:gd name="T5" fmla="*/ 0 h 47"/>
                  <a:gd name="T6" fmla="*/ 39 w 39"/>
                  <a:gd name="T7" fmla="*/ 23 h 47"/>
                  <a:gd name="T8" fmla="*/ 20 w 39"/>
                  <a:gd name="T9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47">
                    <a:moveTo>
                      <a:pt x="20" y="47"/>
                    </a:moveTo>
                    <a:cubicBezTo>
                      <a:pt x="9" y="47"/>
                      <a:pt x="0" y="36"/>
                      <a:pt x="0" y="23"/>
                    </a:cubicBezTo>
                    <a:cubicBezTo>
                      <a:pt x="0" y="5"/>
                      <a:pt x="9" y="0"/>
                      <a:pt x="20" y="0"/>
                    </a:cubicBezTo>
                    <a:cubicBezTo>
                      <a:pt x="30" y="0"/>
                      <a:pt x="39" y="5"/>
                      <a:pt x="39" y="23"/>
                    </a:cubicBezTo>
                    <a:cubicBezTo>
                      <a:pt x="39" y="36"/>
                      <a:pt x="30" y="47"/>
                      <a:pt x="20" y="47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41" name="Freeform 98">
                <a:extLst>
                  <a:ext uri="{FF2B5EF4-FFF2-40B4-BE49-F238E27FC236}">
                    <a16:creationId xmlns:a16="http://schemas.microsoft.com/office/drawing/2014/main" id="{098EF05C-E821-4CAD-A7F7-4F0699C056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2" y="1908"/>
                <a:ext cx="105" cy="82"/>
              </a:xfrm>
              <a:custGeom>
                <a:avLst/>
                <a:gdLst>
                  <a:gd name="T0" fmla="*/ 0 w 37"/>
                  <a:gd name="T1" fmla="*/ 7 h 29"/>
                  <a:gd name="T2" fmla="*/ 37 w 37"/>
                  <a:gd name="T3" fmla="*/ 14 h 29"/>
                  <a:gd name="T4" fmla="*/ 17 w 37"/>
                  <a:gd name="T5" fmla="*/ 0 h 29"/>
                  <a:gd name="T6" fmla="*/ 0 w 37"/>
                  <a:gd name="T7" fmla="*/ 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" h="29">
                    <a:moveTo>
                      <a:pt x="0" y="7"/>
                    </a:moveTo>
                    <a:cubicBezTo>
                      <a:pt x="0" y="7"/>
                      <a:pt x="12" y="29"/>
                      <a:pt x="37" y="14"/>
                    </a:cubicBezTo>
                    <a:cubicBezTo>
                      <a:pt x="37" y="14"/>
                      <a:pt x="34" y="0"/>
                      <a:pt x="17" y="0"/>
                    </a:cubicBezTo>
                    <a:cubicBezTo>
                      <a:pt x="1" y="0"/>
                      <a:pt x="0" y="7"/>
                      <a:pt x="0" y="7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42" name="Freeform 99">
                <a:extLst>
                  <a:ext uri="{FF2B5EF4-FFF2-40B4-BE49-F238E27FC236}">
                    <a16:creationId xmlns:a16="http://schemas.microsoft.com/office/drawing/2014/main" id="{0D8DA43D-3573-4600-94CA-0045619A31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9" y="1919"/>
                <a:ext cx="53" cy="51"/>
              </a:xfrm>
              <a:custGeom>
                <a:avLst/>
                <a:gdLst>
                  <a:gd name="T0" fmla="*/ 19 w 19"/>
                  <a:gd name="T1" fmla="*/ 18 h 18"/>
                  <a:gd name="T2" fmla="*/ 15 w 19"/>
                  <a:gd name="T3" fmla="*/ 0 h 18"/>
                  <a:gd name="T4" fmla="*/ 19 w 19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18">
                    <a:moveTo>
                      <a:pt x="19" y="18"/>
                    </a:moveTo>
                    <a:cubicBezTo>
                      <a:pt x="19" y="18"/>
                      <a:pt x="0" y="9"/>
                      <a:pt x="15" y="0"/>
                    </a:cubicBezTo>
                    <a:lnTo>
                      <a:pt x="19" y="18"/>
                    </a:ln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43" name="Freeform 100">
                <a:extLst>
                  <a:ext uri="{FF2B5EF4-FFF2-40B4-BE49-F238E27FC236}">
                    <a16:creationId xmlns:a16="http://schemas.microsoft.com/office/drawing/2014/main" id="{65D07A3A-69F3-4092-8196-D09AAA63B7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3" y="2159"/>
                <a:ext cx="8" cy="54"/>
              </a:xfrm>
              <a:custGeom>
                <a:avLst/>
                <a:gdLst>
                  <a:gd name="T0" fmla="*/ 0 w 3"/>
                  <a:gd name="T1" fmla="*/ 19 h 19"/>
                  <a:gd name="T2" fmla="*/ 0 w 3"/>
                  <a:gd name="T3" fmla="*/ 2 h 19"/>
                  <a:gd name="T4" fmla="*/ 1 w 3"/>
                  <a:gd name="T5" fmla="*/ 0 h 19"/>
                  <a:gd name="T6" fmla="*/ 3 w 3"/>
                  <a:gd name="T7" fmla="*/ 2 h 19"/>
                  <a:gd name="T8" fmla="*/ 3 w 3"/>
                  <a:gd name="T9" fmla="*/ 19 h 19"/>
                  <a:gd name="T10" fmla="*/ 0 w 3"/>
                  <a:gd name="T11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19">
                    <a:moveTo>
                      <a:pt x="0" y="1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3" y="1"/>
                      <a:pt x="3" y="2"/>
                    </a:cubicBezTo>
                    <a:cubicBezTo>
                      <a:pt x="3" y="19"/>
                      <a:pt x="3" y="19"/>
                      <a:pt x="3" y="19"/>
                    </a:cubicBez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44" name="Freeform 101">
                <a:extLst>
                  <a:ext uri="{FF2B5EF4-FFF2-40B4-BE49-F238E27FC236}">
                    <a16:creationId xmlns:a16="http://schemas.microsoft.com/office/drawing/2014/main" id="{5AAB4B5E-0DEE-48C1-A0D2-4A143C503D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1" y="1970"/>
                <a:ext cx="129" cy="57"/>
              </a:xfrm>
              <a:custGeom>
                <a:avLst/>
                <a:gdLst>
                  <a:gd name="T0" fmla="*/ 39 w 46"/>
                  <a:gd name="T1" fmla="*/ 20 h 20"/>
                  <a:gd name="T2" fmla="*/ 7 w 46"/>
                  <a:gd name="T3" fmla="*/ 20 h 20"/>
                  <a:gd name="T4" fmla="*/ 0 w 46"/>
                  <a:gd name="T5" fmla="*/ 13 h 20"/>
                  <a:gd name="T6" fmla="*/ 0 w 46"/>
                  <a:gd name="T7" fmla="*/ 0 h 20"/>
                  <a:gd name="T8" fmla="*/ 46 w 46"/>
                  <a:gd name="T9" fmla="*/ 0 h 20"/>
                  <a:gd name="T10" fmla="*/ 46 w 46"/>
                  <a:gd name="T11" fmla="*/ 13 h 20"/>
                  <a:gd name="T12" fmla="*/ 39 w 46"/>
                  <a:gd name="T13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" h="20">
                    <a:moveTo>
                      <a:pt x="39" y="20"/>
                    </a:moveTo>
                    <a:cubicBezTo>
                      <a:pt x="7" y="20"/>
                      <a:pt x="7" y="20"/>
                      <a:pt x="7" y="20"/>
                    </a:cubicBezTo>
                    <a:cubicBezTo>
                      <a:pt x="3" y="20"/>
                      <a:pt x="0" y="17"/>
                      <a:pt x="0" y="1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6" y="13"/>
                      <a:pt x="46" y="13"/>
                      <a:pt x="46" y="13"/>
                    </a:cubicBezTo>
                    <a:cubicBezTo>
                      <a:pt x="46" y="17"/>
                      <a:pt x="43" y="20"/>
                      <a:pt x="39" y="20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45" name="Freeform 102">
                <a:extLst>
                  <a:ext uri="{FF2B5EF4-FFF2-40B4-BE49-F238E27FC236}">
                    <a16:creationId xmlns:a16="http://schemas.microsoft.com/office/drawing/2014/main" id="{F7305E07-3C5D-4FB2-A2AE-27F636EB7D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4" y="2046"/>
                <a:ext cx="203" cy="167"/>
              </a:xfrm>
              <a:custGeom>
                <a:avLst/>
                <a:gdLst>
                  <a:gd name="T0" fmla="*/ 51 w 72"/>
                  <a:gd name="T1" fmla="*/ 0 h 59"/>
                  <a:gd name="T2" fmla="*/ 36 w 72"/>
                  <a:gd name="T3" fmla="*/ 6 h 59"/>
                  <a:gd name="T4" fmla="*/ 21 w 72"/>
                  <a:gd name="T5" fmla="*/ 0 h 59"/>
                  <a:gd name="T6" fmla="*/ 0 w 72"/>
                  <a:gd name="T7" fmla="*/ 23 h 59"/>
                  <a:gd name="T8" fmla="*/ 0 w 72"/>
                  <a:gd name="T9" fmla="*/ 59 h 59"/>
                  <a:gd name="T10" fmla="*/ 66 w 72"/>
                  <a:gd name="T11" fmla="*/ 59 h 59"/>
                  <a:gd name="T12" fmla="*/ 72 w 72"/>
                  <a:gd name="T13" fmla="*/ 53 h 59"/>
                  <a:gd name="T14" fmla="*/ 72 w 72"/>
                  <a:gd name="T15" fmla="*/ 23 h 59"/>
                  <a:gd name="T16" fmla="*/ 51 w 72"/>
                  <a:gd name="T17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2" h="59">
                    <a:moveTo>
                      <a:pt x="51" y="0"/>
                    </a:moveTo>
                    <a:cubicBezTo>
                      <a:pt x="46" y="4"/>
                      <a:pt x="41" y="6"/>
                      <a:pt x="36" y="6"/>
                    </a:cubicBezTo>
                    <a:cubicBezTo>
                      <a:pt x="31" y="6"/>
                      <a:pt x="26" y="4"/>
                      <a:pt x="21" y="0"/>
                    </a:cubicBezTo>
                    <a:cubicBezTo>
                      <a:pt x="12" y="3"/>
                      <a:pt x="0" y="12"/>
                      <a:pt x="0" y="23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66" y="59"/>
                      <a:pt x="66" y="59"/>
                      <a:pt x="66" y="59"/>
                    </a:cubicBezTo>
                    <a:cubicBezTo>
                      <a:pt x="69" y="59"/>
                      <a:pt x="72" y="56"/>
                      <a:pt x="72" y="53"/>
                    </a:cubicBezTo>
                    <a:cubicBezTo>
                      <a:pt x="72" y="23"/>
                      <a:pt x="72" y="23"/>
                      <a:pt x="72" y="23"/>
                    </a:cubicBezTo>
                    <a:cubicBezTo>
                      <a:pt x="72" y="12"/>
                      <a:pt x="60" y="3"/>
                      <a:pt x="51" y="0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46" name="Freeform 103">
                <a:extLst>
                  <a:ext uri="{FF2B5EF4-FFF2-40B4-BE49-F238E27FC236}">
                    <a16:creationId xmlns:a16="http://schemas.microsoft.com/office/drawing/2014/main" id="{763C3F13-3578-445F-B980-D99AEFC8D9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9" y="1911"/>
                <a:ext cx="113" cy="132"/>
              </a:xfrm>
              <a:custGeom>
                <a:avLst/>
                <a:gdLst>
                  <a:gd name="T0" fmla="*/ 20 w 40"/>
                  <a:gd name="T1" fmla="*/ 47 h 47"/>
                  <a:gd name="T2" fmla="*/ 0 w 40"/>
                  <a:gd name="T3" fmla="*/ 23 h 47"/>
                  <a:gd name="T4" fmla="*/ 20 w 40"/>
                  <a:gd name="T5" fmla="*/ 0 h 47"/>
                  <a:gd name="T6" fmla="*/ 40 w 40"/>
                  <a:gd name="T7" fmla="*/ 23 h 47"/>
                  <a:gd name="T8" fmla="*/ 20 w 40"/>
                  <a:gd name="T9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47">
                    <a:moveTo>
                      <a:pt x="20" y="47"/>
                    </a:moveTo>
                    <a:cubicBezTo>
                      <a:pt x="9" y="47"/>
                      <a:pt x="0" y="36"/>
                      <a:pt x="0" y="23"/>
                    </a:cubicBezTo>
                    <a:cubicBezTo>
                      <a:pt x="0" y="5"/>
                      <a:pt x="9" y="0"/>
                      <a:pt x="20" y="0"/>
                    </a:cubicBezTo>
                    <a:cubicBezTo>
                      <a:pt x="31" y="0"/>
                      <a:pt x="40" y="5"/>
                      <a:pt x="40" y="23"/>
                    </a:cubicBezTo>
                    <a:cubicBezTo>
                      <a:pt x="40" y="36"/>
                      <a:pt x="31" y="47"/>
                      <a:pt x="20" y="47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47" name="Freeform 104">
                <a:extLst>
                  <a:ext uri="{FF2B5EF4-FFF2-40B4-BE49-F238E27FC236}">
                    <a16:creationId xmlns:a16="http://schemas.microsoft.com/office/drawing/2014/main" id="{2381BFE8-0CF6-416E-B6C4-9E6E87A824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1" y="1899"/>
                <a:ext cx="129" cy="71"/>
              </a:xfrm>
              <a:custGeom>
                <a:avLst/>
                <a:gdLst>
                  <a:gd name="T0" fmla="*/ 0 w 46"/>
                  <a:gd name="T1" fmla="*/ 25 h 25"/>
                  <a:gd name="T2" fmla="*/ 23 w 46"/>
                  <a:gd name="T3" fmla="*/ 0 h 25"/>
                  <a:gd name="T4" fmla="*/ 46 w 46"/>
                  <a:gd name="T5" fmla="*/ 25 h 25"/>
                  <a:gd name="T6" fmla="*/ 0 w 46"/>
                  <a:gd name="T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6" h="25">
                    <a:moveTo>
                      <a:pt x="0" y="25"/>
                    </a:moveTo>
                    <a:cubicBezTo>
                      <a:pt x="0" y="8"/>
                      <a:pt x="10" y="0"/>
                      <a:pt x="23" y="0"/>
                    </a:cubicBezTo>
                    <a:cubicBezTo>
                      <a:pt x="36" y="0"/>
                      <a:pt x="46" y="8"/>
                      <a:pt x="46" y="25"/>
                    </a:cubicBez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48" name="Freeform 105">
                <a:extLst>
                  <a:ext uri="{FF2B5EF4-FFF2-40B4-BE49-F238E27FC236}">
                    <a16:creationId xmlns:a16="http://schemas.microsoft.com/office/drawing/2014/main" id="{51E60849-CED5-45B1-88C2-82E6B90DE6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8" y="1950"/>
                <a:ext cx="28" cy="37"/>
              </a:xfrm>
              <a:custGeom>
                <a:avLst/>
                <a:gdLst>
                  <a:gd name="T0" fmla="*/ 0 w 28"/>
                  <a:gd name="T1" fmla="*/ 34 h 37"/>
                  <a:gd name="T2" fmla="*/ 0 w 28"/>
                  <a:gd name="T3" fmla="*/ 0 h 37"/>
                  <a:gd name="T4" fmla="*/ 28 w 28"/>
                  <a:gd name="T5" fmla="*/ 37 h 37"/>
                  <a:gd name="T6" fmla="*/ 0 w 28"/>
                  <a:gd name="T7" fmla="*/ 34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37">
                    <a:moveTo>
                      <a:pt x="0" y="34"/>
                    </a:moveTo>
                    <a:lnTo>
                      <a:pt x="0" y="0"/>
                    </a:lnTo>
                    <a:lnTo>
                      <a:pt x="28" y="37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49" name="Freeform 106">
                <a:extLst>
                  <a:ext uri="{FF2B5EF4-FFF2-40B4-BE49-F238E27FC236}">
                    <a16:creationId xmlns:a16="http://schemas.microsoft.com/office/drawing/2014/main" id="{A832830E-709C-428C-93F5-2A51E050E6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1" y="2159"/>
                <a:ext cx="8" cy="54"/>
              </a:xfrm>
              <a:custGeom>
                <a:avLst/>
                <a:gdLst>
                  <a:gd name="T0" fmla="*/ 0 w 3"/>
                  <a:gd name="T1" fmla="*/ 19 h 19"/>
                  <a:gd name="T2" fmla="*/ 0 w 3"/>
                  <a:gd name="T3" fmla="*/ 2 h 19"/>
                  <a:gd name="T4" fmla="*/ 1 w 3"/>
                  <a:gd name="T5" fmla="*/ 0 h 19"/>
                  <a:gd name="T6" fmla="*/ 3 w 3"/>
                  <a:gd name="T7" fmla="*/ 2 h 19"/>
                  <a:gd name="T8" fmla="*/ 3 w 3"/>
                  <a:gd name="T9" fmla="*/ 19 h 19"/>
                  <a:gd name="T10" fmla="*/ 0 w 3"/>
                  <a:gd name="T11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19">
                    <a:moveTo>
                      <a:pt x="0" y="1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3" y="1"/>
                      <a:pt x="3" y="2"/>
                    </a:cubicBezTo>
                    <a:cubicBezTo>
                      <a:pt x="3" y="19"/>
                      <a:pt x="3" y="19"/>
                      <a:pt x="3" y="19"/>
                    </a:cubicBez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50" name="Freeform 107">
                <a:extLst>
                  <a:ext uri="{FF2B5EF4-FFF2-40B4-BE49-F238E27FC236}">
                    <a16:creationId xmlns:a16="http://schemas.microsoft.com/office/drawing/2014/main" id="{D7F2DA01-F79F-4B1D-A4B8-791415BA3C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2" y="2159"/>
                <a:ext cx="8" cy="54"/>
              </a:xfrm>
              <a:custGeom>
                <a:avLst/>
                <a:gdLst>
                  <a:gd name="T0" fmla="*/ 0 w 3"/>
                  <a:gd name="T1" fmla="*/ 19 h 19"/>
                  <a:gd name="T2" fmla="*/ 0 w 3"/>
                  <a:gd name="T3" fmla="*/ 2 h 19"/>
                  <a:gd name="T4" fmla="*/ 2 w 3"/>
                  <a:gd name="T5" fmla="*/ 0 h 19"/>
                  <a:gd name="T6" fmla="*/ 3 w 3"/>
                  <a:gd name="T7" fmla="*/ 2 h 19"/>
                  <a:gd name="T8" fmla="*/ 3 w 3"/>
                  <a:gd name="T9" fmla="*/ 19 h 19"/>
                  <a:gd name="T10" fmla="*/ 0 w 3"/>
                  <a:gd name="T11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19">
                    <a:moveTo>
                      <a:pt x="0" y="19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3" y="1"/>
                      <a:pt x="3" y="2"/>
                    </a:cubicBezTo>
                    <a:cubicBezTo>
                      <a:pt x="3" y="19"/>
                      <a:pt x="3" y="19"/>
                      <a:pt x="3" y="19"/>
                    </a:cubicBez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77" name="Groupe 476">
            <a:extLst>
              <a:ext uri="{FF2B5EF4-FFF2-40B4-BE49-F238E27FC236}">
                <a16:creationId xmlns:a16="http://schemas.microsoft.com/office/drawing/2014/main" id="{7F19D0C6-6EC3-4DB6-BB06-2EB6952E9171}"/>
              </a:ext>
            </a:extLst>
          </p:cNvPr>
          <p:cNvGrpSpPr/>
          <p:nvPr/>
        </p:nvGrpSpPr>
        <p:grpSpPr>
          <a:xfrm>
            <a:off x="6950768" y="1960229"/>
            <a:ext cx="865004" cy="865444"/>
            <a:chOff x="5214865" y="1988559"/>
            <a:chExt cx="648743" cy="649073"/>
          </a:xfrm>
        </p:grpSpPr>
        <p:sp>
          <p:nvSpPr>
            <p:cNvPr id="728" name="Oval 5">
              <a:extLst>
                <a:ext uri="{FF2B5EF4-FFF2-40B4-BE49-F238E27FC236}">
                  <a16:creationId xmlns:a16="http://schemas.microsoft.com/office/drawing/2014/main" id="{B0E6074E-0BC4-463C-9DB7-E3F2A6637C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4865" y="1988559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729" name="Group 110">
              <a:extLst>
                <a:ext uri="{FF2B5EF4-FFF2-40B4-BE49-F238E27FC236}">
                  <a16:creationId xmlns:a16="http://schemas.microsoft.com/office/drawing/2014/main" id="{45E1B1B5-AFBC-4ABC-881A-39115C17EE9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314660" y="2091638"/>
              <a:ext cx="449152" cy="442914"/>
              <a:chOff x="3314" y="1300"/>
              <a:chExt cx="360" cy="355"/>
            </a:xfrm>
          </p:grpSpPr>
          <p:sp>
            <p:nvSpPr>
              <p:cNvPr id="730" name="Freeform 111">
                <a:extLst>
                  <a:ext uri="{FF2B5EF4-FFF2-40B4-BE49-F238E27FC236}">
                    <a16:creationId xmlns:a16="http://schemas.microsoft.com/office/drawing/2014/main" id="{B33874D2-79F3-448A-8D15-1FC3C218B4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6" y="1300"/>
                <a:ext cx="64" cy="355"/>
              </a:xfrm>
              <a:custGeom>
                <a:avLst/>
                <a:gdLst>
                  <a:gd name="T0" fmla="*/ 12 w 23"/>
                  <a:gd name="T1" fmla="*/ 126 h 126"/>
                  <a:gd name="T2" fmla="*/ 0 w 23"/>
                  <a:gd name="T3" fmla="*/ 114 h 126"/>
                  <a:gd name="T4" fmla="*/ 0 w 23"/>
                  <a:gd name="T5" fmla="*/ 3 h 126"/>
                  <a:gd name="T6" fmla="*/ 3 w 23"/>
                  <a:gd name="T7" fmla="*/ 0 h 126"/>
                  <a:gd name="T8" fmla="*/ 6 w 23"/>
                  <a:gd name="T9" fmla="*/ 3 h 126"/>
                  <a:gd name="T10" fmla="*/ 6 w 23"/>
                  <a:gd name="T11" fmla="*/ 114 h 126"/>
                  <a:gd name="T12" fmla="*/ 12 w 23"/>
                  <a:gd name="T13" fmla="*/ 120 h 126"/>
                  <a:gd name="T14" fmla="*/ 17 w 23"/>
                  <a:gd name="T15" fmla="*/ 114 h 126"/>
                  <a:gd name="T16" fmla="*/ 20 w 23"/>
                  <a:gd name="T17" fmla="*/ 111 h 126"/>
                  <a:gd name="T18" fmla="*/ 23 w 23"/>
                  <a:gd name="T19" fmla="*/ 114 h 126"/>
                  <a:gd name="T20" fmla="*/ 12 w 23"/>
                  <a:gd name="T21" fmla="*/ 126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" h="126">
                    <a:moveTo>
                      <a:pt x="12" y="126"/>
                    </a:moveTo>
                    <a:cubicBezTo>
                      <a:pt x="5" y="126"/>
                      <a:pt x="0" y="121"/>
                      <a:pt x="0" y="11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5" y="0"/>
                      <a:pt x="6" y="1"/>
                      <a:pt x="6" y="3"/>
                    </a:cubicBezTo>
                    <a:cubicBezTo>
                      <a:pt x="6" y="114"/>
                      <a:pt x="6" y="114"/>
                      <a:pt x="6" y="114"/>
                    </a:cubicBezTo>
                    <a:cubicBezTo>
                      <a:pt x="6" y="117"/>
                      <a:pt x="9" y="120"/>
                      <a:pt x="12" y="120"/>
                    </a:cubicBezTo>
                    <a:cubicBezTo>
                      <a:pt x="15" y="120"/>
                      <a:pt x="17" y="117"/>
                      <a:pt x="17" y="114"/>
                    </a:cubicBezTo>
                    <a:cubicBezTo>
                      <a:pt x="17" y="113"/>
                      <a:pt x="19" y="111"/>
                      <a:pt x="20" y="111"/>
                    </a:cubicBezTo>
                    <a:cubicBezTo>
                      <a:pt x="22" y="111"/>
                      <a:pt x="23" y="113"/>
                      <a:pt x="23" y="114"/>
                    </a:cubicBezTo>
                    <a:cubicBezTo>
                      <a:pt x="23" y="121"/>
                      <a:pt x="18" y="126"/>
                      <a:pt x="12" y="126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31" name="Freeform 112">
                <a:extLst>
                  <a:ext uri="{FF2B5EF4-FFF2-40B4-BE49-F238E27FC236}">
                    <a16:creationId xmlns:a16="http://schemas.microsoft.com/office/drawing/2014/main" id="{271677D7-1D22-442A-94EE-CE25BCEB26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4" y="1320"/>
                <a:ext cx="180" cy="180"/>
              </a:xfrm>
              <a:custGeom>
                <a:avLst/>
                <a:gdLst>
                  <a:gd name="T0" fmla="*/ 64 w 64"/>
                  <a:gd name="T1" fmla="*/ 0 h 64"/>
                  <a:gd name="T2" fmla="*/ 0 w 64"/>
                  <a:gd name="T3" fmla="*/ 64 h 64"/>
                  <a:gd name="T4" fmla="*/ 32 w 64"/>
                  <a:gd name="T5" fmla="*/ 64 h 64"/>
                  <a:gd name="T6" fmla="*/ 64 w 64"/>
                  <a:gd name="T7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" h="64">
                    <a:moveTo>
                      <a:pt x="64" y="0"/>
                    </a:moveTo>
                    <a:cubicBezTo>
                      <a:pt x="29" y="0"/>
                      <a:pt x="0" y="29"/>
                      <a:pt x="0" y="64"/>
                    </a:cubicBezTo>
                    <a:cubicBezTo>
                      <a:pt x="32" y="64"/>
                      <a:pt x="32" y="64"/>
                      <a:pt x="32" y="64"/>
                    </a:cubicBezTo>
                    <a:cubicBezTo>
                      <a:pt x="32" y="29"/>
                      <a:pt x="46" y="0"/>
                      <a:pt x="64" y="0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32" name="Freeform 113">
                <a:extLst>
                  <a:ext uri="{FF2B5EF4-FFF2-40B4-BE49-F238E27FC236}">
                    <a16:creationId xmlns:a16="http://schemas.microsoft.com/office/drawing/2014/main" id="{6E627B18-E97E-47C2-8CEE-BD947CEFF4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4" y="1320"/>
                <a:ext cx="180" cy="180"/>
              </a:xfrm>
              <a:custGeom>
                <a:avLst/>
                <a:gdLst>
                  <a:gd name="T0" fmla="*/ 0 w 64"/>
                  <a:gd name="T1" fmla="*/ 0 h 64"/>
                  <a:gd name="T2" fmla="*/ 32 w 64"/>
                  <a:gd name="T3" fmla="*/ 64 h 64"/>
                  <a:gd name="T4" fmla="*/ 64 w 64"/>
                  <a:gd name="T5" fmla="*/ 64 h 64"/>
                  <a:gd name="T6" fmla="*/ 0 w 64"/>
                  <a:gd name="T7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" h="64">
                    <a:moveTo>
                      <a:pt x="0" y="0"/>
                    </a:moveTo>
                    <a:cubicBezTo>
                      <a:pt x="18" y="0"/>
                      <a:pt x="32" y="29"/>
                      <a:pt x="32" y="64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64" y="29"/>
                      <a:pt x="35" y="0"/>
                      <a:pt x="0" y="0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33" name="Freeform 114">
                <a:extLst>
                  <a:ext uri="{FF2B5EF4-FFF2-40B4-BE49-F238E27FC236}">
                    <a16:creationId xmlns:a16="http://schemas.microsoft.com/office/drawing/2014/main" id="{D60ED367-BE31-4D3B-8BDB-52394C95EC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4" y="1320"/>
                <a:ext cx="90" cy="180"/>
              </a:xfrm>
              <a:custGeom>
                <a:avLst/>
                <a:gdLst>
                  <a:gd name="T0" fmla="*/ 0 w 32"/>
                  <a:gd name="T1" fmla="*/ 64 h 64"/>
                  <a:gd name="T2" fmla="*/ 32 w 32"/>
                  <a:gd name="T3" fmla="*/ 64 h 64"/>
                  <a:gd name="T4" fmla="*/ 32 w 32"/>
                  <a:gd name="T5" fmla="*/ 0 h 64"/>
                  <a:gd name="T6" fmla="*/ 0 w 32"/>
                  <a:gd name="T7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64">
                    <a:moveTo>
                      <a:pt x="0" y="64"/>
                    </a:moveTo>
                    <a:cubicBezTo>
                      <a:pt x="32" y="64"/>
                      <a:pt x="32" y="64"/>
                      <a:pt x="32" y="64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14" y="0"/>
                      <a:pt x="0" y="29"/>
                      <a:pt x="0" y="64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34" name="Freeform 115">
                <a:extLst>
                  <a:ext uri="{FF2B5EF4-FFF2-40B4-BE49-F238E27FC236}">
                    <a16:creationId xmlns:a16="http://schemas.microsoft.com/office/drawing/2014/main" id="{6A8F3384-C79E-4BA3-90F5-DE7312C96C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4" y="1320"/>
                <a:ext cx="90" cy="180"/>
              </a:xfrm>
              <a:custGeom>
                <a:avLst/>
                <a:gdLst>
                  <a:gd name="T0" fmla="*/ 32 w 32"/>
                  <a:gd name="T1" fmla="*/ 64 h 64"/>
                  <a:gd name="T2" fmla="*/ 0 w 32"/>
                  <a:gd name="T3" fmla="*/ 0 h 64"/>
                  <a:gd name="T4" fmla="*/ 0 w 32"/>
                  <a:gd name="T5" fmla="*/ 64 h 64"/>
                  <a:gd name="T6" fmla="*/ 32 w 32"/>
                  <a:gd name="T7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64">
                    <a:moveTo>
                      <a:pt x="32" y="64"/>
                    </a:moveTo>
                    <a:cubicBezTo>
                      <a:pt x="32" y="29"/>
                      <a:pt x="18" y="0"/>
                      <a:pt x="0" y="0"/>
                    </a:cubicBezTo>
                    <a:cubicBezTo>
                      <a:pt x="0" y="64"/>
                      <a:pt x="0" y="64"/>
                      <a:pt x="0" y="64"/>
                    </a:cubicBezTo>
                    <a:lnTo>
                      <a:pt x="32" y="64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78" name="Groupe 477">
            <a:extLst>
              <a:ext uri="{FF2B5EF4-FFF2-40B4-BE49-F238E27FC236}">
                <a16:creationId xmlns:a16="http://schemas.microsoft.com/office/drawing/2014/main" id="{A923A9FE-B63D-4E79-B76F-45513E9BD4E2}"/>
              </a:ext>
            </a:extLst>
          </p:cNvPr>
          <p:cNvGrpSpPr/>
          <p:nvPr/>
        </p:nvGrpSpPr>
        <p:grpSpPr>
          <a:xfrm>
            <a:off x="10225783" y="4246747"/>
            <a:ext cx="865004" cy="865444"/>
            <a:chOff x="7671088" y="3935887"/>
            <a:chExt cx="648743" cy="649073"/>
          </a:xfrm>
        </p:grpSpPr>
        <p:sp>
          <p:nvSpPr>
            <p:cNvPr id="718" name="Oval 5">
              <a:extLst>
                <a:ext uri="{FF2B5EF4-FFF2-40B4-BE49-F238E27FC236}">
                  <a16:creationId xmlns:a16="http://schemas.microsoft.com/office/drawing/2014/main" id="{E4641B61-00C1-4943-BC62-3476466138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1088" y="3935887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719" name="Group 118">
              <a:extLst>
                <a:ext uri="{FF2B5EF4-FFF2-40B4-BE49-F238E27FC236}">
                  <a16:creationId xmlns:a16="http://schemas.microsoft.com/office/drawing/2014/main" id="{909E5302-6F1C-4533-BCA9-6C5F3AB404A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787496" y="4052461"/>
              <a:ext cx="415926" cy="415924"/>
              <a:chOff x="4849" y="2477"/>
              <a:chExt cx="369" cy="369"/>
            </a:xfrm>
          </p:grpSpPr>
          <p:sp>
            <p:nvSpPr>
              <p:cNvPr id="720" name="Freeform 119">
                <a:extLst>
                  <a:ext uri="{FF2B5EF4-FFF2-40B4-BE49-F238E27FC236}">
                    <a16:creationId xmlns:a16="http://schemas.microsoft.com/office/drawing/2014/main" id="{86A23C50-49A6-4AF0-8FE8-F8F9127DDC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7" y="2696"/>
                <a:ext cx="107" cy="107"/>
              </a:xfrm>
              <a:custGeom>
                <a:avLst/>
                <a:gdLst>
                  <a:gd name="T0" fmla="*/ 34 w 38"/>
                  <a:gd name="T1" fmla="*/ 32 h 38"/>
                  <a:gd name="T2" fmla="*/ 34 w 38"/>
                  <a:gd name="T3" fmla="*/ 19 h 38"/>
                  <a:gd name="T4" fmla="*/ 18 w 38"/>
                  <a:gd name="T5" fmla="*/ 4 h 38"/>
                  <a:gd name="T6" fmla="*/ 6 w 38"/>
                  <a:gd name="T7" fmla="*/ 4 h 38"/>
                  <a:gd name="T8" fmla="*/ 0 w 38"/>
                  <a:gd name="T9" fmla="*/ 10 h 38"/>
                  <a:gd name="T10" fmla="*/ 28 w 38"/>
                  <a:gd name="T11" fmla="*/ 38 h 38"/>
                  <a:gd name="T12" fmla="*/ 34 w 38"/>
                  <a:gd name="T13" fmla="*/ 3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38">
                    <a:moveTo>
                      <a:pt x="34" y="32"/>
                    </a:moveTo>
                    <a:cubicBezTo>
                      <a:pt x="38" y="29"/>
                      <a:pt x="38" y="23"/>
                      <a:pt x="34" y="19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5" y="0"/>
                      <a:pt x="9" y="0"/>
                      <a:pt x="6" y="4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28" y="38"/>
                      <a:pt x="28" y="38"/>
                      <a:pt x="28" y="38"/>
                    </a:cubicBezTo>
                    <a:lnTo>
                      <a:pt x="34" y="32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21" name="Freeform 120">
                <a:extLst>
                  <a:ext uri="{FF2B5EF4-FFF2-40B4-BE49-F238E27FC236}">
                    <a16:creationId xmlns:a16="http://schemas.microsoft.com/office/drawing/2014/main" id="{88857D41-08D2-40BA-A998-F705C752FC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2" y="2511"/>
                <a:ext cx="107" cy="107"/>
              </a:xfrm>
              <a:custGeom>
                <a:avLst/>
                <a:gdLst>
                  <a:gd name="T0" fmla="*/ 34 w 38"/>
                  <a:gd name="T1" fmla="*/ 32 h 38"/>
                  <a:gd name="T2" fmla="*/ 34 w 38"/>
                  <a:gd name="T3" fmla="*/ 20 h 38"/>
                  <a:gd name="T4" fmla="*/ 19 w 38"/>
                  <a:gd name="T5" fmla="*/ 4 h 38"/>
                  <a:gd name="T6" fmla="*/ 6 w 38"/>
                  <a:gd name="T7" fmla="*/ 4 h 38"/>
                  <a:gd name="T8" fmla="*/ 0 w 38"/>
                  <a:gd name="T9" fmla="*/ 10 h 38"/>
                  <a:gd name="T10" fmla="*/ 28 w 38"/>
                  <a:gd name="T11" fmla="*/ 38 h 38"/>
                  <a:gd name="T12" fmla="*/ 34 w 38"/>
                  <a:gd name="T13" fmla="*/ 3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38">
                    <a:moveTo>
                      <a:pt x="34" y="32"/>
                    </a:moveTo>
                    <a:cubicBezTo>
                      <a:pt x="38" y="29"/>
                      <a:pt x="38" y="23"/>
                      <a:pt x="34" y="20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15" y="0"/>
                      <a:pt x="9" y="0"/>
                      <a:pt x="6" y="4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28" y="38"/>
                      <a:pt x="28" y="38"/>
                      <a:pt x="28" y="38"/>
                    </a:cubicBezTo>
                    <a:lnTo>
                      <a:pt x="34" y="32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22" name="Freeform 121">
                <a:extLst>
                  <a:ext uri="{FF2B5EF4-FFF2-40B4-BE49-F238E27FC236}">
                    <a16:creationId xmlns:a16="http://schemas.microsoft.com/office/drawing/2014/main" id="{9328837E-F08C-4ABE-A25A-FE9503C204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9" y="2545"/>
                <a:ext cx="301" cy="301"/>
              </a:xfrm>
              <a:custGeom>
                <a:avLst/>
                <a:gdLst>
                  <a:gd name="T0" fmla="*/ 74 w 107"/>
                  <a:gd name="T1" fmla="*/ 66 h 107"/>
                  <a:gd name="T2" fmla="*/ 54 w 107"/>
                  <a:gd name="T3" fmla="*/ 53 h 107"/>
                  <a:gd name="T4" fmla="*/ 41 w 107"/>
                  <a:gd name="T5" fmla="*/ 33 h 107"/>
                  <a:gd name="T6" fmla="*/ 42 w 107"/>
                  <a:gd name="T7" fmla="*/ 29 h 107"/>
                  <a:gd name="T8" fmla="*/ 13 w 107"/>
                  <a:gd name="T9" fmla="*/ 0 h 107"/>
                  <a:gd name="T10" fmla="*/ 12 w 107"/>
                  <a:gd name="T11" fmla="*/ 1 h 107"/>
                  <a:gd name="T12" fmla="*/ 9 w 107"/>
                  <a:gd name="T13" fmla="*/ 45 h 107"/>
                  <a:gd name="T14" fmla="*/ 33 w 107"/>
                  <a:gd name="T15" fmla="*/ 74 h 107"/>
                  <a:gd name="T16" fmla="*/ 62 w 107"/>
                  <a:gd name="T17" fmla="*/ 98 h 107"/>
                  <a:gd name="T18" fmla="*/ 106 w 107"/>
                  <a:gd name="T19" fmla="*/ 95 h 107"/>
                  <a:gd name="T20" fmla="*/ 107 w 107"/>
                  <a:gd name="T21" fmla="*/ 94 h 107"/>
                  <a:gd name="T22" fmla="*/ 78 w 107"/>
                  <a:gd name="T23" fmla="*/ 65 h 107"/>
                  <a:gd name="T24" fmla="*/ 74 w 107"/>
                  <a:gd name="T25" fmla="*/ 66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7" h="107">
                    <a:moveTo>
                      <a:pt x="74" y="66"/>
                    </a:moveTo>
                    <a:cubicBezTo>
                      <a:pt x="70" y="65"/>
                      <a:pt x="61" y="60"/>
                      <a:pt x="54" y="53"/>
                    </a:cubicBezTo>
                    <a:cubicBezTo>
                      <a:pt x="47" y="46"/>
                      <a:pt x="42" y="37"/>
                      <a:pt x="41" y="33"/>
                    </a:cubicBezTo>
                    <a:cubicBezTo>
                      <a:pt x="41" y="32"/>
                      <a:pt x="41" y="30"/>
                      <a:pt x="42" y="29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0" y="13"/>
                      <a:pt x="1" y="30"/>
                      <a:pt x="9" y="45"/>
                    </a:cubicBezTo>
                    <a:cubicBezTo>
                      <a:pt x="14" y="52"/>
                      <a:pt x="23" y="64"/>
                      <a:pt x="33" y="74"/>
                    </a:cubicBezTo>
                    <a:cubicBezTo>
                      <a:pt x="43" y="84"/>
                      <a:pt x="55" y="93"/>
                      <a:pt x="62" y="98"/>
                    </a:cubicBezTo>
                    <a:cubicBezTo>
                      <a:pt x="77" y="106"/>
                      <a:pt x="94" y="107"/>
                      <a:pt x="106" y="95"/>
                    </a:cubicBezTo>
                    <a:cubicBezTo>
                      <a:pt x="107" y="94"/>
                      <a:pt x="107" y="94"/>
                      <a:pt x="107" y="94"/>
                    </a:cubicBezTo>
                    <a:cubicBezTo>
                      <a:pt x="78" y="65"/>
                      <a:pt x="78" y="65"/>
                      <a:pt x="78" y="65"/>
                    </a:cubicBezTo>
                    <a:cubicBezTo>
                      <a:pt x="77" y="66"/>
                      <a:pt x="75" y="66"/>
                      <a:pt x="74" y="66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23" name="Freeform 122">
                <a:extLst>
                  <a:ext uri="{FF2B5EF4-FFF2-40B4-BE49-F238E27FC236}">
                    <a16:creationId xmlns:a16="http://schemas.microsoft.com/office/drawing/2014/main" id="{EF6DFB57-935A-480C-BAF1-8184EAC830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9" y="2725"/>
                <a:ext cx="87" cy="84"/>
              </a:xfrm>
              <a:custGeom>
                <a:avLst/>
                <a:gdLst>
                  <a:gd name="T0" fmla="*/ 3 w 31"/>
                  <a:gd name="T1" fmla="*/ 0 h 30"/>
                  <a:gd name="T2" fmla="*/ 3 w 31"/>
                  <a:gd name="T3" fmla="*/ 0 h 30"/>
                  <a:gd name="T4" fmla="*/ 2 w 31"/>
                  <a:gd name="T5" fmla="*/ 1 h 30"/>
                  <a:gd name="T6" fmla="*/ 0 w 31"/>
                  <a:gd name="T7" fmla="*/ 1 h 30"/>
                  <a:gd name="T8" fmla="*/ 29 w 31"/>
                  <a:gd name="T9" fmla="*/ 30 h 30"/>
                  <a:gd name="T10" fmla="*/ 30 w 31"/>
                  <a:gd name="T11" fmla="*/ 29 h 30"/>
                  <a:gd name="T12" fmla="*/ 31 w 31"/>
                  <a:gd name="T13" fmla="*/ 28 h 30"/>
                  <a:gd name="T14" fmla="*/ 3 w 31"/>
                  <a:gd name="T1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" h="30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2" y="0"/>
                      <a:pt x="2" y="1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29" y="30"/>
                      <a:pt x="29" y="30"/>
                      <a:pt x="29" y="30"/>
                    </a:cubicBezTo>
                    <a:cubicBezTo>
                      <a:pt x="30" y="29"/>
                      <a:pt x="30" y="29"/>
                      <a:pt x="30" y="29"/>
                    </a:cubicBezTo>
                    <a:cubicBezTo>
                      <a:pt x="31" y="28"/>
                      <a:pt x="31" y="28"/>
                      <a:pt x="31" y="28"/>
                    </a:cubicBez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24" name="Freeform 123">
                <a:extLst>
                  <a:ext uri="{FF2B5EF4-FFF2-40B4-BE49-F238E27FC236}">
                    <a16:creationId xmlns:a16="http://schemas.microsoft.com/office/drawing/2014/main" id="{234D16A9-2674-4F50-9177-4A35E91EC8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6" y="2539"/>
                <a:ext cx="84" cy="87"/>
              </a:xfrm>
              <a:custGeom>
                <a:avLst/>
                <a:gdLst>
                  <a:gd name="T0" fmla="*/ 29 w 30"/>
                  <a:gd name="T1" fmla="*/ 29 h 31"/>
                  <a:gd name="T2" fmla="*/ 30 w 30"/>
                  <a:gd name="T3" fmla="*/ 28 h 31"/>
                  <a:gd name="T4" fmla="*/ 30 w 30"/>
                  <a:gd name="T5" fmla="*/ 28 h 31"/>
                  <a:gd name="T6" fmla="*/ 2 w 30"/>
                  <a:gd name="T7" fmla="*/ 0 h 31"/>
                  <a:gd name="T8" fmla="*/ 1 w 30"/>
                  <a:gd name="T9" fmla="*/ 1 h 31"/>
                  <a:gd name="T10" fmla="*/ 0 w 30"/>
                  <a:gd name="T11" fmla="*/ 2 h 31"/>
                  <a:gd name="T12" fmla="*/ 29 w 30"/>
                  <a:gd name="T13" fmla="*/ 31 h 31"/>
                  <a:gd name="T14" fmla="*/ 29 w 30"/>
                  <a:gd name="T15" fmla="*/ 2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31">
                    <a:moveTo>
                      <a:pt x="29" y="29"/>
                    </a:moveTo>
                    <a:cubicBezTo>
                      <a:pt x="30" y="29"/>
                      <a:pt x="30" y="29"/>
                      <a:pt x="30" y="28"/>
                    </a:cubicBezTo>
                    <a:cubicBezTo>
                      <a:pt x="30" y="28"/>
                      <a:pt x="30" y="28"/>
                      <a:pt x="30" y="28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29" y="31"/>
                      <a:pt x="29" y="31"/>
                      <a:pt x="29" y="31"/>
                    </a:cubicBezTo>
                    <a:cubicBezTo>
                      <a:pt x="29" y="30"/>
                      <a:pt x="29" y="30"/>
                      <a:pt x="29" y="2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25" name="Freeform 124">
                <a:extLst>
                  <a:ext uri="{FF2B5EF4-FFF2-40B4-BE49-F238E27FC236}">
                    <a16:creationId xmlns:a16="http://schemas.microsoft.com/office/drawing/2014/main" id="{B1E9BB09-D25E-451E-8883-179F09CAD8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8" y="2564"/>
                <a:ext cx="93" cy="93"/>
              </a:xfrm>
              <a:custGeom>
                <a:avLst/>
                <a:gdLst>
                  <a:gd name="T0" fmla="*/ 30 w 33"/>
                  <a:gd name="T1" fmla="*/ 32 h 33"/>
                  <a:gd name="T2" fmla="*/ 29 w 33"/>
                  <a:gd name="T3" fmla="*/ 31 h 33"/>
                  <a:gd name="T4" fmla="*/ 2 w 33"/>
                  <a:gd name="T5" fmla="*/ 4 h 33"/>
                  <a:gd name="T6" fmla="*/ 0 w 33"/>
                  <a:gd name="T7" fmla="*/ 2 h 33"/>
                  <a:gd name="T8" fmla="*/ 2 w 33"/>
                  <a:gd name="T9" fmla="*/ 0 h 33"/>
                  <a:gd name="T10" fmla="*/ 33 w 33"/>
                  <a:gd name="T11" fmla="*/ 31 h 33"/>
                  <a:gd name="T12" fmla="*/ 31 w 33"/>
                  <a:gd name="T13" fmla="*/ 33 h 33"/>
                  <a:gd name="T14" fmla="*/ 30 w 33"/>
                  <a:gd name="T15" fmla="*/ 3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33">
                    <a:moveTo>
                      <a:pt x="30" y="32"/>
                    </a:moveTo>
                    <a:cubicBezTo>
                      <a:pt x="29" y="32"/>
                      <a:pt x="29" y="31"/>
                      <a:pt x="29" y="31"/>
                    </a:cubicBezTo>
                    <a:cubicBezTo>
                      <a:pt x="29" y="16"/>
                      <a:pt x="17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9" y="0"/>
                      <a:pt x="33" y="14"/>
                      <a:pt x="33" y="31"/>
                    </a:cubicBezTo>
                    <a:cubicBezTo>
                      <a:pt x="33" y="32"/>
                      <a:pt x="32" y="33"/>
                      <a:pt x="31" y="33"/>
                    </a:cubicBezTo>
                    <a:cubicBezTo>
                      <a:pt x="31" y="33"/>
                      <a:pt x="30" y="32"/>
                      <a:pt x="30" y="32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26" name="Freeform 125">
                <a:extLst>
                  <a:ext uri="{FF2B5EF4-FFF2-40B4-BE49-F238E27FC236}">
                    <a16:creationId xmlns:a16="http://schemas.microsoft.com/office/drawing/2014/main" id="{31298F0F-CC8C-4AEE-A758-742F6C7E79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5" y="2522"/>
                <a:ext cx="138" cy="138"/>
              </a:xfrm>
              <a:custGeom>
                <a:avLst/>
                <a:gdLst>
                  <a:gd name="T0" fmla="*/ 44 w 49"/>
                  <a:gd name="T1" fmla="*/ 48 h 49"/>
                  <a:gd name="T2" fmla="*/ 43 w 49"/>
                  <a:gd name="T3" fmla="*/ 46 h 49"/>
                  <a:gd name="T4" fmla="*/ 3 w 49"/>
                  <a:gd name="T5" fmla="*/ 6 h 49"/>
                  <a:gd name="T6" fmla="*/ 0 w 49"/>
                  <a:gd name="T7" fmla="*/ 3 h 49"/>
                  <a:gd name="T8" fmla="*/ 3 w 49"/>
                  <a:gd name="T9" fmla="*/ 0 h 49"/>
                  <a:gd name="T10" fmla="*/ 49 w 49"/>
                  <a:gd name="T11" fmla="*/ 46 h 49"/>
                  <a:gd name="T12" fmla="*/ 46 w 49"/>
                  <a:gd name="T13" fmla="*/ 49 h 49"/>
                  <a:gd name="T14" fmla="*/ 44 w 49"/>
                  <a:gd name="T15" fmla="*/ 4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9" h="49">
                    <a:moveTo>
                      <a:pt x="44" y="48"/>
                    </a:moveTo>
                    <a:cubicBezTo>
                      <a:pt x="43" y="47"/>
                      <a:pt x="43" y="46"/>
                      <a:pt x="43" y="46"/>
                    </a:cubicBezTo>
                    <a:cubicBezTo>
                      <a:pt x="43" y="24"/>
                      <a:pt x="25" y="6"/>
                      <a:pt x="3" y="6"/>
                    </a:cubicBezTo>
                    <a:cubicBezTo>
                      <a:pt x="2" y="6"/>
                      <a:pt x="0" y="5"/>
                      <a:pt x="0" y="3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28" y="0"/>
                      <a:pt x="49" y="21"/>
                      <a:pt x="49" y="46"/>
                    </a:cubicBezTo>
                    <a:cubicBezTo>
                      <a:pt x="49" y="47"/>
                      <a:pt x="47" y="49"/>
                      <a:pt x="46" y="49"/>
                    </a:cubicBezTo>
                    <a:cubicBezTo>
                      <a:pt x="45" y="49"/>
                      <a:pt x="44" y="48"/>
                      <a:pt x="44" y="48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27" name="Freeform 126">
                <a:extLst>
                  <a:ext uri="{FF2B5EF4-FFF2-40B4-BE49-F238E27FC236}">
                    <a16:creationId xmlns:a16="http://schemas.microsoft.com/office/drawing/2014/main" id="{12FD2915-524C-4F75-8568-1D52A1C3A1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2" y="2477"/>
                <a:ext cx="186" cy="186"/>
              </a:xfrm>
              <a:custGeom>
                <a:avLst/>
                <a:gdLst>
                  <a:gd name="T0" fmla="*/ 59 w 66"/>
                  <a:gd name="T1" fmla="*/ 64 h 66"/>
                  <a:gd name="T2" fmla="*/ 58 w 66"/>
                  <a:gd name="T3" fmla="*/ 62 h 66"/>
                  <a:gd name="T4" fmla="*/ 42 w 66"/>
                  <a:gd name="T5" fmla="*/ 24 h 66"/>
                  <a:gd name="T6" fmla="*/ 4 w 66"/>
                  <a:gd name="T7" fmla="*/ 8 h 66"/>
                  <a:gd name="T8" fmla="*/ 0 w 66"/>
                  <a:gd name="T9" fmla="*/ 4 h 66"/>
                  <a:gd name="T10" fmla="*/ 4 w 66"/>
                  <a:gd name="T11" fmla="*/ 0 h 66"/>
                  <a:gd name="T12" fmla="*/ 48 w 66"/>
                  <a:gd name="T13" fmla="*/ 18 h 66"/>
                  <a:gd name="T14" fmla="*/ 66 w 66"/>
                  <a:gd name="T15" fmla="*/ 62 h 66"/>
                  <a:gd name="T16" fmla="*/ 62 w 66"/>
                  <a:gd name="T17" fmla="*/ 66 h 66"/>
                  <a:gd name="T18" fmla="*/ 59 w 66"/>
                  <a:gd name="T19" fmla="*/ 64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6" h="66">
                    <a:moveTo>
                      <a:pt x="59" y="64"/>
                    </a:moveTo>
                    <a:cubicBezTo>
                      <a:pt x="58" y="64"/>
                      <a:pt x="58" y="63"/>
                      <a:pt x="58" y="62"/>
                    </a:cubicBezTo>
                    <a:cubicBezTo>
                      <a:pt x="58" y="47"/>
                      <a:pt x="52" y="34"/>
                      <a:pt x="42" y="24"/>
                    </a:cubicBezTo>
                    <a:cubicBezTo>
                      <a:pt x="32" y="14"/>
                      <a:pt x="19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21" y="0"/>
                      <a:pt x="36" y="6"/>
                      <a:pt x="48" y="18"/>
                    </a:cubicBezTo>
                    <a:cubicBezTo>
                      <a:pt x="60" y="30"/>
                      <a:pt x="66" y="45"/>
                      <a:pt x="66" y="62"/>
                    </a:cubicBezTo>
                    <a:cubicBezTo>
                      <a:pt x="66" y="64"/>
                      <a:pt x="64" y="66"/>
                      <a:pt x="62" y="66"/>
                    </a:cubicBezTo>
                    <a:cubicBezTo>
                      <a:pt x="61" y="66"/>
                      <a:pt x="60" y="65"/>
                      <a:pt x="59" y="64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79" name="Groupe 478">
            <a:extLst>
              <a:ext uri="{FF2B5EF4-FFF2-40B4-BE49-F238E27FC236}">
                <a16:creationId xmlns:a16="http://schemas.microsoft.com/office/drawing/2014/main" id="{DF413283-1919-416E-AA46-AC0026DFE8E3}"/>
              </a:ext>
            </a:extLst>
          </p:cNvPr>
          <p:cNvGrpSpPr/>
          <p:nvPr/>
        </p:nvGrpSpPr>
        <p:grpSpPr>
          <a:xfrm>
            <a:off x="9134113" y="4246747"/>
            <a:ext cx="865004" cy="865444"/>
            <a:chOff x="6852348" y="3935887"/>
            <a:chExt cx="648743" cy="649073"/>
          </a:xfrm>
        </p:grpSpPr>
        <p:sp>
          <p:nvSpPr>
            <p:cNvPr id="712" name="Oval 5">
              <a:extLst>
                <a:ext uri="{FF2B5EF4-FFF2-40B4-BE49-F238E27FC236}">
                  <a16:creationId xmlns:a16="http://schemas.microsoft.com/office/drawing/2014/main" id="{B0D17E8D-8B47-4AE1-B4A5-756A4ECF96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2348" y="3935887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713" name="Group 129">
              <a:extLst>
                <a:ext uri="{FF2B5EF4-FFF2-40B4-BE49-F238E27FC236}">
                  <a16:creationId xmlns:a16="http://schemas.microsoft.com/office/drawing/2014/main" id="{53EF6ACB-DEDB-41A9-A1A4-1AB4C82C75F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038238" y="4061010"/>
              <a:ext cx="276962" cy="398826"/>
              <a:chOff x="4372" y="2526"/>
              <a:chExt cx="250" cy="360"/>
            </a:xfrm>
          </p:grpSpPr>
          <p:sp>
            <p:nvSpPr>
              <p:cNvPr id="714" name="Freeform 130">
                <a:extLst>
                  <a:ext uri="{FF2B5EF4-FFF2-40B4-BE49-F238E27FC236}">
                    <a16:creationId xmlns:a16="http://schemas.microsoft.com/office/drawing/2014/main" id="{83EDEEFE-0D20-4A83-9A70-46BDCB32B6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3" y="2875"/>
                <a:ext cx="148" cy="11"/>
              </a:xfrm>
              <a:custGeom>
                <a:avLst/>
                <a:gdLst>
                  <a:gd name="T0" fmla="*/ 50 w 52"/>
                  <a:gd name="T1" fmla="*/ 4 h 4"/>
                  <a:gd name="T2" fmla="*/ 2 w 52"/>
                  <a:gd name="T3" fmla="*/ 4 h 4"/>
                  <a:gd name="T4" fmla="*/ 0 w 52"/>
                  <a:gd name="T5" fmla="*/ 2 h 4"/>
                  <a:gd name="T6" fmla="*/ 2 w 52"/>
                  <a:gd name="T7" fmla="*/ 0 h 4"/>
                  <a:gd name="T8" fmla="*/ 50 w 52"/>
                  <a:gd name="T9" fmla="*/ 0 h 4"/>
                  <a:gd name="T10" fmla="*/ 52 w 52"/>
                  <a:gd name="T11" fmla="*/ 2 h 4"/>
                  <a:gd name="T12" fmla="*/ 50 w 52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2" h="4">
                    <a:moveTo>
                      <a:pt x="50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51" y="0"/>
                      <a:pt x="52" y="1"/>
                      <a:pt x="52" y="2"/>
                    </a:cubicBezTo>
                    <a:cubicBezTo>
                      <a:pt x="52" y="3"/>
                      <a:pt x="51" y="4"/>
                      <a:pt x="50" y="4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15" name="Freeform 131">
                <a:extLst>
                  <a:ext uri="{FF2B5EF4-FFF2-40B4-BE49-F238E27FC236}">
                    <a16:creationId xmlns:a16="http://schemas.microsoft.com/office/drawing/2014/main" id="{6C726FE8-B62D-4E8C-BCDC-1324AD4A70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2" y="2526"/>
                <a:ext cx="125" cy="335"/>
              </a:xfrm>
              <a:custGeom>
                <a:avLst/>
                <a:gdLst>
                  <a:gd name="T0" fmla="*/ 24 w 44"/>
                  <a:gd name="T1" fmla="*/ 44 h 119"/>
                  <a:gd name="T2" fmla="*/ 44 w 44"/>
                  <a:gd name="T3" fmla="*/ 24 h 119"/>
                  <a:gd name="T4" fmla="*/ 44 w 44"/>
                  <a:gd name="T5" fmla="*/ 0 h 119"/>
                  <a:gd name="T6" fmla="*/ 0 w 44"/>
                  <a:gd name="T7" fmla="*/ 44 h 119"/>
                  <a:gd name="T8" fmla="*/ 43 w 44"/>
                  <a:gd name="T9" fmla="*/ 119 h 119"/>
                  <a:gd name="T10" fmla="*/ 44 w 44"/>
                  <a:gd name="T11" fmla="*/ 119 h 119"/>
                  <a:gd name="T12" fmla="*/ 44 w 44"/>
                  <a:gd name="T13" fmla="*/ 64 h 119"/>
                  <a:gd name="T14" fmla="*/ 24 w 44"/>
                  <a:gd name="T15" fmla="*/ 44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119">
                    <a:moveTo>
                      <a:pt x="24" y="44"/>
                    </a:moveTo>
                    <a:cubicBezTo>
                      <a:pt x="24" y="33"/>
                      <a:pt x="33" y="24"/>
                      <a:pt x="44" y="24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20" y="0"/>
                      <a:pt x="0" y="20"/>
                      <a:pt x="0" y="44"/>
                    </a:cubicBezTo>
                    <a:cubicBezTo>
                      <a:pt x="0" y="66"/>
                      <a:pt x="38" y="112"/>
                      <a:pt x="43" y="119"/>
                    </a:cubicBezTo>
                    <a:cubicBezTo>
                      <a:pt x="43" y="119"/>
                      <a:pt x="44" y="119"/>
                      <a:pt x="44" y="119"/>
                    </a:cubicBezTo>
                    <a:cubicBezTo>
                      <a:pt x="44" y="64"/>
                      <a:pt x="44" y="64"/>
                      <a:pt x="44" y="64"/>
                    </a:cubicBezTo>
                    <a:cubicBezTo>
                      <a:pt x="33" y="64"/>
                      <a:pt x="24" y="55"/>
                      <a:pt x="24" y="44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16" name="Freeform 132">
                <a:extLst>
                  <a:ext uri="{FF2B5EF4-FFF2-40B4-BE49-F238E27FC236}">
                    <a16:creationId xmlns:a16="http://schemas.microsoft.com/office/drawing/2014/main" id="{61EE42F2-5F78-4990-AFF2-75E2497B15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7" y="2526"/>
                <a:ext cx="125" cy="335"/>
              </a:xfrm>
              <a:custGeom>
                <a:avLst/>
                <a:gdLst>
                  <a:gd name="T0" fmla="*/ 0 w 44"/>
                  <a:gd name="T1" fmla="*/ 0 h 119"/>
                  <a:gd name="T2" fmla="*/ 0 w 44"/>
                  <a:gd name="T3" fmla="*/ 24 h 119"/>
                  <a:gd name="T4" fmla="*/ 20 w 44"/>
                  <a:gd name="T5" fmla="*/ 44 h 119"/>
                  <a:gd name="T6" fmla="*/ 0 w 44"/>
                  <a:gd name="T7" fmla="*/ 64 h 119"/>
                  <a:gd name="T8" fmla="*/ 0 w 44"/>
                  <a:gd name="T9" fmla="*/ 119 h 119"/>
                  <a:gd name="T10" fmla="*/ 1 w 44"/>
                  <a:gd name="T11" fmla="*/ 119 h 119"/>
                  <a:gd name="T12" fmla="*/ 44 w 44"/>
                  <a:gd name="T13" fmla="*/ 44 h 119"/>
                  <a:gd name="T14" fmla="*/ 0 w 44"/>
                  <a:gd name="T15" fmla="*/ 0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119">
                    <a:moveTo>
                      <a:pt x="0" y="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11" y="24"/>
                      <a:pt x="20" y="33"/>
                      <a:pt x="20" y="44"/>
                    </a:cubicBezTo>
                    <a:cubicBezTo>
                      <a:pt x="20" y="55"/>
                      <a:pt x="11" y="64"/>
                      <a:pt x="0" y="64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0" y="119"/>
                      <a:pt x="1" y="119"/>
                      <a:pt x="1" y="119"/>
                    </a:cubicBezTo>
                    <a:cubicBezTo>
                      <a:pt x="6" y="112"/>
                      <a:pt x="44" y="66"/>
                      <a:pt x="44" y="44"/>
                    </a:cubicBezTo>
                    <a:cubicBezTo>
                      <a:pt x="44" y="20"/>
                      <a:pt x="24" y="0"/>
                      <a:pt x="0" y="0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17" name="Oval 133">
                <a:extLst>
                  <a:ext uri="{FF2B5EF4-FFF2-40B4-BE49-F238E27FC236}">
                    <a16:creationId xmlns:a16="http://schemas.microsoft.com/office/drawing/2014/main" id="{60F5127A-9D76-4437-A1AD-E7E82C04EB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40" y="2594"/>
                <a:ext cx="114" cy="1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80" name="Groupe 479">
            <a:extLst>
              <a:ext uri="{FF2B5EF4-FFF2-40B4-BE49-F238E27FC236}">
                <a16:creationId xmlns:a16="http://schemas.microsoft.com/office/drawing/2014/main" id="{DC22D1A4-3E53-4FB9-9835-55C1676F20FB}"/>
              </a:ext>
            </a:extLst>
          </p:cNvPr>
          <p:cNvGrpSpPr/>
          <p:nvPr/>
        </p:nvGrpSpPr>
        <p:grpSpPr>
          <a:xfrm>
            <a:off x="3675754" y="4246747"/>
            <a:ext cx="865004" cy="865444"/>
            <a:chOff x="2758642" y="3935887"/>
            <a:chExt cx="648743" cy="649073"/>
          </a:xfrm>
        </p:grpSpPr>
        <p:sp>
          <p:nvSpPr>
            <p:cNvPr id="706" name="Oval 5">
              <a:extLst>
                <a:ext uri="{FF2B5EF4-FFF2-40B4-BE49-F238E27FC236}">
                  <a16:creationId xmlns:a16="http://schemas.microsoft.com/office/drawing/2014/main" id="{30C0294E-A1FC-43DF-B6EC-1AB6D34747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8642" y="3935887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707" name="Group 137">
              <a:extLst>
                <a:ext uri="{FF2B5EF4-FFF2-40B4-BE49-F238E27FC236}">
                  <a16:creationId xmlns:a16="http://schemas.microsoft.com/office/drawing/2014/main" id="{1DBBEE7F-B5E2-4041-9B24-99432AB8043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917572" y="4100513"/>
              <a:ext cx="330882" cy="319820"/>
              <a:chOff x="1794" y="2507"/>
              <a:chExt cx="359" cy="347"/>
            </a:xfrm>
          </p:grpSpPr>
          <p:sp>
            <p:nvSpPr>
              <p:cNvPr id="708" name="Freeform 138">
                <a:extLst>
                  <a:ext uri="{FF2B5EF4-FFF2-40B4-BE49-F238E27FC236}">
                    <a16:creationId xmlns:a16="http://schemas.microsoft.com/office/drawing/2014/main" id="{C3CF6B40-A1EF-41D6-B07E-A977C0146C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01" y="2507"/>
                <a:ext cx="252" cy="347"/>
              </a:xfrm>
              <a:custGeom>
                <a:avLst/>
                <a:gdLst>
                  <a:gd name="T0" fmla="*/ 86 w 90"/>
                  <a:gd name="T1" fmla="*/ 68 h 123"/>
                  <a:gd name="T2" fmla="*/ 90 w 90"/>
                  <a:gd name="T3" fmla="*/ 56 h 123"/>
                  <a:gd name="T4" fmla="*/ 85 w 90"/>
                  <a:gd name="T5" fmla="*/ 46 h 123"/>
                  <a:gd name="T6" fmla="*/ 75 w 90"/>
                  <a:gd name="T7" fmla="*/ 41 h 123"/>
                  <a:gd name="T8" fmla="*/ 52 w 90"/>
                  <a:gd name="T9" fmla="*/ 41 h 123"/>
                  <a:gd name="T10" fmla="*/ 53 w 90"/>
                  <a:gd name="T11" fmla="*/ 39 h 123"/>
                  <a:gd name="T12" fmla="*/ 54 w 90"/>
                  <a:gd name="T13" fmla="*/ 37 h 123"/>
                  <a:gd name="T14" fmla="*/ 55 w 90"/>
                  <a:gd name="T15" fmla="*/ 36 h 123"/>
                  <a:gd name="T16" fmla="*/ 57 w 90"/>
                  <a:gd name="T17" fmla="*/ 31 h 123"/>
                  <a:gd name="T18" fmla="*/ 59 w 90"/>
                  <a:gd name="T19" fmla="*/ 27 h 123"/>
                  <a:gd name="T20" fmla="*/ 59 w 90"/>
                  <a:gd name="T21" fmla="*/ 20 h 123"/>
                  <a:gd name="T22" fmla="*/ 59 w 90"/>
                  <a:gd name="T23" fmla="*/ 17 h 123"/>
                  <a:gd name="T24" fmla="*/ 59 w 90"/>
                  <a:gd name="T25" fmla="*/ 14 h 123"/>
                  <a:gd name="T26" fmla="*/ 58 w 90"/>
                  <a:gd name="T27" fmla="*/ 10 h 123"/>
                  <a:gd name="T28" fmla="*/ 56 w 90"/>
                  <a:gd name="T29" fmla="*/ 6 h 123"/>
                  <a:gd name="T30" fmla="*/ 53 w 90"/>
                  <a:gd name="T31" fmla="*/ 3 h 123"/>
                  <a:gd name="T32" fmla="*/ 48 w 90"/>
                  <a:gd name="T33" fmla="*/ 1 h 123"/>
                  <a:gd name="T34" fmla="*/ 41 w 90"/>
                  <a:gd name="T35" fmla="*/ 0 h 123"/>
                  <a:gd name="T36" fmla="*/ 38 w 90"/>
                  <a:gd name="T37" fmla="*/ 2 h 123"/>
                  <a:gd name="T38" fmla="*/ 35 w 90"/>
                  <a:gd name="T39" fmla="*/ 6 h 123"/>
                  <a:gd name="T40" fmla="*/ 33 w 90"/>
                  <a:gd name="T41" fmla="*/ 10 h 123"/>
                  <a:gd name="T42" fmla="*/ 32 w 90"/>
                  <a:gd name="T43" fmla="*/ 15 h 123"/>
                  <a:gd name="T44" fmla="*/ 31 w 90"/>
                  <a:gd name="T45" fmla="*/ 19 h 123"/>
                  <a:gd name="T46" fmla="*/ 30 w 90"/>
                  <a:gd name="T47" fmla="*/ 23 h 123"/>
                  <a:gd name="T48" fmla="*/ 27 w 90"/>
                  <a:gd name="T49" fmla="*/ 27 h 123"/>
                  <a:gd name="T50" fmla="*/ 19 w 90"/>
                  <a:gd name="T51" fmla="*/ 37 h 123"/>
                  <a:gd name="T52" fmla="*/ 11 w 90"/>
                  <a:gd name="T53" fmla="*/ 46 h 123"/>
                  <a:gd name="T54" fmla="*/ 5 w 90"/>
                  <a:gd name="T55" fmla="*/ 51 h 123"/>
                  <a:gd name="T56" fmla="*/ 2 w 90"/>
                  <a:gd name="T57" fmla="*/ 53 h 123"/>
                  <a:gd name="T58" fmla="*/ 0 w 90"/>
                  <a:gd name="T59" fmla="*/ 56 h 123"/>
                  <a:gd name="T60" fmla="*/ 0 w 90"/>
                  <a:gd name="T61" fmla="*/ 108 h 123"/>
                  <a:gd name="T62" fmla="*/ 2 w 90"/>
                  <a:gd name="T63" fmla="*/ 111 h 123"/>
                  <a:gd name="T64" fmla="*/ 5 w 90"/>
                  <a:gd name="T65" fmla="*/ 113 h 123"/>
                  <a:gd name="T66" fmla="*/ 18 w 90"/>
                  <a:gd name="T67" fmla="*/ 116 h 123"/>
                  <a:gd name="T68" fmla="*/ 28 w 90"/>
                  <a:gd name="T69" fmla="*/ 119 h 123"/>
                  <a:gd name="T70" fmla="*/ 38 w 90"/>
                  <a:gd name="T71" fmla="*/ 122 h 123"/>
                  <a:gd name="T72" fmla="*/ 49 w 90"/>
                  <a:gd name="T73" fmla="*/ 123 h 123"/>
                  <a:gd name="T74" fmla="*/ 59 w 90"/>
                  <a:gd name="T75" fmla="*/ 123 h 123"/>
                  <a:gd name="T76" fmla="*/ 75 w 90"/>
                  <a:gd name="T77" fmla="*/ 117 h 123"/>
                  <a:gd name="T78" fmla="*/ 79 w 90"/>
                  <a:gd name="T79" fmla="*/ 102 h 123"/>
                  <a:gd name="T80" fmla="*/ 83 w 90"/>
                  <a:gd name="T81" fmla="*/ 95 h 123"/>
                  <a:gd name="T82" fmla="*/ 83 w 90"/>
                  <a:gd name="T83" fmla="*/ 85 h 123"/>
                  <a:gd name="T84" fmla="*/ 87 w 90"/>
                  <a:gd name="T85" fmla="*/ 74 h 123"/>
                  <a:gd name="T86" fmla="*/ 86 w 90"/>
                  <a:gd name="T87" fmla="*/ 68 h 123"/>
                  <a:gd name="T88" fmla="*/ 86 w 90"/>
                  <a:gd name="T89" fmla="*/ 68 h 123"/>
                  <a:gd name="T90" fmla="*/ 86 w 90"/>
                  <a:gd name="T91" fmla="*/ 68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90" h="123">
                    <a:moveTo>
                      <a:pt x="86" y="68"/>
                    </a:moveTo>
                    <a:cubicBezTo>
                      <a:pt x="89" y="65"/>
                      <a:pt x="90" y="61"/>
                      <a:pt x="90" y="56"/>
                    </a:cubicBezTo>
                    <a:cubicBezTo>
                      <a:pt x="90" y="52"/>
                      <a:pt x="88" y="49"/>
                      <a:pt x="85" y="46"/>
                    </a:cubicBezTo>
                    <a:cubicBezTo>
                      <a:pt x="82" y="42"/>
                      <a:pt x="79" y="41"/>
                      <a:pt x="75" y="41"/>
                    </a:cubicBezTo>
                    <a:cubicBezTo>
                      <a:pt x="52" y="41"/>
                      <a:pt x="52" y="41"/>
                      <a:pt x="52" y="41"/>
                    </a:cubicBezTo>
                    <a:cubicBezTo>
                      <a:pt x="53" y="40"/>
                      <a:pt x="53" y="40"/>
                      <a:pt x="53" y="39"/>
                    </a:cubicBezTo>
                    <a:cubicBezTo>
                      <a:pt x="53" y="39"/>
                      <a:pt x="54" y="38"/>
                      <a:pt x="54" y="37"/>
                    </a:cubicBezTo>
                    <a:cubicBezTo>
                      <a:pt x="54" y="37"/>
                      <a:pt x="55" y="36"/>
                      <a:pt x="55" y="36"/>
                    </a:cubicBezTo>
                    <a:cubicBezTo>
                      <a:pt x="56" y="34"/>
                      <a:pt x="56" y="33"/>
                      <a:pt x="57" y="31"/>
                    </a:cubicBezTo>
                    <a:cubicBezTo>
                      <a:pt x="58" y="30"/>
                      <a:pt x="58" y="29"/>
                      <a:pt x="59" y="27"/>
                    </a:cubicBezTo>
                    <a:cubicBezTo>
                      <a:pt x="59" y="25"/>
                      <a:pt x="59" y="23"/>
                      <a:pt x="59" y="20"/>
                    </a:cubicBezTo>
                    <a:cubicBezTo>
                      <a:pt x="59" y="19"/>
                      <a:pt x="59" y="18"/>
                      <a:pt x="59" y="17"/>
                    </a:cubicBezTo>
                    <a:cubicBezTo>
                      <a:pt x="59" y="17"/>
                      <a:pt x="59" y="15"/>
                      <a:pt x="59" y="14"/>
                    </a:cubicBezTo>
                    <a:cubicBezTo>
                      <a:pt x="59" y="12"/>
                      <a:pt x="58" y="11"/>
                      <a:pt x="58" y="10"/>
                    </a:cubicBezTo>
                    <a:cubicBezTo>
                      <a:pt x="57" y="9"/>
                      <a:pt x="57" y="7"/>
                      <a:pt x="56" y="6"/>
                    </a:cubicBezTo>
                    <a:cubicBezTo>
                      <a:pt x="55" y="5"/>
                      <a:pt x="54" y="4"/>
                      <a:pt x="53" y="3"/>
                    </a:cubicBezTo>
                    <a:cubicBezTo>
                      <a:pt x="51" y="2"/>
                      <a:pt x="50" y="1"/>
                      <a:pt x="48" y="1"/>
                    </a:cubicBezTo>
                    <a:cubicBezTo>
                      <a:pt x="46" y="0"/>
                      <a:pt x="44" y="0"/>
                      <a:pt x="41" y="0"/>
                    </a:cubicBezTo>
                    <a:cubicBezTo>
                      <a:pt x="40" y="0"/>
                      <a:pt x="39" y="1"/>
                      <a:pt x="38" y="2"/>
                    </a:cubicBezTo>
                    <a:cubicBezTo>
                      <a:pt x="37" y="3"/>
                      <a:pt x="36" y="4"/>
                      <a:pt x="35" y="6"/>
                    </a:cubicBezTo>
                    <a:cubicBezTo>
                      <a:pt x="34" y="7"/>
                      <a:pt x="34" y="9"/>
                      <a:pt x="33" y="10"/>
                    </a:cubicBezTo>
                    <a:cubicBezTo>
                      <a:pt x="33" y="11"/>
                      <a:pt x="33" y="12"/>
                      <a:pt x="32" y="15"/>
                    </a:cubicBezTo>
                    <a:cubicBezTo>
                      <a:pt x="32" y="17"/>
                      <a:pt x="32" y="18"/>
                      <a:pt x="31" y="19"/>
                    </a:cubicBezTo>
                    <a:cubicBezTo>
                      <a:pt x="31" y="20"/>
                      <a:pt x="31" y="22"/>
                      <a:pt x="30" y="23"/>
                    </a:cubicBezTo>
                    <a:cubicBezTo>
                      <a:pt x="29" y="25"/>
                      <a:pt x="28" y="26"/>
                      <a:pt x="27" y="27"/>
                    </a:cubicBezTo>
                    <a:cubicBezTo>
                      <a:pt x="26" y="29"/>
                      <a:pt x="23" y="32"/>
                      <a:pt x="19" y="37"/>
                    </a:cubicBezTo>
                    <a:cubicBezTo>
                      <a:pt x="17" y="40"/>
                      <a:pt x="14" y="43"/>
                      <a:pt x="11" y="46"/>
                    </a:cubicBezTo>
                    <a:cubicBezTo>
                      <a:pt x="9" y="49"/>
                      <a:pt x="7" y="51"/>
                      <a:pt x="5" y="51"/>
                    </a:cubicBezTo>
                    <a:cubicBezTo>
                      <a:pt x="4" y="51"/>
                      <a:pt x="3" y="52"/>
                      <a:pt x="2" y="53"/>
                    </a:cubicBezTo>
                    <a:cubicBezTo>
                      <a:pt x="1" y="54"/>
                      <a:pt x="0" y="55"/>
                      <a:pt x="0" y="56"/>
                    </a:cubicBezTo>
                    <a:cubicBezTo>
                      <a:pt x="0" y="108"/>
                      <a:pt x="0" y="108"/>
                      <a:pt x="0" y="108"/>
                    </a:cubicBezTo>
                    <a:cubicBezTo>
                      <a:pt x="0" y="109"/>
                      <a:pt x="1" y="110"/>
                      <a:pt x="2" y="111"/>
                    </a:cubicBezTo>
                    <a:cubicBezTo>
                      <a:pt x="3" y="112"/>
                      <a:pt x="4" y="113"/>
                      <a:pt x="5" y="113"/>
                    </a:cubicBezTo>
                    <a:cubicBezTo>
                      <a:pt x="7" y="113"/>
                      <a:pt x="12" y="114"/>
                      <a:pt x="18" y="116"/>
                    </a:cubicBezTo>
                    <a:cubicBezTo>
                      <a:pt x="22" y="118"/>
                      <a:pt x="25" y="119"/>
                      <a:pt x="28" y="119"/>
                    </a:cubicBezTo>
                    <a:cubicBezTo>
                      <a:pt x="30" y="120"/>
                      <a:pt x="33" y="121"/>
                      <a:pt x="38" y="122"/>
                    </a:cubicBezTo>
                    <a:cubicBezTo>
                      <a:pt x="42" y="123"/>
                      <a:pt x="46" y="123"/>
                      <a:pt x="49" y="123"/>
                    </a:cubicBezTo>
                    <a:cubicBezTo>
                      <a:pt x="59" y="123"/>
                      <a:pt x="59" y="123"/>
                      <a:pt x="59" y="123"/>
                    </a:cubicBezTo>
                    <a:cubicBezTo>
                      <a:pt x="66" y="123"/>
                      <a:pt x="72" y="121"/>
                      <a:pt x="75" y="117"/>
                    </a:cubicBezTo>
                    <a:cubicBezTo>
                      <a:pt x="78" y="113"/>
                      <a:pt x="80" y="108"/>
                      <a:pt x="79" y="102"/>
                    </a:cubicBezTo>
                    <a:cubicBezTo>
                      <a:pt x="81" y="100"/>
                      <a:pt x="83" y="98"/>
                      <a:pt x="83" y="95"/>
                    </a:cubicBezTo>
                    <a:cubicBezTo>
                      <a:pt x="84" y="91"/>
                      <a:pt x="84" y="88"/>
                      <a:pt x="83" y="85"/>
                    </a:cubicBezTo>
                    <a:cubicBezTo>
                      <a:pt x="86" y="82"/>
                      <a:pt x="87" y="78"/>
                      <a:pt x="87" y="74"/>
                    </a:cubicBezTo>
                    <a:cubicBezTo>
                      <a:pt x="87" y="73"/>
                      <a:pt x="86" y="71"/>
                      <a:pt x="86" y="68"/>
                    </a:cubicBezTo>
                    <a:close/>
                    <a:moveTo>
                      <a:pt x="86" y="68"/>
                    </a:moveTo>
                    <a:cubicBezTo>
                      <a:pt x="86" y="68"/>
                      <a:pt x="86" y="68"/>
                      <a:pt x="86" y="68"/>
                    </a:cubicBezTo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09" name="Freeform 139">
                <a:extLst>
                  <a:ext uri="{FF2B5EF4-FFF2-40B4-BE49-F238E27FC236}">
                    <a16:creationId xmlns:a16="http://schemas.microsoft.com/office/drawing/2014/main" id="{DD4B0049-B8A9-4694-A4C3-64ACB763CC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94" y="2651"/>
                <a:ext cx="93" cy="175"/>
              </a:xfrm>
              <a:custGeom>
                <a:avLst/>
                <a:gdLst>
                  <a:gd name="T0" fmla="*/ 28 w 33"/>
                  <a:gd name="T1" fmla="*/ 0 h 62"/>
                  <a:gd name="T2" fmla="*/ 5 w 33"/>
                  <a:gd name="T3" fmla="*/ 0 h 62"/>
                  <a:gd name="T4" fmla="*/ 1 w 33"/>
                  <a:gd name="T5" fmla="*/ 2 h 62"/>
                  <a:gd name="T6" fmla="*/ 0 w 33"/>
                  <a:gd name="T7" fmla="*/ 5 h 62"/>
                  <a:gd name="T8" fmla="*/ 0 w 33"/>
                  <a:gd name="T9" fmla="*/ 57 h 62"/>
                  <a:gd name="T10" fmla="*/ 1 w 33"/>
                  <a:gd name="T11" fmla="*/ 60 h 62"/>
                  <a:gd name="T12" fmla="*/ 5 w 33"/>
                  <a:gd name="T13" fmla="*/ 62 h 62"/>
                  <a:gd name="T14" fmla="*/ 28 w 33"/>
                  <a:gd name="T15" fmla="*/ 62 h 62"/>
                  <a:gd name="T16" fmla="*/ 32 w 33"/>
                  <a:gd name="T17" fmla="*/ 60 h 62"/>
                  <a:gd name="T18" fmla="*/ 33 w 33"/>
                  <a:gd name="T19" fmla="*/ 57 h 62"/>
                  <a:gd name="T20" fmla="*/ 33 w 33"/>
                  <a:gd name="T21" fmla="*/ 5 h 62"/>
                  <a:gd name="T22" fmla="*/ 32 w 33"/>
                  <a:gd name="T23" fmla="*/ 2 h 62"/>
                  <a:gd name="T24" fmla="*/ 28 w 33"/>
                  <a:gd name="T25" fmla="*/ 0 h 62"/>
                  <a:gd name="T26" fmla="*/ 19 w 33"/>
                  <a:gd name="T27" fmla="*/ 50 h 62"/>
                  <a:gd name="T28" fmla="*/ 15 w 33"/>
                  <a:gd name="T29" fmla="*/ 51 h 62"/>
                  <a:gd name="T30" fmla="*/ 12 w 33"/>
                  <a:gd name="T31" fmla="*/ 50 h 62"/>
                  <a:gd name="T32" fmla="*/ 10 w 33"/>
                  <a:gd name="T33" fmla="*/ 46 h 62"/>
                  <a:gd name="T34" fmla="*/ 12 w 33"/>
                  <a:gd name="T35" fmla="*/ 43 h 62"/>
                  <a:gd name="T36" fmla="*/ 15 w 33"/>
                  <a:gd name="T37" fmla="*/ 41 h 62"/>
                  <a:gd name="T38" fmla="*/ 19 w 33"/>
                  <a:gd name="T39" fmla="*/ 43 h 62"/>
                  <a:gd name="T40" fmla="*/ 20 w 33"/>
                  <a:gd name="T41" fmla="*/ 46 h 62"/>
                  <a:gd name="T42" fmla="*/ 19 w 33"/>
                  <a:gd name="T43" fmla="*/ 50 h 62"/>
                  <a:gd name="T44" fmla="*/ 19 w 33"/>
                  <a:gd name="T45" fmla="*/ 50 h 62"/>
                  <a:gd name="T46" fmla="*/ 19 w 33"/>
                  <a:gd name="T47" fmla="*/ 5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3" h="62">
                    <a:moveTo>
                      <a:pt x="28" y="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3"/>
                      <a:pt x="0" y="4"/>
                      <a:pt x="0" y="5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58"/>
                      <a:pt x="0" y="59"/>
                      <a:pt x="1" y="60"/>
                    </a:cubicBezTo>
                    <a:cubicBezTo>
                      <a:pt x="2" y="61"/>
                      <a:pt x="4" y="62"/>
                      <a:pt x="5" y="62"/>
                    </a:cubicBezTo>
                    <a:cubicBezTo>
                      <a:pt x="28" y="62"/>
                      <a:pt x="28" y="62"/>
                      <a:pt x="28" y="62"/>
                    </a:cubicBezTo>
                    <a:cubicBezTo>
                      <a:pt x="30" y="62"/>
                      <a:pt x="31" y="61"/>
                      <a:pt x="32" y="60"/>
                    </a:cubicBezTo>
                    <a:cubicBezTo>
                      <a:pt x="33" y="59"/>
                      <a:pt x="33" y="58"/>
                      <a:pt x="33" y="57"/>
                    </a:cubicBezTo>
                    <a:cubicBezTo>
                      <a:pt x="33" y="5"/>
                      <a:pt x="33" y="5"/>
                      <a:pt x="33" y="5"/>
                    </a:cubicBezTo>
                    <a:cubicBezTo>
                      <a:pt x="33" y="4"/>
                      <a:pt x="33" y="3"/>
                      <a:pt x="32" y="2"/>
                    </a:cubicBezTo>
                    <a:cubicBezTo>
                      <a:pt x="31" y="1"/>
                      <a:pt x="30" y="0"/>
                      <a:pt x="28" y="0"/>
                    </a:cubicBezTo>
                    <a:close/>
                    <a:moveTo>
                      <a:pt x="19" y="50"/>
                    </a:moveTo>
                    <a:cubicBezTo>
                      <a:pt x="18" y="51"/>
                      <a:pt x="17" y="51"/>
                      <a:pt x="15" y="51"/>
                    </a:cubicBezTo>
                    <a:cubicBezTo>
                      <a:pt x="14" y="51"/>
                      <a:pt x="13" y="51"/>
                      <a:pt x="12" y="50"/>
                    </a:cubicBezTo>
                    <a:cubicBezTo>
                      <a:pt x="11" y="49"/>
                      <a:pt x="10" y="48"/>
                      <a:pt x="10" y="46"/>
                    </a:cubicBezTo>
                    <a:cubicBezTo>
                      <a:pt x="10" y="45"/>
                      <a:pt x="11" y="44"/>
                      <a:pt x="12" y="43"/>
                    </a:cubicBezTo>
                    <a:cubicBezTo>
                      <a:pt x="13" y="42"/>
                      <a:pt x="14" y="41"/>
                      <a:pt x="15" y="41"/>
                    </a:cubicBezTo>
                    <a:cubicBezTo>
                      <a:pt x="17" y="41"/>
                      <a:pt x="18" y="42"/>
                      <a:pt x="19" y="43"/>
                    </a:cubicBezTo>
                    <a:cubicBezTo>
                      <a:pt x="20" y="44"/>
                      <a:pt x="20" y="45"/>
                      <a:pt x="20" y="46"/>
                    </a:cubicBezTo>
                    <a:cubicBezTo>
                      <a:pt x="20" y="48"/>
                      <a:pt x="20" y="49"/>
                      <a:pt x="19" y="50"/>
                    </a:cubicBezTo>
                    <a:close/>
                    <a:moveTo>
                      <a:pt x="19" y="50"/>
                    </a:moveTo>
                    <a:cubicBezTo>
                      <a:pt x="19" y="50"/>
                      <a:pt x="19" y="50"/>
                      <a:pt x="19" y="50"/>
                    </a:cubicBezTo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10" name="Freeform 140">
                <a:extLst>
                  <a:ext uri="{FF2B5EF4-FFF2-40B4-BE49-F238E27FC236}">
                    <a16:creationId xmlns:a16="http://schemas.microsoft.com/office/drawing/2014/main" id="{27CE51EB-E3EE-4DE7-9E4F-DB417071D7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2" y="2767"/>
                <a:ext cx="28" cy="28"/>
              </a:xfrm>
              <a:custGeom>
                <a:avLst/>
                <a:gdLst>
                  <a:gd name="T0" fmla="*/ 9 w 10"/>
                  <a:gd name="T1" fmla="*/ 9 h 10"/>
                  <a:gd name="T2" fmla="*/ 9 w 10"/>
                  <a:gd name="T3" fmla="*/ 9 h 10"/>
                  <a:gd name="T4" fmla="*/ 5 w 10"/>
                  <a:gd name="T5" fmla="*/ 10 h 10"/>
                  <a:gd name="T6" fmla="*/ 2 w 10"/>
                  <a:gd name="T7" fmla="*/ 9 h 10"/>
                  <a:gd name="T8" fmla="*/ 0 w 10"/>
                  <a:gd name="T9" fmla="*/ 5 h 10"/>
                  <a:gd name="T10" fmla="*/ 2 w 10"/>
                  <a:gd name="T11" fmla="*/ 2 h 10"/>
                  <a:gd name="T12" fmla="*/ 5 w 10"/>
                  <a:gd name="T13" fmla="*/ 0 h 10"/>
                  <a:gd name="T14" fmla="*/ 9 w 10"/>
                  <a:gd name="T15" fmla="*/ 2 h 10"/>
                  <a:gd name="T16" fmla="*/ 10 w 10"/>
                  <a:gd name="T17" fmla="*/ 5 h 10"/>
                  <a:gd name="T18" fmla="*/ 9 w 10"/>
                  <a:gd name="T19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10">
                    <a:moveTo>
                      <a:pt x="9" y="9"/>
                    </a:moveTo>
                    <a:cubicBezTo>
                      <a:pt x="9" y="9"/>
                      <a:pt x="9" y="9"/>
                      <a:pt x="9" y="9"/>
                    </a:cubicBezTo>
                    <a:cubicBezTo>
                      <a:pt x="8" y="10"/>
                      <a:pt x="7" y="10"/>
                      <a:pt x="5" y="10"/>
                    </a:cubicBezTo>
                    <a:cubicBezTo>
                      <a:pt x="4" y="10"/>
                      <a:pt x="3" y="10"/>
                      <a:pt x="2" y="9"/>
                    </a:cubicBezTo>
                    <a:cubicBezTo>
                      <a:pt x="1" y="8"/>
                      <a:pt x="0" y="7"/>
                      <a:pt x="0" y="5"/>
                    </a:cubicBezTo>
                    <a:cubicBezTo>
                      <a:pt x="0" y="4"/>
                      <a:pt x="1" y="3"/>
                      <a:pt x="2" y="2"/>
                    </a:cubicBezTo>
                    <a:cubicBezTo>
                      <a:pt x="3" y="1"/>
                      <a:pt x="4" y="0"/>
                      <a:pt x="5" y="0"/>
                    </a:cubicBezTo>
                    <a:cubicBezTo>
                      <a:pt x="7" y="0"/>
                      <a:pt x="8" y="1"/>
                      <a:pt x="9" y="2"/>
                    </a:cubicBezTo>
                    <a:cubicBezTo>
                      <a:pt x="10" y="3"/>
                      <a:pt x="10" y="4"/>
                      <a:pt x="10" y="5"/>
                    </a:cubicBezTo>
                    <a:cubicBezTo>
                      <a:pt x="10" y="7"/>
                      <a:pt x="10" y="8"/>
                      <a:pt x="9" y="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11" name="Freeform 141">
                <a:extLst>
                  <a:ext uri="{FF2B5EF4-FFF2-40B4-BE49-F238E27FC236}">
                    <a16:creationId xmlns:a16="http://schemas.microsoft.com/office/drawing/2014/main" id="{7650747E-3E27-44C1-B78C-E105BA9703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16" y="2758"/>
                <a:ext cx="40" cy="42"/>
              </a:xfrm>
              <a:custGeom>
                <a:avLst/>
                <a:gdLst>
                  <a:gd name="T0" fmla="*/ 7 w 14"/>
                  <a:gd name="T1" fmla="*/ 15 h 15"/>
                  <a:gd name="T2" fmla="*/ 2 w 14"/>
                  <a:gd name="T3" fmla="*/ 13 h 15"/>
                  <a:gd name="T4" fmla="*/ 0 w 14"/>
                  <a:gd name="T5" fmla="*/ 8 h 15"/>
                  <a:gd name="T6" fmla="*/ 2 w 14"/>
                  <a:gd name="T7" fmla="*/ 3 h 15"/>
                  <a:gd name="T8" fmla="*/ 12 w 14"/>
                  <a:gd name="T9" fmla="*/ 3 h 15"/>
                  <a:gd name="T10" fmla="*/ 14 w 14"/>
                  <a:gd name="T11" fmla="*/ 8 h 15"/>
                  <a:gd name="T12" fmla="*/ 12 w 14"/>
                  <a:gd name="T13" fmla="*/ 13 h 15"/>
                  <a:gd name="T14" fmla="*/ 7 w 14"/>
                  <a:gd name="T15" fmla="*/ 15 h 15"/>
                  <a:gd name="T16" fmla="*/ 7 w 14"/>
                  <a:gd name="T17" fmla="*/ 5 h 15"/>
                  <a:gd name="T18" fmla="*/ 5 w 14"/>
                  <a:gd name="T19" fmla="*/ 6 h 15"/>
                  <a:gd name="T20" fmla="*/ 4 w 14"/>
                  <a:gd name="T21" fmla="*/ 8 h 15"/>
                  <a:gd name="T22" fmla="*/ 5 w 14"/>
                  <a:gd name="T23" fmla="*/ 11 h 15"/>
                  <a:gd name="T24" fmla="*/ 10 w 14"/>
                  <a:gd name="T25" fmla="*/ 11 h 15"/>
                  <a:gd name="T26" fmla="*/ 10 w 14"/>
                  <a:gd name="T27" fmla="*/ 11 h 15"/>
                  <a:gd name="T28" fmla="*/ 10 w 14"/>
                  <a:gd name="T29" fmla="*/ 8 h 15"/>
                  <a:gd name="T30" fmla="*/ 10 w 14"/>
                  <a:gd name="T31" fmla="*/ 6 h 15"/>
                  <a:gd name="T32" fmla="*/ 7 w 14"/>
                  <a:gd name="T33" fmla="*/ 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15">
                    <a:moveTo>
                      <a:pt x="7" y="15"/>
                    </a:moveTo>
                    <a:cubicBezTo>
                      <a:pt x="5" y="15"/>
                      <a:pt x="4" y="15"/>
                      <a:pt x="2" y="13"/>
                    </a:cubicBezTo>
                    <a:cubicBezTo>
                      <a:pt x="1" y="12"/>
                      <a:pt x="0" y="10"/>
                      <a:pt x="0" y="8"/>
                    </a:cubicBezTo>
                    <a:cubicBezTo>
                      <a:pt x="0" y="6"/>
                      <a:pt x="1" y="5"/>
                      <a:pt x="2" y="3"/>
                    </a:cubicBezTo>
                    <a:cubicBezTo>
                      <a:pt x="5" y="1"/>
                      <a:pt x="9" y="0"/>
                      <a:pt x="12" y="3"/>
                    </a:cubicBezTo>
                    <a:cubicBezTo>
                      <a:pt x="14" y="5"/>
                      <a:pt x="14" y="6"/>
                      <a:pt x="14" y="8"/>
                    </a:cubicBezTo>
                    <a:cubicBezTo>
                      <a:pt x="14" y="10"/>
                      <a:pt x="14" y="12"/>
                      <a:pt x="12" y="13"/>
                    </a:cubicBezTo>
                    <a:cubicBezTo>
                      <a:pt x="11" y="15"/>
                      <a:pt x="9" y="15"/>
                      <a:pt x="7" y="15"/>
                    </a:cubicBezTo>
                    <a:close/>
                    <a:moveTo>
                      <a:pt x="7" y="5"/>
                    </a:moveTo>
                    <a:cubicBezTo>
                      <a:pt x="6" y="5"/>
                      <a:pt x="6" y="5"/>
                      <a:pt x="5" y="6"/>
                    </a:cubicBezTo>
                    <a:cubicBezTo>
                      <a:pt x="4" y="7"/>
                      <a:pt x="4" y="7"/>
                      <a:pt x="4" y="8"/>
                    </a:cubicBezTo>
                    <a:cubicBezTo>
                      <a:pt x="4" y="9"/>
                      <a:pt x="4" y="10"/>
                      <a:pt x="5" y="11"/>
                    </a:cubicBezTo>
                    <a:cubicBezTo>
                      <a:pt x="6" y="12"/>
                      <a:pt x="8" y="12"/>
                      <a:pt x="10" y="11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10" y="10"/>
                      <a:pt x="10" y="9"/>
                      <a:pt x="10" y="8"/>
                    </a:cubicBezTo>
                    <a:cubicBezTo>
                      <a:pt x="10" y="7"/>
                      <a:pt x="10" y="7"/>
                      <a:pt x="10" y="6"/>
                    </a:cubicBezTo>
                    <a:cubicBezTo>
                      <a:pt x="9" y="5"/>
                      <a:pt x="8" y="5"/>
                      <a:pt x="7" y="5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81" name="Groupe 480">
            <a:extLst>
              <a:ext uri="{FF2B5EF4-FFF2-40B4-BE49-F238E27FC236}">
                <a16:creationId xmlns:a16="http://schemas.microsoft.com/office/drawing/2014/main" id="{F61B1008-3125-4CFC-8F16-2FD807125A59}"/>
              </a:ext>
            </a:extLst>
          </p:cNvPr>
          <p:cNvGrpSpPr/>
          <p:nvPr/>
        </p:nvGrpSpPr>
        <p:grpSpPr>
          <a:xfrm>
            <a:off x="8042441" y="4246747"/>
            <a:ext cx="865004" cy="865444"/>
            <a:chOff x="6033607" y="3935887"/>
            <a:chExt cx="648743" cy="649073"/>
          </a:xfrm>
        </p:grpSpPr>
        <p:sp>
          <p:nvSpPr>
            <p:cNvPr id="695" name="Oval 5">
              <a:extLst>
                <a:ext uri="{FF2B5EF4-FFF2-40B4-BE49-F238E27FC236}">
                  <a16:creationId xmlns:a16="http://schemas.microsoft.com/office/drawing/2014/main" id="{FF921C12-B0BC-4CEC-BA9E-FB103B6C9F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3607" y="3935887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696" name="Group 144">
              <a:extLst>
                <a:ext uri="{FF2B5EF4-FFF2-40B4-BE49-F238E27FC236}">
                  <a16:creationId xmlns:a16="http://schemas.microsoft.com/office/drawing/2014/main" id="{29469DC7-EAC7-494A-8D2D-B8C9FFC6C3C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162549" y="4123898"/>
              <a:ext cx="390858" cy="273050"/>
              <a:chOff x="3825" y="2568"/>
              <a:chExt cx="355" cy="248"/>
            </a:xfrm>
          </p:grpSpPr>
          <p:sp>
            <p:nvSpPr>
              <p:cNvPr id="697" name="AutoShape 143">
                <a:extLst>
                  <a:ext uri="{FF2B5EF4-FFF2-40B4-BE49-F238E27FC236}">
                    <a16:creationId xmlns:a16="http://schemas.microsoft.com/office/drawing/2014/main" id="{D95007CC-0286-4545-84D2-532C6255A6F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3825" y="2568"/>
                <a:ext cx="355" cy="2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98" name="Freeform 145">
                <a:extLst>
                  <a:ext uri="{FF2B5EF4-FFF2-40B4-BE49-F238E27FC236}">
                    <a16:creationId xmlns:a16="http://schemas.microsoft.com/office/drawing/2014/main" id="{56A585AB-4392-4C3E-B2E9-C115304CDF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6" y="2699"/>
                <a:ext cx="333" cy="120"/>
              </a:xfrm>
              <a:custGeom>
                <a:avLst/>
                <a:gdLst>
                  <a:gd name="T0" fmla="*/ 43 w 118"/>
                  <a:gd name="T1" fmla="*/ 0 h 42"/>
                  <a:gd name="T2" fmla="*/ 0 w 118"/>
                  <a:gd name="T3" fmla="*/ 40 h 42"/>
                  <a:gd name="T4" fmla="*/ 5 w 118"/>
                  <a:gd name="T5" fmla="*/ 42 h 42"/>
                  <a:gd name="T6" fmla="*/ 113 w 118"/>
                  <a:gd name="T7" fmla="*/ 42 h 42"/>
                  <a:gd name="T8" fmla="*/ 118 w 118"/>
                  <a:gd name="T9" fmla="*/ 40 h 42"/>
                  <a:gd name="T10" fmla="*/ 76 w 118"/>
                  <a:gd name="T11" fmla="*/ 0 h 42"/>
                  <a:gd name="T12" fmla="*/ 43 w 118"/>
                  <a:gd name="T13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8" h="42">
                    <a:moveTo>
                      <a:pt x="43" y="0"/>
                    </a:moveTo>
                    <a:cubicBezTo>
                      <a:pt x="0" y="40"/>
                      <a:pt x="0" y="40"/>
                      <a:pt x="0" y="40"/>
                    </a:cubicBezTo>
                    <a:cubicBezTo>
                      <a:pt x="2" y="41"/>
                      <a:pt x="3" y="42"/>
                      <a:pt x="5" y="42"/>
                    </a:cubicBezTo>
                    <a:cubicBezTo>
                      <a:pt x="113" y="42"/>
                      <a:pt x="113" y="42"/>
                      <a:pt x="113" y="42"/>
                    </a:cubicBezTo>
                    <a:cubicBezTo>
                      <a:pt x="115" y="42"/>
                      <a:pt x="117" y="41"/>
                      <a:pt x="118" y="40"/>
                    </a:cubicBezTo>
                    <a:cubicBezTo>
                      <a:pt x="76" y="0"/>
                      <a:pt x="76" y="0"/>
                      <a:pt x="76" y="0"/>
                    </a:cubicBezTo>
                    <a:lnTo>
                      <a:pt x="43" y="0"/>
                    </a:ln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99" name="Freeform 146">
                <a:extLst>
                  <a:ext uri="{FF2B5EF4-FFF2-40B4-BE49-F238E27FC236}">
                    <a16:creationId xmlns:a16="http://schemas.microsoft.com/office/drawing/2014/main" id="{4FCA2882-9189-454E-819E-AF65332A9E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8" y="2688"/>
                <a:ext cx="349" cy="125"/>
              </a:xfrm>
              <a:custGeom>
                <a:avLst/>
                <a:gdLst>
                  <a:gd name="T0" fmla="*/ 44 w 124"/>
                  <a:gd name="T1" fmla="*/ 0 h 44"/>
                  <a:gd name="T2" fmla="*/ 0 w 124"/>
                  <a:gd name="T3" fmla="*/ 42 h 44"/>
                  <a:gd name="T4" fmla="*/ 3 w 124"/>
                  <a:gd name="T5" fmla="*/ 44 h 44"/>
                  <a:gd name="T6" fmla="*/ 46 w 124"/>
                  <a:gd name="T7" fmla="*/ 4 h 44"/>
                  <a:gd name="T8" fmla="*/ 79 w 124"/>
                  <a:gd name="T9" fmla="*/ 4 h 44"/>
                  <a:gd name="T10" fmla="*/ 121 w 124"/>
                  <a:gd name="T11" fmla="*/ 44 h 44"/>
                  <a:gd name="T12" fmla="*/ 124 w 124"/>
                  <a:gd name="T13" fmla="*/ 42 h 44"/>
                  <a:gd name="T14" fmla="*/ 80 w 124"/>
                  <a:gd name="T15" fmla="*/ 0 h 44"/>
                  <a:gd name="T16" fmla="*/ 44 w 124"/>
                  <a:gd name="T1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4" h="44">
                    <a:moveTo>
                      <a:pt x="44" y="0"/>
                    </a:moveTo>
                    <a:cubicBezTo>
                      <a:pt x="0" y="42"/>
                      <a:pt x="0" y="42"/>
                      <a:pt x="0" y="42"/>
                    </a:cubicBezTo>
                    <a:cubicBezTo>
                      <a:pt x="1" y="43"/>
                      <a:pt x="2" y="44"/>
                      <a:pt x="3" y="44"/>
                    </a:cubicBezTo>
                    <a:cubicBezTo>
                      <a:pt x="46" y="4"/>
                      <a:pt x="46" y="4"/>
                      <a:pt x="46" y="4"/>
                    </a:cubicBezTo>
                    <a:cubicBezTo>
                      <a:pt x="79" y="4"/>
                      <a:pt x="79" y="4"/>
                      <a:pt x="79" y="4"/>
                    </a:cubicBezTo>
                    <a:cubicBezTo>
                      <a:pt x="121" y="44"/>
                      <a:pt x="121" y="44"/>
                      <a:pt x="121" y="44"/>
                    </a:cubicBezTo>
                    <a:cubicBezTo>
                      <a:pt x="122" y="43"/>
                      <a:pt x="123" y="43"/>
                      <a:pt x="124" y="42"/>
                    </a:cubicBezTo>
                    <a:cubicBezTo>
                      <a:pt x="80" y="0"/>
                      <a:pt x="80" y="0"/>
                      <a:pt x="80" y="0"/>
                    </a:cubicBezTo>
                    <a:lnTo>
                      <a:pt x="4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00" name="Freeform 147">
                <a:extLst>
                  <a:ext uri="{FF2B5EF4-FFF2-40B4-BE49-F238E27FC236}">
                    <a16:creationId xmlns:a16="http://schemas.microsoft.com/office/drawing/2014/main" id="{37743D52-A55A-4C35-A2A8-F25504DA73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0" y="2568"/>
                <a:ext cx="305" cy="0"/>
              </a:xfrm>
              <a:custGeom>
                <a:avLst/>
                <a:gdLst>
                  <a:gd name="T0" fmla="*/ 108 w 108"/>
                  <a:gd name="T1" fmla="*/ 0 w 108"/>
                  <a:gd name="T2" fmla="*/ 0 w 108"/>
                  <a:gd name="T3" fmla="*/ 108 w 108"/>
                  <a:gd name="T4" fmla="*/ 108 w 10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08">
                    <a:moveTo>
                      <a:pt x="108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08" y="0"/>
                      <a:pt x="108" y="0"/>
                      <a:pt x="108" y="0"/>
                    </a:cubicBezTo>
                    <a:cubicBezTo>
                      <a:pt x="108" y="0"/>
                      <a:pt x="108" y="0"/>
                      <a:pt x="108" y="0"/>
                    </a:cubicBezTo>
                    <a:close/>
                  </a:path>
                </a:pathLst>
              </a:custGeom>
              <a:solidFill>
                <a:srgbClr val="E422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01" name="Freeform 148">
                <a:extLst>
                  <a:ext uri="{FF2B5EF4-FFF2-40B4-BE49-F238E27FC236}">
                    <a16:creationId xmlns:a16="http://schemas.microsoft.com/office/drawing/2014/main" id="{AB65CC35-114F-4A2C-947E-CB8CAF5200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2" y="2582"/>
                <a:ext cx="124" cy="225"/>
              </a:xfrm>
              <a:custGeom>
                <a:avLst/>
                <a:gdLst>
                  <a:gd name="T0" fmla="*/ 0 w 44"/>
                  <a:gd name="T1" fmla="*/ 5 h 79"/>
                  <a:gd name="T2" fmla="*/ 0 w 44"/>
                  <a:gd name="T3" fmla="*/ 73 h 79"/>
                  <a:gd name="T4" fmla="*/ 2 w 44"/>
                  <a:gd name="T5" fmla="*/ 79 h 79"/>
                  <a:gd name="T6" fmla="*/ 44 w 44"/>
                  <a:gd name="T7" fmla="*/ 40 h 79"/>
                  <a:gd name="T8" fmla="*/ 1 w 44"/>
                  <a:gd name="T9" fmla="*/ 0 h 79"/>
                  <a:gd name="T10" fmla="*/ 0 w 44"/>
                  <a:gd name="T11" fmla="*/ 5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4" h="79">
                    <a:moveTo>
                      <a:pt x="0" y="5"/>
                    </a:moveTo>
                    <a:cubicBezTo>
                      <a:pt x="0" y="73"/>
                      <a:pt x="0" y="73"/>
                      <a:pt x="0" y="73"/>
                    </a:cubicBezTo>
                    <a:cubicBezTo>
                      <a:pt x="0" y="75"/>
                      <a:pt x="1" y="77"/>
                      <a:pt x="2" y="79"/>
                    </a:cubicBezTo>
                    <a:cubicBezTo>
                      <a:pt x="44" y="40"/>
                      <a:pt x="44" y="40"/>
                      <a:pt x="44" y="4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3"/>
                      <a:pt x="0" y="5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02" name="Freeform 149">
                <a:extLst>
                  <a:ext uri="{FF2B5EF4-FFF2-40B4-BE49-F238E27FC236}">
                    <a16:creationId xmlns:a16="http://schemas.microsoft.com/office/drawing/2014/main" id="{DE106FF2-2965-4777-AEE1-41F8B2D199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2" y="2582"/>
                <a:ext cx="121" cy="225"/>
              </a:xfrm>
              <a:custGeom>
                <a:avLst/>
                <a:gdLst>
                  <a:gd name="T0" fmla="*/ 0 w 43"/>
                  <a:gd name="T1" fmla="*/ 40 h 79"/>
                  <a:gd name="T2" fmla="*/ 41 w 43"/>
                  <a:gd name="T3" fmla="*/ 79 h 79"/>
                  <a:gd name="T4" fmla="*/ 43 w 43"/>
                  <a:gd name="T5" fmla="*/ 73 h 79"/>
                  <a:gd name="T6" fmla="*/ 43 w 43"/>
                  <a:gd name="T7" fmla="*/ 5 h 79"/>
                  <a:gd name="T8" fmla="*/ 42 w 43"/>
                  <a:gd name="T9" fmla="*/ 0 h 79"/>
                  <a:gd name="T10" fmla="*/ 0 w 43"/>
                  <a:gd name="T11" fmla="*/ 4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79">
                    <a:moveTo>
                      <a:pt x="0" y="40"/>
                    </a:moveTo>
                    <a:cubicBezTo>
                      <a:pt x="41" y="79"/>
                      <a:pt x="41" y="79"/>
                      <a:pt x="41" y="79"/>
                    </a:cubicBezTo>
                    <a:cubicBezTo>
                      <a:pt x="42" y="77"/>
                      <a:pt x="43" y="75"/>
                      <a:pt x="43" y="73"/>
                    </a:cubicBezTo>
                    <a:cubicBezTo>
                      <a:pt x="43" y="5"/>
                      <a:pt x="43" y="5"/>
                      <a:pt x="43" y="5"/>
                    </a:cubicBezTo>
                    <a:cubicBezTo>
                      <a:pt x="43" y="3"/>
                      <a:pt x="43" y="1"/>
                      <a:pt x="42" y="0"/>
                    </a:cubicBezTo>
                    <a:lnTo>
                      <a:pt x="0" y="40"/>
                    </a:ln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03" name="Freeform 150">
                <a:extLst>
                  <a:ext uri="{FF2B5EF4-FFF2-40B4-BE49-F238E27FC236}">
                    <a16:creationId xmlns:a16="http://schemas.microsoft.com/office/drawing/2014/main" id="{46C9FFCD-A8BE-4C37-A7B7-95C4BF7A0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3" y="2688"/>
                <a:ext cx="79" cy="28"/>
              </a:xfrm>
              <a:custGeom>
                <a:avLst/>
                <a:gdLst>
                  <a:gd name="T0" fmla="*/ 23 w 28"/>
                  <a:gd name="T1" fmla="*/ 5 h 10"/>
                  <a:gd name="T2" fmla="*/ 28 w 28"/>
                  <a:gd name="T3" fmla="*/ 0 h 10"/>
                  <a:gd name="T4" fmla="*/ 0 w 28"/>
                  <a:gd name="T5" fmla="*/ 0 h 10"/>
                  <a:gd name="T6" fmla="*/ 5 w 28"/>
                  <a:gd name="T7" fmla="*/ 5 h 10"/>
                  <a:gd name="T8" fmla="*/ 23 w 28"/>
                  <a:gd name="T9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0">
                    <a:moveTo>
                      <a:pt x="23" y="5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10" y="10"/>
                      <a:pt x="18" y="10"/>
                      <a:pt x="23" y="5"/>
                    </a:cubicBezTo>
                    <a:close/>
                  </a:path>
                </a:pathLst>
              </a:custGeom>
              <a:solidFill>
                <a:srgbClr val="C41A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04" name="Freeform 151">
                <a:extLst>
                  <a:ext uri="{FF2B5EF4-FFF2-40B4-BE49-F238E27FC236}">
                    <a16:creationId xmlns:a16="http://schemas.microsoft.com/office/drawing/2014/main" id="{6651FCC4-6424-4332-916D-7DF8A06557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9" y="2568"/>
                <a:ext cx="327" cy="120"/>
              </a:xfrm>
              <a:custGeom>
                <a:avLst/>
                <a:gdLst>
                  <a:gd name="T0" fmla="*/ 44 w 116"/>
                  <a:gd name="T1" fmla="*/ 42 h 42"/>
                  <a:gd name="T2" fmla="*/ 72 w 116"/>
                  <a:gd name="T3" fmla="*/ 42 h 42"/>
                  <a:gd name="T4" fmla="*/ 116 w 116"/>
                  <a:gd name="T5" fmla="*/ 1 h 42"/>
                  <a:gd name="T6" fmla="*/ 112 w 116"/>
                  <a:gd name="T7" fmla="*/ 0 h 42"/>
                  <a:gd name="T8" fmla="*/ 4 w 116"/>
                  <a:gd name="T9" fmla="*/ 0 h 42"/>
                  <a:gd name="T10" fmla="*/ 0 w 116"/>
                  <a:gd name="T11" fmla="*/ 1 h 42"/>
                  <a:gd name="T12" fmla="*/ 44 w 116"/>
                  <a:gd name="T13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6" h="42">
                    <a:moveTo>
                      <a:pt x="44" y="42"/>
                    </a:moveTo>
                    <a:cubicBezTo>
                      <a:pt x="72" y="42"/>
                      <a:pt x="72" y="42"/>
                      <a:pt x="72" y="42"/>
                    </a:cubicBezTo>
                    <a:cubicBezTo>
                      <a:pt x="116" y="1"/>
                      <a:pt x="116" y="1"/>
                      <a:pt x="116" y="1"/>
                    </a:cubicBezTo>
                    <a:cubicBezTo>
                      <a:pt x="115" y="0"/>
                      <a:pt x="114" y="0"/>
                      <a:pt x="112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1" y="0"/>
                      <a:pt x="0" y="1"/>
                    </a:cubicBezTo>
                    <a:lnTo>
                      <a:pt x="44" y="42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05" name="Freeform 152">
                <a:extLst>
                  <a:ext uri="{FF2B5EF4-FFF2-40B4-BE49-F238E27FC236}">
                    <a16:creationId xmlns:a16="http://schemas.microsoft.com/office/drawing/2014/main" id="{052089DD-190C-4111-88F8-01C8F9AF07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5" y="2571"/>
                <a:ext cx="355" cy="159"/>
              </a:xfrm>
              <a:custGeom>
                <a:avLst/>
                <a:gdLst>
                  <a:gd name="T0" fmla="*/ 124 w 126"/>
                  <a:gd name="T1" fmla="*/ 1 h 56"/>
                  <a:gd name="T2" fmla="*/ 121 w 126"/>
                  <a:gd name="T3" fmla="*/ 0 h 56"/>
                  <a:gd name="T4" fmla="*/ 77 w 126"/>
                  <a:gd name="T5" fmla="*/ 41 h 56"/>
                  <a:gd name="T6" fmla="*/ 72 w 126"/>
                  <a:gd name="T7" fmla="*/ 46 h 56"/>
                  <a:gd name="T8" fmla="*/ 54 w 126"/>
                  <a:gd name="T9" fmla="*/ 46 h 56"/>
                  <a:gd name="T10" fmla="*/ 49 w 126"/>
                  <a:gd name="T11" fmla="*/ 41 h 56"/>
                  <a:gd name="T12" fmla="*/ 5 w 126"/>
                  <a:gd name="T13" fmla="*/ 0 h 56"/>
                  <a:gd name="T14" fmla="*/ 2 w 126"/>
                  <a:gd name="T15" fmla="*/ 1 h 56"/>
                  <a:gd name="T16" fmla="*/ 0 w 126"/>
                  <a:gd name="T17" fmla="*/ 4 h 56"/>
                  <a:gd name="T18" fmla="*/ 43 w 126"/>
                  <a:gd name="T19" fmla="*/ 44 h 56"/>
                  <a:gd name="T20" fmla="*/ 50 w 126"/>
                  <a:gd name="T21" fmla="*/ 51 h 56"/>
                  <a:gd name="T22" fmla="*/ 63 w 126"/>
                  <a:gd name="T23" fmla="*/ 56 h 56"/>
                  <a:gd name="T24" fmla="*/ 76 w 126"/>
                  <a:gd name="T25" fmla="*/ 51 h 56"/>
                  <a:gd name="T26" fmla="*/ 84 w 126"/>
                  <a:gd name="T27" fmla="*/ 44 h 56"/>
                  <a:gd name="T28" fmla="*/ 126 w 126"/>
                  <a:gd name="T29" fmla="*/ 4 h 56"/>
                  <a:gd name="T30" fmla="*/ 124 w 126"/>
                  <a:gd name="T31" fmla="*/ 1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6" h="56">
                    <a:moveTo>
                      <a:pt x="124" y="1"/>
                    </a:moveTo>
                    <a:cubicBezTo>
                      <a:pt x="123" y="1"/>
                      <a:pt x="122" y="0"/>
                      <a:pt x="121" y="0"/>
                    </a:cubicBezTo>
                    <a:cubicBezTo>
                      <a:pt x="77" y="41"/>
                      <a:pt x="77" y="41"/>
                      <a:pt x="77" y="41"/>
                    </a:cubicBezTo>
                    <a:cubicBezTo>
                      <a:pt x="72" y="46"/>
                      <a:pt x="72" y="46"/>
                      <a:pt x="72" y="46"/>
                    </a:cubicBezTo>
                    <a:cubicBezTo>
                      <a:pt x="67" y="51"/>
                      <a:pt x="59" y="51"/>
                      <a:pt x="54" y="46"/>
                    </a:cubicBezTo>
                    <a:cubicBezTo>
                      <a:pt x="49" y="41"/>
                      <a:pt x="49" y="41"/>
                      <a:pt x="49" y="41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0"/>
                      <a:pt x="3" y="1"/>
                      <a:pt x="2" y="1"/>
                    </a:cubicBezTo>
                    <a:cubicBezTo>
                      <a:pt x="1" y="2"/>
                      <a:pt x="1" y="3"/>
                      <a:pt x="0" y="4"/>
                    </a:cubicBezTo>
                    <a:cubicBezTo>
                      <a:pt x="43" y="44"/>
                      <a:pt x="43" y="44"/>
                      <a:pt x="43" y="44"/>
                    </a:cubicBezTo>
                    <a:cubicBezTo>
                      <a:pt x="50" y="51"/>
                      <a:pt x="50" y="51"/>
                      <a:pt x="50" y="51"/>
                    </a:cubicBezTo>
                    <a:cubicBezTo>
                      <a:pt x="54" y="54"/>
                      <a:pt x="58" y="56"/>
                      <a:pt x="63" y="56"/>
                    </a:cubicBezTo>
                    <a:cubicBezTo>
                      <a:pt x="68" y="56"/>
                      <a:pt x="72" y="54"/>
                      <a:pt x="76" y="51"/>
                    </a:cubicBezTo>
                    <a:cubicBezTo>
                      <a:pt x="84" y="44"/>
                      <a:pt x="84" y="44"/>
                      <a:pt x="84" y="44"/>
                    </a:cubicBezTo>
                    <a:cubicBezTo>
                      <a:pt x="126" y="4"/>
                      <a:pt x="126" y="4"/>
                      <a:pt x="126" y="4"/>
                    </a:cubicBezTo>
                    <a:cubicBezTo>
                      <a:pt x="125" y="3"/>
                      <a:pt x="125" y="2"/>
                      <a:pt x="124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82" name="Groupe 481">
            <a:extLst>
              <a:ext uri="{FF2B5EF4-FFF2-40B4-BE49-F238E27FC236}">
                <a16:creationId xmlns:a16="http://schemas.microsoft.com/office/drawing/2014/main" id="{6BAA81BC-CA9E-4F8F-A732-A8755173BE7A}"/>
              </a:ext>
            </a:extLst>
          </p:cNvPr>
          <p:cNvGrpSpPr/>
          <p:nvPr/>
        </p:nvGrpSpPr>
        <p:grpSpPr>
          <a:xfrm>
            <a:off x="6950768" y="4246747"/>
            <a:ext cx="865004" cy="865444"/>
            <a:chOff x="5214865" y="3935887"/>
            <a:chExt cx="648743" cy="649073"/>
          </a:xfrm>
        </p:grpSpPr>
        <p:sp>
          <p:nvSpPr>
            <p:cNvPr id="677" name="Oval 5">
              <a:extLst>
                <a:ext uri="{FF2B5EF4-FFF2-40B4-BE49-F238E27FC236}">
                  <a16:creationId xmlns:a16="http://schemas.microsoft.com/office/drawing/2014/main" id="{9EC55B05-EDFC-4CB7-9623-76E312B07C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4865" y="3935887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678" name="Group 155">
              <a:extLst>
                <a:ext uri="{FF2B5EF4-FFF2-40B4-BE49-F238E27FC236}">
                  <a16:creationId xmlns:a16="http://schemas.microsoft.com/office/drawing/2014/main" id="{2DBE33B4-79EF-4C12-B96D-3B1114E146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343267" y="4082418"/>
              <a:ext cx="391938" cy="356011"/>
              <a:chOff x="3883" y="2244"/>
              <a:chExt cx="360" cy="327"/>
            </a:xfrm>
          </p:grpSpPr>
          <p:sp>
            <p:nvSpPr>
              <p:cNvPr id="679" name="Freeform 156">
                <a:extLst>
                  <a:ext uri="{FF2B5EF4-FFF2-40B4-BE49-F238E27FC236}">
                    <a16:creationId xmlns:a16="http://schemas.microsoft.com/office/drawing/2014/main" id="{6CBB4591-D6B1-404B-B618-E3A95DD747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4" y="2261"/>
                <a:ext cx="341" cy="192"/>
              </a:xfrm>
              <a:custGeom>
                <a:avLst/>
                <a:gdLst>
                  <a:gd name="T0" fmla="*/ 41 w 121"/>
                  <a:gd name="T1" fmla="*/ 68 h 68"/>
                  <a:gd name="T2" fmla="*/ 0 w 121"/>
                  <a:gd name="T3" fmla="*/ 30 h 68"/>
                  <a:gd name="T4" fmla="*/ 45 w 121"/>
                  <a:gd name="T5" fmla="*/ 4 h 68"/>
                  <a:gd name="T6" fmla="*/ 60 w 121"/>
                  <a:gd name="T7" fmla="*/ 0 h 68"/>
                  <a:gd name="T8" fmla="*/ 74 w 121"/>
                  <a:gd name="T9" fmla="*/ 4 h 68"/>
                  <a:gd name="T10" fmla="*/ 121 w 121"/>
                  <a:gd name="T11" fmla="*/ 30 h 68"/>
                  <a:gd name="T12" fmla="*/ 79 w 121"/>
                  <a:gd name="T13" fmla="*/ 68 h 68"/>
                  <a:gd name="T14" fmla="*/ 41 w 121"/>
                  <a:gd name="T15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1" h="68">
                    <a:moveTo>
                      <a:pt x="41" y="68"/>
                    </a:moveTo>
                    <a:cubicBezTo>
                      <a:pt x="0" y="30"/>
                      <a:pt x="0" y="30"/>
                      <a:pt x="0" y="30"/>
                    </a:cubicBezTo>
                    <a:cubicBezTo>
                      <a:pt x="45" y="4"/>
                      <a:pt x="45" y="4"/>
                      <a:pt x="45" y="4"/>
                    </a:cubicBezTo>
                    <a:cubicBezTo>
                      <a:pt x="50" y="2"/>
                      <a:pt x="55" y="0"/>
                      <a:pt x="60" y="0"/>
                    </a:cubicBezTo>
                    <a:cubicBezTo>
                      <a:pt x="65" y="0"/>
                      <a:pt x="70" y="2"/>
                      <a:pt x="74" y="4"/>
                    </a:cubicBezTo>
                    <a:cubicBezTo>
                      <a:pt x="121" y="30"/>
                      <a:pt x="121" y="30"/>
                      <a:pt x="121" y="30"/>
                    </a:cubicBezTo>
                    <a:cubicBezTo>
                      <a:pt x="79" y="68"/>
                      <a:pt x="79" y="68"/>
                      <a:pt x="79" y="68"/>
                    </a:cubicBezTo>
                    <a:lnTo>
                      <a:pt x="41" y="68"/>
                    </a:lnTo>
                    <a:close/>
                  </a:path>
                </a:pathLst>
              </a:custGeom>
              <a:solidFill>
                <a:srgbClr val="C51A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80" name="Freeform 157">
                <a:extLst>
                  <a:ext uri="{FF2B5EF4-FFF2-40B4-BE49-F238E27FC236}">
                    <a16:creationId xmlns:a16="http://schemas.microsoft.com/office/drawing/2014/main" id="{7045B2DC-78B0-4C4C-8509-1A2C826BEB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83" y="2255"/>
                <a:ext cx="360" cy="203"/>
              </a:xfrm>
              <a:custGeom>
                <a:avLst/>
                <a:gdLst>
                  <a:gd name="T0" fmla="*/ 64 w 128"/>
                  <a:gd name="T1" fmla="*/ 4 h 72"/>
                  <a:gd name="T2" fmla="*/ 77 w 128"/>
                  <a:gd name="T3" fmla="*/ 8 h 72"/>
                  <a:gd name="T4" fmla="*/ 121 w 128"/>
                  <a:gd name="T5" fmla="*/ 33 h 72"/>
                  <a:gd name="T6" fmla="*/ 83 w 128"/>
                  <a:gd name="T7" fmla="*/ 68 h 72"/>
                  <a:gd name="T8" fmla="*/ 46 w 128"/>
                  <a:gd name="T9" fmla="*/ 68 h 72"/>
                  <a:gd name="T10" fmla="*/ 7 w 128"/>
                  <a:gd name="T11" fmla="*/ 32 h 72"/>
                  <a:gd name="T12" fmla="*/ 50 w 128"/>
                  <a:gd name="T13" fmla="*/ 8 h 72"/>
                  <a:gd name="T14" fmla="*/ 64 w 128"/>
                  <a:gd name="T15" fmla="*/ 4 h 72"/>
                  <a:gd name="T16" fmla="*/ 64 w 128"/>
                  <a:gd name="T17" fmla="*/ 0 h 72"/>
                  <a:gd name="T18" fmla="*/ 48 w 128"/>
                  <a:gd name="T19" fmla="*/ 4 h 72"/>
                  <a:gd name="T20" fmla="*/ 0 w 128"/>
                  <a:gd name="T21" fmla="*/ 32 h 72"/>
                  <a:gd name="T22" fmla="*/ 44 w 128"/>
                  <a:gd name="T23" fmla="*/ 72 h 72"/>
                  <a:gd name="T24" fmla="*/ 84 w 128"/>
                  <a:gd name="T25" fmla="*/ 72 h 72"/>
                  <a:gd name="T26" fmla="*/ 128 w 128"/>
                  <a:gd name="T27" fmla="*/ 32 h 72"/>
                  <a:gd name="T28" fmla="*/ 79 w 128"/>
                  <a:gd name="T29" fmla="*/ 4 h 72"/>
                  <a:gd name="T30" fmla="*/ 64 w 128"/>
                  <a:gd name="T31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8" h="72">
                    <a:moveTo>
                      <a:pt x="64" y="4"/>
                    </a:moveTo>
                    <a:cubicBezTo>
                      <a:pt x="68" y="4"/>
                      <a:pt x="73" y="5"/>
                      <a:pt x="77" y="8"/>
                    </a:cubicBezTo>
                    <a:cubicBezTo>
                      <a:pt x="121" y="33"/>
                      <a:pt x="121" y="33"/>
                      <a:pt x="121" y="33"/>
                    </a:cubicBezTo>
                    <a:cubicBezTo>
                      <a:pt x="83" y="68"/>
                      <a:pt x="83" y="68"/>
                      <a:pt x="83" y="68"/>
                    </a:cubicBezTo>
                    <a:cubicBezTo>
                      <a:pt x="46" y="68"/>
                      <a:pt x="46" y="68"/>
                      <a:pt x="46" y="68"/>
                    </a:cubicBezTo>
                    <a:cubicBezTo>
                      <a:pt x="7" y="32"/>
                      <a:pt x="7" y="32"/>
                      <a:pt x="7" y="32"/>
                    </a:cubicBezTo>
                    <a:cubicBezTo>
                      <a:pt x="50" y="8"/>
                      <a:pt x="50" y="8"/>
                      <a:pt x="50" y="8"/>
                    </a:cubicBezTo>
                    <a:cubicBezTo>
                      <a:pt x="54" y="5"/>
                      <a:pt x="59" y="4"/>
                      <a:pt x="64" y="4"/>
                    </a:cubicBezTo>
                    <a:moveTo>
                      <a:pt x="64" y="0"/>
                    </a:moveTo>
                    <a:cubicBezTo>
                      <a:pt x="58" y="0"/>
                      <a:pt x="53" y="2"/>
                      <a:pt x="48" y="4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44" y="72"/>
                      <a:pt x="44" y="72"/>
                      <a:pt x="44" y="72"/>
                    </a:cubicBezTo>
                    <a:cubicBezTo>
                      <a:pt x="84" y="72"/>
                      <a:pt x="84" y="72"/>
                      <a:pt x="84" y="72"/>
                    </a:cubicBezTo>
                    <a:cubicBezTo>
                      <a:pt x="128" y="32"/>
                      <a:pt x="128" y="32"/>
                      <a:pt x="128" y="32"/>
                    </a:cubicBezTo>
                    <a:cubicBezTo>
                      <a:pt x="79" y="4"/>
                      <a:pt x="79" y="4"/>
                      <a:pt x="79" y="4"/>
                    </a:cubicBezTo>
                    <a:cubicBezTo>
                      <a:pt x="74" y="2"/>
                      <a:pt x="69" y="0"/>
                      <a:pt x="64" y="0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81" name="Freeform 158">
                <a:extLst>
                  <a:ext uri="{FF2B5EF4-FFF2-40B4-BE49-F238E27FC236}">
                    <a16:creationId xmlns:a16="http://schemas.microsoft.com/office/drawing/2014/main" id="{7FCB78C5-842E-4F3D-93E3-18F9516AF1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6" y="2250"/>
                <a:ext cx="214" cy="208"/>
              </a:xfrm>
              <a:custGeom>
                <a:avLst/>
                <a:gdLst>
                  <a:gd name="T0" fmla="*/ 0 w 214"/>
                  <a:gd name="T1" fmla="*/ 0 h 208"/>
                  <a:gd name="T2" fmla="*/ 0 w 214"/>
                  <a:gd name="T3" fmla="*/ 160 h 208"/>
                  <a:gd name="T4" fmla="*/ 51 w 214"/>
                  <a:gd name="T5" fmla="*/ 208 h 208"/>
                  <a:gd name="T6" fmla="*/ 163 w 214"/>
                  <a:gd name="T7" fmla="*/ 208 h 208"/>
                  <a:gd name="T8" fmla="*/ 214 w 214"/>
                  <a:gd name="T9" fmla="*/ 160 h 208"/>
                  <a:gd name="T10" fmla="*/ 214 w 214"/>
                  <a:gd name="T11" fmla="*/ 0 h 208"/>
                  <a:gd name="T12" fmla="*/ 0 w 214"/>
                  <a:gd name="T13" fmla="*/ 0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4" h="208">
                    <a:moveTo>
                      <a:pt x="0" y="0"/>
                    </a:moveTo>
                    <a:lnTo>
                      <a:pt x="0" y="160"/>
                    </a:lnTo>
                    <a:lnTo>
                      <a:pt x="51" y="208"/>
                    </a:lnTo>
                    <a:lnTo>
                      <a:pt x="163" y="208"/>
                    </a:lnTo>
                    <a:lnTo>
                      <a:pt x="214" y="160"/>
                    </a:lnTo>
                    <a:lnTo>
                      <a:pt x="21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82" name="Freeform 159">
                <a:extLst>
                  <a:ext uri="{FF2B5EF4-FFF2-40B4-BE49-F238E27FC236}">
                    <a16:creationId xmlns:a16="http://schemas.microsoft.com/office/drawing/2014/main" id="{662BE364-7945-46FC-B657-3C1F8C33A3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4" y="2306"/>
                <a:ext cx="78" cy="0"/>
              </a:xfrm>
              <a:custGeom>
                <a:avLst/>
                <a:gdLst>
                  <a:gd name="T0" fmla="*/ 0 w 78"/>
                  <a:gd name="T1" fmla="*/ 78 w 78"/>
                  <a:gd name="T2" fmla="*/ 0 w 7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78">
                    <a:moveTo>
                      <a:pt x="0" y="0"/>
                    </a:moveTo>
                    <a:lnTo>
                      <a:pt x="78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83" name="Line 160">
                <a:extLst>
                  <a:ext uri="{FF2B5EF4-FFF2-40B4-BE49-F238E27FC236}">
                    <a16:creationId xmlns:a16="http://schemas.microsoft.com/office/drawing/2014/main" id="{42100FA6-E3AA-48E0-A323-F48CF11744B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24" y="2306"/>
                <a:ext cx="78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84" name="Freeform 161">
                <a:extLst>
                  <a:ext uri="{FF2B5EF4-FFF2-40B4-BE49-F238E27FC236}">
                    <a16:creationId xmlns:a16="http://schemas.microsoft.com/office/drawing/2014/main" id="{723E2C62-5E08-4998-B6AD-8E87548FA8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4" y="2354"/>
                <a:ext cx="78" cy="0"/>
              </a:xfrm>
              <a:custGeom>
                <a:avLst/>
                <a:gdLst>
                  <a:gd name="T0" fmla="*/ 0 w 78"/>
                  <a:gd name="T1" fmla="*/ 78 w 78"/>
                  <a:gd name="T2" fmla="*/ 0 w 7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78">
                    <a:moveTo>
                      <a:pt x="0" y="0"/>
                    </a:moveTo>
                    <a:lnTo>
                      <a:pt x="78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85" name="Line 162">
                <a:extLst>
                  <a:ext uri="{FF2B5EF4-FFF2-40B4-BE49-F238E27FC236}">
                    <a16:creationId xmlns:a16="http://schemas.microsoft.com/office/drawing/2014/main" id="{EA96A763-B021-406C-80DF-C87549C5B46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24" y="2354"/>
                <a:ext cx="78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86" name="Freeform 163">
                <a:extLst>
                  <a:ext uri="{FF2B5EF4-FFF2-40B4-BE49-F238E27FC236}">
                    <a16:creationId xmlns:a16="http://schemas.microsoft.com/office/drawing/2014/main" id="{C08C0293-0D74-4754-8A07-0704F8C754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4" y="2399"/>
                <a:ext cx="78" cy="0"/>
              </a:xfrm>
              <a:custGeom>
                <a:avLst/>
                <a:gdLst>
                  <a:gd name="T0" fmla="*/ 0 w 78"/>
                  <a:gd name="T1" fmla="*/ 78 w 78"/>
                  <a:gd name="T2" fmla="*/ 0 w 7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78">
                    <a:moveTo>
                      <a:pt x="0" y="0"/>
                    </a:moveTo>
                    <a:lnTo>
                      <a:pt x="78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87" name="Line 164">
                <a:extLst>
                  <a:ext uri="{FF2B5EF4-FFF2-40B4-BE49-F238E27FC236}">
                    <a16:creationId xmlns:a16="http://schemas.microsoft.com/office/drawing/2014/main" id="{41821C94-1A87-42B1-8BF7-8F512692E66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24" y="2399"/>
                <a:ext cx="78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88" name="Freeform 165">
                <a:extLst>
                  <a:ext uri="{FF2B5EF4-FFF2-40B4-BE49-F238E27FC236}">
                    <a16:creationId xmlns:a16="http://schemas.microsoft.com/office/drawing/2014/main" id="{827FA86B-49DB-48C2-B765-49B0DD5681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5" y="2464"/>
                <a:ext cx="316" cy="102"/>
              </a:xfrm>
              <a:custGeom>
                <a:avLst/>
                <a:gdLst>
                  <a:gd name="T0" fmla="*/ 2 w 112"/>
                  <a:gd name="T1" fmla="*/ 36 h 36"/>
                  <a:gd name="T2" fmla="*/ 0 w 112"/>
                  <a:gd name="T3" fmla="*/ 35 h 36"/>
                  <a:gd name="T4" fmla="*/ 40 w 112"/>
                  <a:gd name="T5" fmla="*/ 0 h 36"/>
                  <a:gd name="T6" fmla="*/ 72 w 112"/>
                  <a:gd name="T7" fmla="*/ 0 h 36"/>
                  <a:gd name="T8" fmla="*/ 112 w 112"/>
                  <a:gd name="T9" fmla="*/ 35 h 36"/>
                  <a:gd name="T10" fmla="*/ 110 w 112"/>
                  <a:gd name="T11" fmla="*/ 36 h 36"/>
                  <a:gd name="T12" fmla="*/ 2 w 112"/>
                  <a:gd name="T13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2" h="36">
                    <a:moveTo>
                      <a:pt x="2" y="36"/>
                    </a:moveTo>
                    <a:cubicBezTo>
                      <a:pt x="1" y="36"/>
                      <a:pt x="1" y="35"/>
                      <a:pt x="0" y="35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112" y="35"/>
                      <a:pt x="112" y="35"/>
                      <a:pt x="112" y="35"/>
                    </a:cubicBezTo>
                    <a:cubicBezTo>
                      <a:pt x="111" y="35"/>
                      <a:pt x="111" y="36"/>
                      <a:pt x="110" y="36"/>
                    </a:cubicBezTo>
                    <a:lnTo>
                      <a:pt x="2" y="36"/>
                    </a:lnTo>
                    <a:close/>
                  </a:path>
                </a:pathLst>
              </a:custGeom>
              <a:solidFill>
                <a:srgbClr val="C51A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89" name="Freeform 166">
                <a:extLst>
                  <a:ext uri="{FF2B5EF4-FFF2-40B4-BE49-F238E27FC236}">
                    <a16:creationId xmlns:a16="http://schemas.microsoft.com/office/drawing/2014/main" id="{94B583EA-0887-4E4E-8459-9C502F4D4D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97" y="2458"/>
                <a:ext cx="332" cy="113"/>
              </a:xfrm>
              <a:custGeom>
                <a:avLst/>
                <a:gdLst>
                  <a:gd name="T0" fmla="*/ 75 w 118"/>
                  <a:gd name="T1" fmla="*/ 4 h 40"/>
                  <a:gd name="T2" fmla="*/ 110 w 118"/>
                  <a:gd name="T3" fmla="*/ 36 h 40"/>
                  <a:gd name="T4" fmla="*/ 8 w 118"/>
                  <a:gd name="T5" fmla="*/ 36 h 40"/>
                  <a:gd name="T6" fmla="*/ 43 w 118"/>
                  <a:gd name="T7" fmla="*/ 4 h 40"/>
                  <a:gd name="T8" fmla="*/ 75 w 118"/>
                  <a:gd name="T9" fmla="*/ 4 h 40"/>
                  <a:gd name="T10" fmla="*/ 76 w 118"/>
                  <a:gd name="T11" fmla="*/ 0 h 40"/>
                  <a:gd name="T12" fmla="*/ 42 w 118"/>
                  <a:gd name="T13" fmla="*/ 0 h 40"/>
                  <a:gd name="T14" fmla="*/ 0 w 118"/>
                  <a:gd name="T15" fmla="*/ 38 h 40"/>
                  <a:gd name="T16" fmla="*/ 5 w 118"/>
                  <a:gd name="T17" fmla="*/ 40 h 40"/>
                  <a:gd name="T18" fmla="*/ 113 w 118"/>
                  <a:gd name="T19" fmla="*/ 40 h 40"/>
                  <a:gd name="T20" fmla="*/ 118 w 118"/>
                  <a:gd name="T21" fmla="*/ 38 h 40"/>
                  <a:gd name="T22" fmla="*/ 76 w 118"/>
                  <a:gd name="T2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8" h="40">
                    <a:moveTo>
                      <a:pt x="75" y="4"/>
                    </a:moveTo>
                    <a:cubicBezTo>
                      <a:pt x="110" y="36"/>
                      <a:pt x="110" y="36"/>
                      <a:pt x="110" y="36"/>
                    </a:cubicBezTo>
                    <a:cubicBezTo>
                      <a:pt x="8" y="36"/>
                      <a:pt x="8" y="36"/>
                      <a:pt x="8" y="36"/>
                    </a:cubicBezTo>
                    <a:cubicBezTo>
                      <a:pt x="43" y="4"/>
                      <a:pt x="43" y="4"/>
                      <a:pt x="43" y="4"/>
                    </a:cubicBezTo>
                    <a:cubicBezTo>
                      <a:pt x="75" y="4"/>
                      <a:pt x="75" y="4"/>
                      <a:pt x="75" y="4"/>
                    </a:cubicBezTo>
                    <a:moveTo>
                      <a:pt x="76" y="0"/>
                    </a:moveTo>
                    <a:cubicBezTo>
                      <a:pt x="42" y="0"/>
                      <a:pt x="42" y="0"/>
                      <a:pt x="42" y="0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1" y="39"/>
                      <a:pt x="3" y="40"/>
                      <a:pt x="5" y="40"/>
                    </a:cubicBezTo>
                    <a:cubicBezTo>
                      <a:pt x="113" y="40"/>
                      <a:pt x="113" y="40"/>
                      <a:pt x="113" y="40"/>
                    </a:cubicBezTo>
                    <a:cubicBezTo>
                      <a:pt x="115" y="40"/>
                      <a:pt x="117" y="39"/>
                      <a:pt x="118" y="38"/>
                    </a:cubicBezTo>
                    <a:cubicBezTo>
                      <a:pt x="76" y="0"/>
                      <a:pt x="76" y="0"/>
                      <a:pt x="76" y="0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90" name="Rectangle 167">
                <a:extLst>
                  <a:ext uri="{FF2B5EF4-FFF2-40B4-BE49-F238E27FC236}">
                    <a16:creationId xmlns:a16="http://schemas.microsoft.com/office/drawing/2014/main" id="{ED8BB827-BC18-4AF4-BF24-541A9E0944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5" y="2458"/>
                <a:ext cx="96" cy="1"/>
              </a:xfrm>
              <a:prstGeom prst="rect">
                <a:avLst/>
              </a:prstGeom>
              <a:solidFill>
                <a:srgbClr val="E523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91" name="Freeform 168">
                <a:extLst>
                  <a:ext uri="{FF2B5EF4-FFF2-40B4-BE49-F238E27FC236}">
                    <a16:creationId xmlns:a16="http://schemas.microsoft.com/office/drawing/2014/main" id="{D51E0485-3C2F-4963-BF7A-C82D949DA2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3" y="2244"/>
                <a:ext cx="360" cy="316"/>
              </a:xfrm>
              <a:custGeom>
                <a:avLst/>
                <a:gdLst>
                  <a:gd name="T0" fmla="*/ 128 w 128"/>
                  <a:gd name="T1" fmla="*/ 36 h 112"/>
                  <a:gd name="T2" fmla="*/ 104 w 128"/>
                  <a:gd name="T3" fmla="*/ 58 h 112"/>
                  <a:gd name="T4" fmla="*/ 104 w 128"/>
                  <a:gd name="T5" fmla="*/ 0 h 112"/>
                  <a:gd name="T6" fmla="*/ 24 w 128"/>
                  <a:gd name="T7" fmla="*/ 0 h 112"/>
                  <a:gd name="T8" fmla="*/ 24 w 128"/>
                  <a:gd name="T9" fmla="*/ 58 h 112"/>
                  <a:gd name="T10" fmla="*/ 0 w 128"/>
                  <a:gd name="T11" fmla="*/ 36 h 112"/>
                  <a:gd name="T12" fmla="*/ 0 w 128"/>
                  <a:gd name="T13" fmla="*/ 106 h 112"/>
                  <a:gd name="T14" fmla="*/ 2 w 128"/>
                  <a:gd name="T15" fmla="*/ 112 h 112"/>
                  <a:gd name="T16" fmla="*/ 43 w 128"/>
                  <a:gd name="T17" fmla="*/ 74 h 112"/>
                  <a:gd name="T18" fmla="*/ 28 w 128"/>
                  <a:gd name="T19" fmla="*/ 61 h 112"/>
                  <a:gd name="T20" fmla="*/ 28 w 128"/>
                  <a:gd name="T21" fmla="*/ 4 h 112"/>
                  <a:gd name="T22" fmla="*/ 100 w 128"/>
                  <a:gd name="T23" fmla="*/ 4 h 112"/>
                  <a:gd name="T24" fmla="*/ 100 w 128"/>
                  <a:gd name="T25" fmla="*/ 61 h 112"/>
                  <a:gd name="T26" fmla="*/ 85 w 128"/>
                  <a:gd name="T27" fmla="*/ 75 h 112"/>
                  <a:gd name="T28" fmla="*/ 126 w 128"/>
                  <a:gd name="T29" fmla="*/ 112 h 112"/>
                  <a:gd name="T30" fmla="*/ 128 w 128"/>
                  <a:gd name="T31" fmla="*/ 106 h 112"/>
                  <a:gd name="T32" fmla="*/ 128 w 128"/>
                  <a:gd name="T33" fmla="*/ 3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8" h="112">
                    <a:moveTo>
                      <a:pt x="128" y="36"/>
                    </a:moveTo>
                    <a:cubicBezTo>
                      <a:pt x="104" y="58"/>
                      <a:pt x="104" y="58"/>
                      <a:pt x="104" y="58"/>
                    </a:cubicBezTo>
                    <a:cubicBezTo>
                      <a:pt x="104" y="0"/>
                      <a:pt x="104" y="0"/>
                      <a:pt x="104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4" y="58"/>
                      <a:pt x="24" y="58"/>
                      <a:pt x="24" y="58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106"/>
                      <a:pt x="0" y="106"/>
                      <a:pt x="0" y="106"/>
                    </a:cubicBezTo>
                    <a:cubicBezTo>
                      <a:pt x="0" y="108"/>
                      <a:pt x="1" y="110"/>
                      <a:pt x="2" y="112"/>
                    </a:cubicBezTo>
                    <a:cubicBezTo>
                      <a:pt x="43" y="74"/>
                      <a:pt x="43" y="74"/>
                      <a:pt x="43" y="74"/>
                    </a:cubicBezTo>
                    <a:cubicBezTo>
                      <a:pt x="28" y="61"/>
                      <a:pt x="28" y="61"/>
                      <a:pt x="28" y="61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100" y="4"/>
                      <a:pt x="100" y="4"/>
                      <a:pt x="100" y="4"/>
                    </a:cubicBezTo>
                    <a:cubicBezTo>
                      <a:pt x="100" y="61"/>
                      <a:pt x="100" y="61"/>
                      <a:pt x="100" y="61"/>
                    </a:cubicBezTo>
                    <a:cubicBezTo>
                      <a:pt x="85" y="75"/>
                      <a:pt x="85" y="75"/>
                      <a:pt x="85" y="75"/>
                    </a:cubicBezTo>
                    <a:cubicBezTo>
                      <a:pt x="126" y="112"/>
                      <a:pt x="126" y="112"/>
                      <a:pt x="126" y="112"/>
                    </a:cubicBezTo>
                    <a:cubicBezTo>
                      <a:pt x="127" y="110"/>
                      <a:pt x="128" y="108"/>
                      <a:pt x="128" y="106"/>
                    </a:cubicBezTo>
                    <a:lnTo>
                      <a:pt x="128" y="36"/>
                    </a:ln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92" name="Freeform 169">
                <a:extLst>
                  <a:ext uri="{FF2B5EF4-FFF2-40B4-BE49-F238E27FC236}">
                    <a16:creationId xmlns:a16="http://schemas.microsoft.com/office/drawing/2014/main" id="{4909423B-AD14-4543-A475-4B6E292996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9" y="2453"/>
                <a:ext cx="126" cy="113"/>
              </a:xfrm>
              <a:custGeom>
                <a:avLst/>
                <a:gdLst>
                  <a:gd name="T0" fmla="*/ 42 w 45"/>
                  <a:gd name="T1" fmla="*/ 2 h 40"/>
                  <a:gd name="T2" fmla="*/ 41 w 45"/>
                  <a:gd name="T3" fmla="*/ 0 h 40"/>
                  <a:gd name="T4" fmla="*/ 0 w 45"/>
                  <a:gd name="T5" fmla="*/ 38 h 40"/>
                  <a:gd name="T6" fmla="*/ 1 w 45"/>
                  <a:gd name="T7" fmla="*/ 39 h 40"/>
                  <a:gd name="T8" fmla="*/ 3 w 45"/>
                  <a:gd name="T9" fmla="*/ 40 h 40"/>
                  <a:gd name="T10" fmla="*/ 45 w 45"/>
                  <a:gd name="T11" fmla="*/ 2 h 40"/>
                  <a:gd name="T12" fmla="*/ 45 w 45"/>
                  <a:gd name="T13" fmla="*/ 2 h 40"/>
                  <a:gd name="T14" fmla="*/ 42 w 45"/>
                  <a:gd name="T15" fmla="*/ 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40">
                    <a:moveTo>
                      <a:pt x="42" y="2"/>
                    </a:moveTo>
                    <a:cubicBezTo>
                      <a:pt x="41" y="0"/>
                      <a:pt x="41" y="0"/>
                      <a:pt x="41" y="0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0" y="38"/>
                      <a:pt x="1" y="38"/>
                      <a:pt x="1" y="39"/>
                    </a:cubicBezTo>
                    <a:cubicBezTo>
                      <a:pt x="2" y="39"/>
                      <a:pt x="2" y="40"/>
                      <a:pt x="3" y="40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5" y="2"/>
                      <a:pt x="45" y="2"/>
                      <a:pt x="45" y="2"/>
                    </a:cubicBezTo>
                    <a:lnTo>
                      <a:pt x="42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93" name="Freeform 170">
                <a:extLst>
                  <a:ext uri="{FF2B5EF4-FFF2-40B4-BE49-F238E27FC236}">
                    <a16:creationId xmlns:a16="http://schemas.microsoft.com/office/drawing/2014/main" id="{78FDD695-E043-448A-B657-AA1E284734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1" y="2456"/>
                <a:ext cx="126" cy="110"/>
              </a:xfrm>
              <a:custGeom>
                <a:avLst/>
                <a:gdLst>
                  <a:gd name="T0" fmla="*/ 4 w 45"/>
                  <a:gd name="T1" fmla="*/ 0 h 39"/>
                  <a:gd name="T2" fmla="*/ 3 w 45"/>
                  <a:gd name="T3" fmla="*/ 1 h 39"/>
                  <a:gd name="T4" fmla="*/ 0 w 45"/>
                  <a:gd name="T5" fmla="*/ 1 h 39"/>
                  <a:gd name="T6" fmla="*/ 0 w 45"/>
                  <a:gd name="T7" fmla="*/ 1 h 39"/>
                  <a:gd name="T8" fmla="*/ 42 w 45"/>
                  <a:gd name="T9" fmla="*/ 39 h 39"/>
                  <a:gd name="T10" fmla="*/ 44 w 45"/>
                  <a:gd name="T11" fmla="*/ 38 h 39"/>
                  <a:gd name="T12" fmla="*/ 45 w 45"/>
                  <a:gd name="T13" fmla="*/ 37 h 39"/>
                  <a:gd name="T14" fmla="*/ 4 w 45"/>
                  <a:gd name="T15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39">
                    <a:moveTo>
                      <a:pt x="4" y="0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42" y="39"/>
                      <a:pt x="42" y="39"/>
                      <a:pt x="42" y="39"/>
                    </a:cubicBezTo>
                    <a:cubicBezTo>
                      <a:pt x="43" y="39"/>
                      <a:pt x="43" y="38"/>
                      <a:pt x="44" y="38"/>
                    </a:cubicBezTo>
                    <a:cubicBezTo>
                      <a:pt x="44" y="37"/>
                      <a:pt x="44" y="37"/>
                      <a:pt x="45" y="37"/>
                    </a:cubicBez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94" name="Freeform 171">
                <a:extLst>
                  <a:ext uri="{FF2B5EF4-FFF2-40B4-BE49-F238E27FC236}">
                    <a16:creationId xmlns:a16="http://schemas.microsoft.com/office/drawing/2014/main" id="{4AC24853-D900-405A-8ACA-1884EFA066C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98" y="2283"/>
                <a:ext cx="130" cy="130"/>
              </a:xfrm>
              <a:custGeom>
                <a:avLst/>
                <a:gdLst>
                  <a:gd name="T0" fmla="*/ 29 w 46"/>
                  <a:gd name="T1" fmla="*/ 46 h 46"/>
                  <a:gd name="T2" fmla="*/ 34 w 46"/>
                  <a:gd name="T3" fmla="*/ 44 h 46"/>
                  <a:gd name="T4" fmla="*/ 33 w 46"/>
                  <a:gd name="T5" fmla="*/ 41 h 46"/>
                  <a:gd name="T6" fmla="*/ 28 w 46"/>
                  <a:gd name="T7" fmla="*/ 42 h 46"/>
                  <a:gd name="T8" fmla="*/ 23 w 46"/>
                  <a:gd name="T9" fmla="*/ 42 h 46"/>
                  <a:gd name="T10" fmla="*/ 9 w 46"/>
                  <a:gd name="T11" fmla="*/ 37 h 46"/>
                  <a:gd name="T12" fmla="*/ 5 w 46"/>
                  <a:gd name="T13" fmla="*/ 23 h 46"/>
                  <a:gd name="T14" fmla="*/ 9 w 46"/>
                  <a:gd name="T15" fmla="*/ 9 h 46"/>
                  <a:gd name="T16" fmla="*/ 23 w 46"/>
                  <a:gd name="T17" fmla="*/ 4 h 46"/>
                  <a:gd name="T18" fmla="*/ 37 w 46"/>
                  <a:gd name="T19" fmla="*/ 9 h 46"/>
                  <a:gd name="T20" fmla="*/ 42 w 46"/>
                  <a:gd name="T21" fmla="*/ 22 h 46"/>
                  <a:gd name="T22" fmla="*/ 40 w 46"/>
                  <a:gd name="T23" fmla="*/ 29 h 46"/>
                  <a:gd name="T24" fmla="*/ 37 w 46"/>
                  <a:gd name="T25" fmla="*/ 31 h 46"/>
                  <a:gd name="T26" fmla="*/ 34 w 46"/>
                  <a:gd name="T27" fmla="*/ 30 h 46"/>
                  <a:gd name="T28" fmla="*/ 33 w 46"/>
                  <a:gd name="T29" fmla="*/ 28 h 46"/>
                  <a:gd name="T30" fmla="*/ 33 w 46"/>
                  <a:gd name="T31" fmla="*/ 12 h 46"/>
                  <a:gd name="T32" fmla="*/ 28 w 46"/>
                  <a:gd name="T33" fmla="*/ 12 h 46"/>
                  <a:gd name="T34" fmla="*/ 28 w 46"/>
                  <a:gd name="T35" fmla="*/ 15 h 46"/>
                  <a:gd name="T36" fmla="*/ 25 w 46"/>
                  <a:gd name="T37" fmla="*/ 13 h 46"/>
                  <a:gd name="T38" fmla="*/ 21 w 46"/>
                  <a:gd name="T39" fmla="*/ 12 h 46"/>
                  <a:gd name="T40" fmla="*/ 14 w 46"/>
                  <a:gd name="T41" fmla="*/ 15 h 46"/>
                  <a:gd name="T42" fmla="*/ 12 w 46"/>
                  <a:gd name="T43" fmla="*/ 24 h 46"/>
                  <a:gd name="T44" fmla="*/ 14 w 46"/>
                  <a:gd name="T45" fmla="*/ 32 h 46"/>
                  <a:gd name="T46" fmla="*/ 21 w 46"/>
                  <a:gd name="T47" fmla="*/ 36 h 46"/>
                  <a:gd name="T48" fmla="*/ 25 w 46"/>
                  <a:gd name="T49" fmla="*/ 35 h 46"/>
                  <a:gd name="T50" fmla="*/ 29 w 46"/>
                  <a:gd name="T51" fmla="*/ 32 h 46"/>
                  <a:gd name="T52" fmla="*/ 31 w 46"/>
                  <a:gd name="T53" fmla="*/ 35 h 46"/>
                  <a:gd name="T54" fmla="*/ 36 w 46"/>
                  <a:gd name="T55" fmla="*/ 36 h 46"/>
                  <a:gd name="T56" fmla="*/ 43 w 46"/>
                  <a:gd name="T57" fmla="*/ 32 h 46"/>
                  <a:gd name="T58" fmla="*/ 46 w 46"/>
                  <a:gd name="T59" fmla="*/ 22 h 46"/>
                  <a:gd name="T60" fmla="*/ 40 w 46"/>
                  <a:gd name="T61" fmla="*/ 6 h 46"/>
                  <a:gd name="T62" fmla="*/ 23 w 46"/>
                  <a:gd name="T63" fmla="*/ 0 h 46"/>
                  <a:gd name="T64" fmla="*/ 6 w 46"/>
                  <a:gd name="T65" fmla="*/ 6 h 46"/>
                  <a:gd name="T66" fmla="*/ 0 w 46"/>
                  <a:gd name="T67" fmla="*/ 23 h 46"/>
                  <a:gd name="T68" fmla="*/ 6 w 46"/>
                  <a:gd name="T69" fmla="*/ 40 h 46"/>
                  <a:gd name="T70" fmla="*/ 23 w 46"/>
                  <a:gd name="T71" fmla="*/ 46 h 46"/>
                  <a:gd name="T72" fmla="*/ 29 w 46"/>
                  <a:gd name="T73" fmla="*/ 46 h 46"/>
                  <a:gd name="T74" fmla="*/ 28 w 46"/>
                  <a:gd name="T75" fmla="*/ 28 h 46"/>
                  <a:gd name="T76" fmla="*/ 25 w 46"/>
                  <a:gd name="T77" fmla="*/ 30 h 46"/>
                  <a:gd name="T78" fmla="*/ 22 w 46"/>
                  <a:gd name="T79" fmla="*/ 30 h 46"/>
                  <a:gd name="T80" fmla="*/ 18 w 46"/>
                  <a:gd name="T81" fmla="*/ 29 h 46"/>
                  <a:gd name="T82" fmla="*/ 17 w 46"/>
                  <a:gd name="T83" fmla="*/ 24 h 46"/>
                  <a:gd name="T84" fmla="*/ 18 w 46"/>
                  <a:gd name="T85" fmla="*/ 19 h 46"/>
                  <a:gd name="T86" fmla="*/ 22 w 46"/>
                  <a:gd name="T87" fmla="*/ 17 h 46"/>
                  <a:gd name="T88" fmla="*/ 25 w 46"/>
                  <a:gd name="T89" fmla="*/ 18 h 46"/>
                  <a:gd name="T90" fmla="*/ 28 w 46"/>
                  <a:gd name="T91" fmla="*/ 19 h 46"/>
                  <a:gd name="T92" fmla="*/ 28 w 46"/>
                  <a:gd name="T93" fmla="*/ 28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6" h="46">
                    <a:moveTo>
                      <a:pt x="29" y="46"/>
                    </a:moveTo>
                    <a:cubicBezTo>
                      <a:pt x="31" y="45"/>
                      <a:pt x="32" y="45"/>
                      <a:pt x="34" y="44"/>
                    </a:cubicBezTo>
                    <a:cubicBezTo>
                      <a:pt x="33" y="41"/>
                      <a:pt x="33" y="41"/>
                      <a:pt x="33" y="41"/>
                    </a:cubicBezTo>
                    <a:cubicBezTo>
                      <a:pt x="31" y="41"/>
                      <a:pt x="30" y="42"/>
                      <a:pt x="28" y="42"/>
                    </a:cubicBezTo>
                    <a:cubicBezTo>
                      <a:pt x="26" y="42"/>
                      <a:pt x="25" y="42"/>
                      <a:pt x="23" y="42"/>
                    </a:cubicBezTo>
                    <a:cubicBezTo>
                      <a:pt x="17" y="42"/>
                      <a:pt x="13" y="41"/>
                      <a:pt x="9" y="37"/>
                    </a:cubicBezTo>
                    <a:cubicBezTo>
                      <a:pt x="6" y="34"/>
                      <a:pt x="5" y="29"/>
                      <a:pt x="5" y="23"/>
                    </a:cubicBezTo>
                    <a:cubicBezTo>
                      <a:pt x="5" y="17"/>
                      <a:pt x="6" y="13"/>
                      <a:pt x="9" y="9"/>
                    </a:cubicBezTo>
                    <a:cubicBezTo>
                      <a:pt x="13" y="6"/>
                      <a:pt x="17" y="4"/>
                      <a:pt x="23" y="4"/>
                    </a:cubicBezTo>
                    <a:cubicBezTo>
                      <a:pt x="29" y="4"/>
                      <a:pt x="33" y="6"/>
                      <a:pt x="37" y="9"/>
                    </a:cubicBezTo>
                    <a:cubicBezTo>
                      <a:pt x="40" y="12"/>
                      <a:pt x="42" y="17"/>
                      <a:pt x="42" y="22"/>
                    </a:cubicBezTo>
                    <a:cubicBezTo>
                      <a:pt x="42" y="25"/>
                      <a:pt x="41" y="27"/>
                      <a:pt x="40" y="29"/>
                    </a:cubicBezTo>
                    <a:cubicBezTo>
                      <a:pt x="39" y="30"/>
                      <a:pt x="38" y="31"/>
                      <a:pt x="37" y="31"/>
                    </a:cubicBezTo>
                    <a:cubicBezTo>
                      <a:pt x="35" y="31"/>
                      <a:pt x="35" y="31"/>
                      <a:pt x="34" y="30"/>
                    </a:cubicBezTo>
                    <a:cubicBezTo>
                      <a:pt x="34" y="30"/>
                      <a:pt x="33" y="29"/>
                      <a:pt x="33" y="28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28" y="15"/>
                      <a:pt x="28" y="15"/>
                      <a:pt x="28" y="15"/>
                    </a:cubicBezTo>
                    <a:cubicBezTo>
                      <a:pt x="27" y="14"/>
                      <a:pt x="26" y="13"/>
                      <a:pt x="25" y="13"/>
                    </a:cubicBezTo>
                    <a:cubicBezTo>
                      <a:pt x="24" y="12"/>
                      <a:pt x="22" y="12"/>
                      <a:pt x="21" y="12"/>
                    </a:cubicBezTo>
                    <a:cubicBezTo>
                      <a:pt x="18" y="12"/>
                      <a:pt x="16" y="13"/>
                      <a:pt x="14" y="15"/>
                    </a:cubicBezTo>
                    <a:cubicBezTo>
                      <a:pt x="12" y="17"/>
                      <a:pt x="12" y="20"/>
                      <a:pt x="12" y="24"/>
                    </a:cubicBezTo>
                    <a:cubicBezTo>
                      <a:pt x="12" y="27"/>
                      <a:pt x="12" y="30"/>
                      <a:pt x="14" y="32"/>
                    </a:cubicBezTo>
                    <a:cubicBezTo>
                      <a:pt x="16" y="34"/>
                      <a:pt x="18" y="36"/>
                      <a:pt x="21" y="36"/>
                    </a:cubicBezTo>
                    <a:cubicBezTo>
                      <a:pt x="22" y="36"/>
                      <a:pt x="24" y="35"/>
                      <a:pt x="25" y="35"/>
                    </a:cubicBezTo>
                    <a:cubicBezTo>
                      <a:pt x="26" y="34"/>
                      <a:pt x="28" y="33"/>
                      <a:pt x="29" y="32"/>
                    </a:cubicBezTo>
                    <a:cubicBezTo>
                      <a:pt x="29" y="33"/>
                      <a:pt x="30" y="34"/>
                      <a:pt x="31" y="35"/>
                    </a:cubicBezTo>
                    <a:cubicBezTo>
                      <a:pt x="33" y="35"/>
                      <a:pt x="34" y="36"/>
                      <a:pt x="36" y="36"/>
                    </a:cubicBezTo>
                    <a:cubicBezTo>
                      <a:pt x="39" y="36"/>
                      <a:pt x="41" y="34"/>
                      <a:pt x="43" y="32"/>
                    </a:cubicBezTo>
                    <a:cubicBezTo>
                      <a:pt x="45" y="30"/>
                      <a:pt x="46" y="27"/>
                      <a:pt x="46" y="22"/>
                    </a:cubicBezTo>
                    <a:cubicBezTo>
                      <a:pt x="46" y="15"/>
                      <a:pt x="44" y="10"/>
                      <a:pt x="40" y="6"/>
                    </a:cubicBezTo>
                    <a:cubicBezTo>
                      <a:pt x="36" y="2"/>
                      <a:pt x="30" y="0"/>
                      <a:pt x="23" y="0"/>
                    </a:cubicBezTo>
                    <a:cubicBezTo>
                      <a:pt x="16" y="0"/>
                      <a:pt x="10" y="2"/>
                      <a:pt x="6" y="6"/>
                    </a:cubicBezTo>
                    <a:cubicBezTo>
                      <a:pt x="2" y="10"/>
                      <a:pt x="0" y="16"/>
                      <a:pt x="0" y="23"/>
                    </a:cubicBezTo>
                    <a:cubicBezTo>
                      <a:pt x="0" y="30"/>
                      <a:pt x="2" y="36"/>
                      <a:pt x="6" y="40"/>
                    </a:cubicBezTo>
                    <a:cubicBezTo>
                      <a:pt x="10" y="44"/>
                      <a:pt x="16" y="46"/>
                      <a:pt x="23" y="46"/>
                    </a:cubicBezTo>
                    <a:cubicBezTo>
                      <a:pt x="25" y="46"/>
                      <a:pt x="27" y="46"/>
                      <a:pt x="29" y="46"/>
                    </a:cubicBezTo>
                    <a:close/>
                    <a:moveTo>
                      <a:pt x="28" y="28"/>
                    </a:moveTo>
                    <a:cubicBezTo>
                      <a:pt x="27" y="29"/>
                      <a:pt x="26" y="30"/>
                      <a:pt x="25" y="30"/>
                    </a:cubicBezTo>
                    <a:cubicBezTo>
                      <a:pt x="24" y="30"/>
                      <a:pt x="23" y="30"/>
                      <a:pt x="22" y="30"/>
                    </a:cubicBezTo>
                    <a:cubicBezTo>
                      <a:pt x="21" y="30"/>
                      <a:pt x="19" y="30"/>
                      <a:pt x="18" y="29"/>
                    </a:cubicBezTo>
                    <a:cubicBezTo>
                      <a:pt x="18" y="28"/>
                      <a:pt x="17" y="26"/>
                      <a:pt x="17" y="24"/>
                    </a:cubicBezTo>
                    <a:cubicBezTo>
                      <a:pt x="17" y="22"/>
                      <a:pt x="18" y="20"/>
                      <a:pt x="18" y="19"/>
                    </a:cubicBezTo>
                    <a:cubicBezTo>
                      <a:pt x="19" y="18"/>
                      <a:pt x="21" y="17"/>
                      <a:pt x="22" y="17"/>
                    </a:cubicBezTo>
                    <a:cubicBezTo>
                      <a:pt x="23" y="17"/>
                      <a:pt x="24" y="17"/>
                      <a:pt x="25" y="18"/>
                    </a:cubicBezTo>
                    <a:cubicBezTo>
                      <a:pt x="26" y="18"/>
                      <a:pt x="27" y="19"/>
                      <a:pt x="28" y="19"/>
                    </a:cubicBezTo>
                    <a:lnTo>
                      <a:pt x="28" y="28"/>
                    </a:ln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83" name="Groupe 482">
            <a:extLst>
              <a:ext uri="{FF2B5EF4-FFF2-40B4-BE49-F238E27FC236}">
                <a16:creationId xmlns:a16="http://schemas.microsoft.com/office/drawing/2014/main" id="{18CF54C6-9873-4BA3-9D5F-869B31EF78CE}"/>
              </a:ext>
            </a:extLst>
          </p:cNvPr>
          <p:cNvGrpSpPr/>
          <p:nvPr/>
        </p:nvGrpSpPr>
        <p:grpSpPr>
          <a:xfrm>
            <a:off x="1492410" y="4246747"/>
            <a:ext cx="865004" cy="865444"/>
            <a:chOff x="1121159" y="3935887"/>
            <a:chExt cx="648743" cy="649073"/>
          </a:xfrm>
        </p:grpSpPr>
        <p:sp>
          <p:nvSpPr>
            <p:cNvPr id="667" name="Oval 5">
              <a:extLst>
                <a:ext uri="{FF2B5EF4-FFF2-40B4-BE49-F238E27FC236}">
                  <a16:creationId xmlns:a16="http://schemas.microsoft.com/office/drawing/2014/main" id="{2FC06DE8-F7FC-445C-B6F2-C9BA90F43E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21159" y="3935887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668" name="Group 174">
              <a:extLst>
                <a:ext uri="{FF2B5EF4-FFF2-40B4-BE49-F238E27FC236}">
                  <a16:creationId xmlns:a16="http://schemas.microsoft.com/office/drawing/2014/main" id="{64AD24C5-40CB-4C10-B07F-270BB6A6DFD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254062" y="4112419"/>
              <a:ext cx="382936" cy="312730"/>
              <a:chOff x="716" y="2542"/>
              <a:chExt cx="360" cy="294"/>
            </a:xfrm>
          </p:grpSpPr>
          <p:sp>
            <p:nvSpPr>
              <p:cNvPr id="669" name="Freeform 175">
                <a:extLst>
                  <a:ext uri="{FF2B5EF4-FFF2-40B4-BE49-F238E27FC236}">
                    <a16:creationId xmlns:a16="http://schemas.microsoft.com/office/drawing/2014/main" id="{17FDC446-BB11-4895-AF02-74B7733809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29" y="2542"/>
                <a:ext cx="135" cy="74"/>
              </a:xfrm>
              <a:custGeom>
                <a:avLst/>
                <a:gdLst>
                  <a:gd name="T0" fmla="*/ 39 w 48"/>
                  <a:gd name="T1" fmla="*/ 6 h 26"/>
                  <a:gd name="T2" fmla="*/ 42 w 48"/>
                  <a:gd name="T3" fmla="*/ 9 h 26"/>
                  <a:gd name="T4" fmla="*/ 42 w 48"/>
                  <a:gd name="T5" fmla="*/ 24 h 26"/>
                  <a:gd name="T6" fmla="*/ 6 w 48"/>
                  <a:gd name="T7" fmla="*/ 24 h 26"/>
                  <a:gd name="T8" fmla="*/ 6 w 48"/>
                  <a:gd name="T9" fmla="*/ 9 h 26"/>
                  <a:gd name="T10" fmla="*/ 9 w 48"/>
                  <a:gd name="T11" fmla="*/ 6 h 26"/>
                  <a:gd name="T12" fmla="*/ 39 w 48"/>
                  <a:gd name="T13" fmla="*/ 6 h 26"/>
                  <a:gd name="T14" fmla="*/ 39 w 48"/>
                  <a:gd name="T15" fmla="*/ 0 h 26"/>
                  <a:gd name="T16" fmla="*/ 9 w 48"/>
                  <a:gd name="T17" fmla="*/ 0 h 26"/>
                  <a:gd name="T18" fmla="*/ 0 w 48"/>
                  <a:gd name="T19" fmla="*/ 9 h 26"/>
                  <a:gd name="T20" fmla="*/ 0 w 48"/>
                  <a:gd name="T21" fmla="*/ 26 h 26"/>
                  <a:gd name="T22" fmla="*/ 48 w 48"/>
                  <a:gd name="T23" fmla="*/ 26 h 26"/>
                  <a:gd name="T24" fmla="*/ 48 w 48"/>
                  <a:gd name="T25" fmla="*/ 9 h 26"/>
                  <a:gd name="T26" fmla="*/ 39 w 48"/>
                  <a:gd name="T27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8" h="26">
                    <a:moveTo>
                      <a:pt x="39" y="6"/>
                    </a:moveTo>
                    <a:cubicBezTo>
                      <a:pt x="41" y="6"/>
                      <a:pt x="42" y="7"/>
                      <a:pt x="42" y="9"/>
                    </a:cubicBezTo>
                    <a:cubicBezTo>
                      <a:pt x="42" y="24"/>
                      <a:pt x="42" y="24"/>
                      <a:pt x="42" y="24"/>
                    </a:cubicBezTo>
                    <a:cubicBezTo>
                      <a:pt x="6" y="24"/>
                      <a:pt x="6" y="24"/>
                      <a:pt x="6" y="24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6" y="7"/>
                      <a:pt x="7" y="6"/>
                      <a:pt x="9" y="6"/>
                    </a:cubicBezTo>
                    <a:cubicBezTo>
                      <a:pt x="39" y="6"/>
                      <a:pt x="39" y="6"/>
                      <a:pt x="39" y="6"/>
                    </a:cubicBezTo>
                    <a:moveTo>
                      <a:pt x="39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48" y="26"/>
                      <a:pt x="48" y="26"/>
                      <a:pt x="48" y="26"/>
                    </a:cubicBezTo>
                    <a:cubicBezTo>
                      <a:pt x="48" y="9"/>
                      <a:pt x="48" y="9"/>
                      <a:pt x="48" y="9"/>
                    </a:cubicBezTo>
                    <a:cubicBezTo>
                      <a:pt x="48" y="4"/>
                      <a:pt x="44" y="0"/>
                      <a:pt x="39" y="0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70" name="Freeform 176">
                <a:extLst>
                  <a:ext uri="{FF2B5EF4-FFF2-40B4-BE49-F238E27FC236}">
                    <a16:creationId xmlns:a16="http://schemas.microsoft.com/office/drawing/2014/main" id="{364342B0-B9ED-420B-85E1-10C3BAEE4E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6" y="2599"/>
                <a:ext cx="360" cy="127"/>
              </a:xfrm>
              <a:custGeom>
                <a:avLst/>
                <a:gdLst>
                  <a:gd name="T0" fmla="*/ 99 w 128"/>
                  <a:gd name="T1" fmla="*/ 45 h 45"/>
                  <a:gd name="T2" fmla="*/ 128 w 128"/>
                  <a:gd name="T3" fmla="*/ 28 h 45"/>
                  <a:gd name="T4" fmla="*/ 128 w 128"/>
                  <a:gd name="T5" fmla="*/ 10 h 45"/>
                  <a:gd name="T6" fmla="*/ 118 w 128"/>
                  <a:gd name="T7" fmla="*/ 0 h 45"/>
                  <a:gd name="T8" fmla="*/ 10 w 128"/>
                  <a:gd name="T9" fmla="*/ 0 h 45"/>
                  <a:gd name="T10" fmla="*/ 0 w 128"/>
                  <a:gd name="T11" fmla="*/ 10 h 45"/>
                  <a:gd name="T12" fmla="*/ 0 w 128"/>
                  <a:gd name="T13" fmla="*/ 28 h 45"/>
                  <a:gd name="T14" fmla="*/ 29 w 128"/>
                  <a:gd name="T15" fmla="*/ 45 h 45"/>
                  <a:gd name="T16" fmla="*/ 99 w 128"/>
                  <a:gd name="T17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8" h="45">
                    <a:moveTo>
                      <a:pt x="99" y="45"/>
                    </a:moveTo>
                    <a:cubicBezTo>
                      <a:pt x="128" y="28"/>
                      <a:pt x="128" y="28"/>
                      <a:pt x="128" y="28"/>
                    </a:cubicBezTo>
                    <a:cubicBezTo>
                      <a:pt x="128" y="10"/>
                      <a:pt x="128" y="10"/>
                      <a:pt x="128" y="10"/>
                    </a:cubicBezTo>
                    <a:cubicBezTo>
                      <a:pt x="128" y="4"/>
                      <a:pt x="124" y="0"/>
                      <a:pt x="118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4"/>
                      <a:pt x="0" y="10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29" y="45"/>
                      <a:pt x="29" y="45"/>
                      <a:pt x="29" y="45"/>
                    </a:cubicBezTo>
                    <a:lnTo>
                      <a:pt x="99" y="45"/>
                    </a:ln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71" name="Freeform 177">
                <a:extLst>
                  <a:ext uri="{FF2B5EF4-FFF2-40B4-BE49-F238E27FC236}">
                    <a16:creationId xmlns:a16="http://schemas.microsoft.com/office/drawing/2014/main" id="{F11A4300-B9CF-4070-906B-179E23169F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6" y="2689"/>
                <a:ext cx="360" cy="147"/>
              </a:xfrm>
              <a:custGeom>
                <a:avLst/>
                <a:gdLst>
                  <a:gd name="T0" fmla="*/ 100 w 128"/>
                  <a:gd name="T1" fmla="*/ 16 h 52"/>
                  <a:gd name="T2" fmla="*/ 28 w 128"/>
                  <a:gd name="T3" fmla="*/ 16 h 52"/>
                  <a:gd name="T4" fmla="*/ 0 w 128"/>
                  <a:gd name="T5" fmla="*/ 0 h 52"/>
                  <a:gd name="T6" fmla="*/ 0 w 128"/>
                  <a:gd name="T7" fmla="*/ 42 h 52"/>
                  <a:gd name="T8" fmla="*/ 10 w 128"/>
                  <a:gd name="T9" fmla="*/ 52 h 52"/>
                  <a:gd name="T10" fmla="*/ 118 w 128"/>
                  <a:gd name="T11" fmla="*/ 52 h 52"/>
                  <a:gd name="T12" fmla="*/ 128 w 128"/>
                  <a:gd name="T13" fmla="*/ 42 h 52"/>
                  <a:gd name="T14" fmla="*/ 128 w 128"/>
                  <a:gd name="T15" fmla="*/ 0 h 52"/>
                  <a:gd name="T16" fmla="*/ 100 w 128"/>
                  <a:gd name="T17" fmla="*/ 1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8" h="52">
                    <a:moveTo>
                      <a:pt x="100" y="16"/>
                    </a:moveTo>
                    <a:cubicBezTo>
                      <a:pt x="28" y="16"/>
                      <a:pt x="28" y="16"/>
                      <a:pt x="28" y="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48"/>
                      <a:pt x="4" y="52"/>
                      <a:pt x="10" y="52"/>
                    </a:cubicBezTo>
                    <a:cubicBezTo>
                      <a:pt x="118" y="52"/>
                      <a:pt x="118" y="52"/>
                      <a:pt x="118" y="52"/>
                    </a:cubicBezTo>
                    <a:cubicBezTo>
                      <a:pt x="124" y="52"/>
                      <a:pt x="128" y="48"/>
                      <a:pt x="128" y="42"/>
                    </a:cubicBezTo>
                    <a:cubicBezTo>
                      <a:pt x="128" y="0"/>
                      <a:pt x="128" y="0"/>
                      <a:pt x="128" y="0"/>
                    </a:cubicBezTo>
                    <a:lnTo>
                      <a:pt x="100" y="16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72" name="Freeform 178">
                <a:extLst>
                  <a:ext uri="{FF2B5EF4-FFF2-40B4-BE49-F238E27FC236}">
                    <a16:creationId xmlns:a16="http://schemas.microsoft.com/office/drawing/2014/main" id="{DF63F6C1-A0BB-4420-AD5A-2DFCE37A07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6" y="2678"/>
                <a:ext cx="360" cy="56"/>
              </a:xfrm>
              <a:custGeom>
                <a:avLst/>
                <a:gdLst>
                  <a:gd name="T0" fmla="*/ 279 w 360"/>
                  <a:gd name="T1" fmla="*/ 48 h 56"/>
                  <a:gd name="T2" fmla="*/ 82 w 360"/>
                  <a:gd name="T3" fmla="*/ 48 h 56"/>
                  <a:gd name="T4" fmla="*/ 0 w 360"/>
                  <a:gd name="T5" fmla="*/ 0 h 56"/>
                  <a:gd name="T6" fmla="*/ 0 w 360"/>
                  <a:gd name="T7" fmla="*/ 11 h 56"/>
                  <a:gd name="T8" fmla="*/ 79 w 360"/>
                  <a:gd name="T9" fmla="*/ 56 h 56"/>
                  <a:gd name="T10" fmla="*/ 281 w 360"/>
                  <a:gd name="T11" fmla="*/ 56 h 56"/>
                  <a:gd name="T12" fmla="*/ 360 w 360"/>
                  <a:gd name="T13" fmla="*/ 11 h 56"/>
                  <a:gd name="T14" fmla="*/ 360 w 360"/>
                  <a:gd name="T15" fmla="*/ 0 h 56"/>
                  <a:gd name="T16" fmla="*/ 279 w 360"/>
                  <a:gd name="T17" fmla="*/ 4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0" h="56">
                    <a:moveTo>
                      <a:pt x="279" y="48"/>
                    </a:moveTo>
                    <a:lnTo>
                      <a:pt x="82" y="48"/>
                    </a:lnTo>
                    <a:lnTo>
                      <a:pt x="0" y="0"/>
                    </a:lnTo>
                    <a:lnTo>
                      <a:pt x="0" y="11"/>
                    </a:lnTo>
                    <a:lnTo>
                      <a:pt x="79" y="56"/>
                    </a:lnTo>
                    <a:lnTo>
                      <a:pt x="281" y="56"/>
                    </a:lnTo>
                    <a:lnTo>
                      <a:pt x="360" y="11"/>
                    </a:lnTo>
                    <a:lnTo>
                      <a:pt x="360" y="0"/>
                    </a:lnTo>
                    <a:lnTo>
                      <a:pt x="279" y="4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73" name="Freeform 179">
                <a:extLst>
                  <a:ext uri="{FF2B5EF4-FFF2-40B4-BE49-F238E27FC236}">
                    <a16:creationId xmlns:a16="http://schemas.microsoft.com/office/drawing/2014/main" id="{4981CC97-045C-4E0B-915C-C4745BB895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9" y="2700"/>
                <a:ext cx="34" cy="57"/>
              </a:xfrm>
              <a:custGeom>
                <a:avLst/>
                <a:gdLst>
                  <a:gd name="T0" fmla="*/ 4 w 12"/>
                  <a:gd name="T1" fmla="*/ 20 h 20"/>
                  <a:gd name="T2" fmla="*/ 0 w 12"/>
                  <a:gd name="T3" fmla="*/ 16 h 20"/>
                  <a:gd name="T4" fmla="*/ 0 w 12"/>
                  <a:gd name="T5" fmla="*/ 0 h 20"/>
                  <a:gd name="T6" fmla="*/ 12 w 12"/>
                  <a:gd name="T7" fmla="*/ 0 h 20"/>
                  <a:gd name="T8" fmla="*/ 12 w 12"/>
                  <a:gd name="T9" fmla="*/ 16 h 20"/>
                  <a:gd name="T10" fmla="*/ 8 w 12"/>
                  <a:gd name="T11" fmla="*/ 20 h 20"/>
                  <a:gd name="T12" fmla="*/ 4 w 12"/>
                  <a:gd name="T13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20">
                    <a:moveTo>
                      <a:pt x="4" y="20"/>
                    </a:moveTo>
                    <a:cubicBezTo>
                      <a:pt x="2" y="20"/>
                      <a:pt x="0" y="18"/>
                      <a:pt x="0" y="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2" y="18"/>
                      <a:pt x="10" y="20"/>
                      <a:pt x="8" y="20"/>
                    </a:cubicBezTo>
                    <a:lnTo>
                      <a:pt x="4" y="20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74" name="Freeform 180">
                <a:extLst>
                  <a:ext uri="{FF2B5EF4-FFF2-40B4-BE49-F238E27FC236}">
                    <a16:creationId xmlns:a16="http://schemas.microsoft.com/office/drawing/2014/main" id="{68CBE2D8-3FC0-4E0E-B8E4-20DECBEEB5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84" y="2695"/>
                <a:ext cx="45" cy="68"/>
              </a:xfrm>
              <a:custGeom>
                <a:avLst/>
                <a:gdLst>
                  <a:gd name="T0" fmla="*/ 13 w 16"/>
                  <a:gd name="T1" fmla="*/ 3 h 24"/>
                  <a:gd name="T2" fmla="*/ 13 w 16"/>
                  <a:gd name="T3" fmla="*/ 18 h 24"/>
                  <a:gd name="T4" fmla="*/ 10 w 16"/>
                  <a:gd name="T5" fmla="*/ 21 h 24"/>
                  <a:gd name="T6" fmla="*/ 6 w 16"/>
                  <a:gd name="T7" fmla="*/ 21 h 24"/>
                  <a:gd name="T8" fmla="*/ 3 w 16"/>
                  <a:gd name="T9" fmla="*/ 18 h 24"/>
                  <a:gd name="T10" fmla="*/ 3 w 16"/>
                  <a:gd name="T11" fmla="*/ 3 h 24"/>
                  <a:gd name="T12" fmla="*/ 13 w 16"/>
                  <a:gd name="T13" fmla="*/ 3 h 24"/>
                  <a:gd name="T14" fmla="*/ 16 w 16"/>
                  <a:gd name="T15" fmla="*/ 0 h 24"/>
                  <a:gd name="T16" fmla="*/ 0 w 16"/>
                  <a:gd name="T17" fmla="*/ 0 h 24"/>
                  <a:gd name="T18" fmla="*/ 0 w 16"/>
                  <a:gd name="T19" fmla="*/ 18 h 24"/>
                  <a:gd name="T20" fmla="*/ 6 w 16"/>
                  <a:gd name="T21" fmla="*/ 24 h 24"/>
                  <a:gd name="T22" fmla="*/ 10 w 16"/>
                  <a:gd name="T23" fmla="*/ 24 h 24"/>
                  <a:gd name="T24" fmla="*/ 16 w 16"/>
                  <a:gd name="T25" fmla="*/ 18 h 24"/>
                  <a:gd name="T26" fmla="*/ 16 w 16"/>
                  <a:gd name="T2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" h="24">
                    <a:moveTo>
                      <a:pt x="13" y="3"/>
                    </a:moveTo>
                    <a:cubicBezTo>
                      <a:pt x="13" y="18"/>
                      <a:pt x="13" y="18"/>
                      <a:pt x="13" y="18"/>
                    </a:cubicBezTo>
                    <a:cubicBezTo>
                      <a:pt x="13" y="19"/>
                      <a:pt x="11" y="21"/>
                      <a:pt x="10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5" y="21"/>
                      <a:pt x="3" y="19"/>
                      <a:pt x="3" y="18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13" y="3"/>
                      <a:pt x="13" y="3"/>
                      <a:pt x="13" y="3"/>
                    </a:cubicBezTo>
                    <a:moveTo>
                      <a:pt x="16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21"/>
                      <a:pt x="3" y="24"/>
                      <a:pt x="6" y="24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13" y="24"/>
                      <a:pt x="16" y="21"/>
                      <a:pt x="16" y="18"/>
                    </a:cubicBezTo>
                    <a:cubicBezTo>
                      <a:pt x="16" y="0"/>
                      <a:pt x="16" y="0"/>
                      <a:pt x="1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75" name="Freeform 181">
                <a:extLst>
                  <a:ext uri="{FF2B5EF4-FFF2-40B4-BE49-F238E27FC236}">
                    <a16:creationId xmlns:a16="http://schemas.microsoft.com/office/drawing/2014/main" id="{7AE8E730-12C9-4E92-B237-03ED8A4BED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9" y="2700"/>
                <a:ext cx="34" cy="57"/>
              </a:xfrm>
              <a:custGeom>
                <a:avLst/>
                <a:gdLst>
                  <a:gd name="T0" fmla="*/ 4 w 12"/>
                  <a:gd name="T1" fmla="*/ 20 h 20"/>
                  <a:gd name="T2" fmla="*/ 0 w 12"/>
                  <a:gd name="T3" fmla="*/ 16 h 20"/>
                  <a:gd name="T4" fmla="*/ 0 w 12"/>
                  <a:gd name="T5" fmla="*/ 0 h 20"/>
                  <a:gd name="T6" fmla="*/ 12 w 12"/>
                  <a:gd name="T7" fmla="*/ 0 h 20"/>
                  <a:gd name="T8" fmla="*/ 12 w 12"/>
                  <a:gd name="T9" fmla="*/ 16 h 20"/>
                  <a:gd name="T10" fmla="*/ 8 w 12"/>
                  <a:gd name="T11" fmla="*/ 20 h 20"/>
                  <a:gd name="T12" fmla="*/ 4 w 12"/>
                  <a:gd name="T13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20">
                    <a:moveTo>
                      <a:pt x="4" y="20"/>
                    </a:moveTo>
                    <a:cubicBezTo>
                      <a:pt x="2" y="20"/>
                      <a:pt x="0" y="18"/>
                      <a:pt x="0" y="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2" y="18"/>
                      <a:pt x="10" y="20"/>
                      <a:pt x="8" y="20"/>
                    </a:cubicBezTo>
                    <a:lnTo>
                      <a:pt x="4" y="20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76" name="Freeform 182">
                <a:extLst>
                  <a:ext uri="{FF2B5EF4-FFF2-40B4-BE49-F238E27FC236}">
                    <a16:creationId xmlns:a16="http://schemas.microsoft.com/office/drawing/2014/main" id="{8194F985-F669-486B-B9AA-AC96F9F3DD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64" y="2695"/>
                <a:ext cx="45" cy="68"/>
              </a:xfrm>
              <a:custGeom>
                <a:avLst/>
                <a:gdLst>
                  <a:gd name="T0" fmla="*/ 13 w 16"/>
                  <a:gd name="T1" fmla="*/ 3 h 24"/>
                  <a:gd name="T2" fmla="*/ 13 w 16"/>
                  <a:gd name="T3" fmla="*/ 18 h 24"/>
                  <a:gd name="T4" fmla="*/ 10 w 16"/>
                  <a:gd name="T5" fmla="*/ 21 h 24"/>
                  <a:gd name="T6" fmla="*/ 6 w 16"/>
                  <a:gd name="T7" fmla="*/ 21 h 24"/>
                  <a:gd name="T8" fmla="*/ 3 w 16"/>
                  <a:gd name="T9" fmla="*/ 18 h 24"/>
                  <a:gd name="T10" fmla="*/ 3 w 16"/>
                  <a:gd name="T11" fmla="*/ 3 h 24"/>
                  <a:gd name="T12" fmla="*/ 13 w 16"/>
                  <a:gd name="T13" fmla="*/ 3 h 24"/>
                  <a:gd name="T14" fmla="*/ 16 w 16"/>
                  <a:gd name="T15" fmla="*/ 0 h 24"/>
                  <a:gd name="T16" fmla="*/ 0 w 16"/>
                  <a:gd name="T17" fmla="*/ 0 h 24"/>
                  <a:gd name="T18" fmla="*/ 0 w 16"/>
                  <a:gd name="T19" fmla="*/ 18 h 24"/>
                  <a:gd name="T20" fmla="*/ 6 w 16"/>
                  <a:gd name="T21" fmla="*/ 24 h 24"/>
                  <a:gd name="T22" fmla="*/ 10 w 16"/>
                  <a:gd name="T23" fmla="*/ 24 h 24"/>
                  <a:gd name="T24" fmla="*/ 16 w 16"/>
                  <a:gd name="T25" fmla="*/ 18 h 24"/>
                  <a:gd name="T26" fmla="*/ 16 w 16"/>
                  <a:gd name="T2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" h="24">
                    <a:moveTo>
                      <a:pt x="13" y="3"/>
                    </a:moveTo>
                    <a:cubicBezTo>
                      <a:pt x="13" y="18"/>
                      <a:pt x="13" y="18"/>
                      <a:pt x="13" y="18"/>
                    </a:cubicBezTo>
                    <a:cubicBezTo>
                      <a:pt x="13" y="19"/>
                      <a:pt x="11" y="21"/>
                      <a:pt x="10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5" y="21"/>
                      <a:pt x="3" y="19"/>
                      <a:pt x="3" y="18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13" y="3"/>
                      <a:pt x="13" y="3"/>
                      <a:pt x="13" y="3"/>
                    </a:cubicBezTo>
                    <a:moveTo>
                      <a:pt x="16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21"/>
                      <a:pt x="3" y="24"/>
                      <a:pt x="6" y="24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13" y="24"/>
                      <a:pt x="16" y="21"/>
                      <a:pt x="16" y="18"/>
                    </a:cubicBezTo>
                    <a:cubicBezTo>
                      <a:pt x="16" y="0"/>
                      <a:pt x="16" y="0"/>
                      <a:pt x="1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84" name="Groupe 483">
            <a:extLst>
              <a:ext uri="{FF2B5EF4-FFF2-40B4-BE49-F238E27FC236}">
                <a16:creationId xmlns:a16="http://schemas.microsoft.com/office/drawing/2014/main" id="{1D02982A-C1A5-4245-AC4C-0CA9E550A282}"/>
              </a:ext>
            </a:extLst>
          </p:cNvPr>
          <p:cNvGrpSpPr/>
          <p:nvPr/>
        </p:nvGrpSpPr>
        <p:grpSpPr>
          <a:xfrm>
            <a:off x="10225783" y="3103488"/>
            <a:ext cx="865004" cy="865444"/>
            <a:chOff x="7671088" y="2962223"/>
            <a:chExt cx="648743" cy="649073"/>
          </a:xfrm>
        </p:grpSpPr>
        <p:sp>
          <p:nvSpPr>
            <p:cNvPr id="659" name="Oval 5">
              <a:extLst>
                <a:ext uri="{FF2B5EF4-FFF2-40B4-BE49-F238E27FC236}">
                  <a16:creationId xmlns:a16="http://schemas.microsoft.com/office/drawing/2014/main" id="{518F09B3-AEA4-4AB7-813D-1DCEEF3232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1088" y="2962223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660" name="Group 185">
              <a:extLst>
                <a:ext uri="{FF2B5EF4-FFF2-40B4-BE49-F238E27FC236}">
                  <a16:creationId xmlns:a16="http://schemas.microsoft.com/office/drawing/2014/main" id="{3B8993F7-B56F-48E0-9DD3-98C72A57C82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791798" y="3115910"/>
              <a:ext cx="407322" cy="341698"/>
              <a:chOff x="4880" y="1946"/>
              <a:chExt cx="360" cy="302"/>
            </a:xfrm>
          </p:grpSpPr>
          <p:sp>
            <p:nvSpPr>
              <p:cNvPr id="661" name="Freeform 186">
                <a:extLst>
                  <a:ext uri="{FF2B5EF4-FFF2-40B4-BE49-F238E27FC236}">
                    <a16:creationId xmlns:a16="http://schemas.microsoft.com/office/drawing/2014/main" id="{55370A4F-04AC-4404-840A-FD6025F7BE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0" y="1946"/>
                <a:ext cx="191" cy="248"/>
              </a:xfrm>
              <a:custGeom>
                <a:avLst/>
                <a:gdLst>
                  <a:gd name="T0" fmla="*/ 8 w 68"/>
                  <a:gd name="T1" fmla="*/ 0 h 88"/>
                  <a:gd name="T2" fmla="*/ 0 w 68"/>
                  <a:gd name="T3" fmla="*/ 8 h 88"/>
                  <a:gd name="T4" fmla="*/ 0 w 68"/>
                  <a:gd name="T5" fmla="*/ 78 h 88"/>
                  <a:gd name="T6" fmla="*/ 10 w 68"/>
                  <a:gd name="T7" fmla="*/ 88 h 88"/>
                  <a:gd name="T8" fmla="*/ 68 w 68"/>
                  <a:gd name="T9" fmla="*/ 88 h 88"/>
                  <a:gd name="T10" fmla="*/ 52 w 68"/>
                  <a:gd name="T11" fmla="*/ 0 h 88"/>
                  <a:gd name="T12" fmla="*/ 8 w 68"/>
                  <a:gd name="T13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" h="88">
                    <a:moveTo>
                      <a:pt x="8" y="0"/>
                    </a:moveTo>
                    <a:cubicBezTo>
                      <a:pt x="4" y="0"/>
                      <a:pt x="0" y="3"/>
                      <a:pt x="0" y="8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0" y="83"/>
                      <a:pt x="4" y="88"/>
                      <a:pt x="10" y="88"/>
                    </a:cubicBezTo>
                    <a:cubicBezTo>
                      <a:pt x="68" y="88"/>
                      <a:pt x="68" y="88"/>
                      <a:pt x="68" y="88"/>
                    </a:cubicBezTo>
                    <a:cubicBezTo>
                      <a:pt x="52" y="0"/>
                      <a:pt x="52" y="0"/>
                      <a:pt x="52" y="0"/>
                    </a:cubicBez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62" name="Freeform 187">
                <a:extLst>
                  <a:ext uri="{FF2B5EF4-FFF2-40B4-BE49-F238E27FC236}">
                    <a16:creationId xmlns:a16="http://schemas.microsoft.com/office/drawing/2014/main" id="{92A4CD04-9360-4913-B52C-D71049EC6B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6" y="1946"/>
                <a:ext cx="214" cy="248"/>
              </a:xfrm>
              <a:custGeom>
                <a:avLst/>
                <a:gdLst>
                  <a:gd name="T0" fmla="*/ 68 w 76"/>
                  <a:gd name="T1" fmla="*/ 0 h 88"/>
                  <a:gd name="T2" fmla="*/ 0 w 76"/>
                  <a:gd name="T3" fmla="*/ 0 h 88"/>
                  <a:gd name="T4" fmla="*/ 16 w 76"/>
                  <a:gd name="T5" fmla="*/ 88 h 88"/>
                  <a:gd name="T6" fmla="*/ 66 w 76"/>
                  <a:gd name="T7" fmla="*/ 88 h 88"/>
                  <a:gd name="T8" fmla="*/ 76 w 76"/>
                  <a:gd name="T9" fmla="*/ 78 h 88"/>
                  <a:gd name="T10" fmla="*/ 76 w 76"/>
                  <a:gd name="T11" fmla="*/ 8 h 88"/>
                  <a:gd name="T12" fmla="*/ 68 w 76"/>
                  <a:gd name="T13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" h="88">
                    <a:moveTo>
                      <a:pt x="68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6" y="88"/>
                      <a:pt x="16" y="88"/>
                      <a:pt x="16" y="88"/>
                    </a:cubicBezTo>
                    <a:cubicBezTo>
                      <a:pt x="66" y="88"/>
                      <a:pt x="66" y="88"/>
                      <a:pt x="66" y="88"/>
                    </a:cubicBezTo>
                    <a:cubicBezTo>
                      <a:pt x="72" y="88"/>
                      <a:pt x="76" y="83"/>
                      <a:pt x="76" y="78"/>
                    </a:cubicBezTo>
                    <a:cubicBezTo>
                      <a:pt x="76" y="8"/>
                      <a:pt x="76" y="8"/>
                      <a:pt x="76" y="8"/>
                    </a:cubicBezTo>
                    <a:cubicBezTo>
                      <a:pt x="76" y="3"/>
                      <a:pt x="72" y="0"/>
                      <a:pt x="68" y="0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63" name="Freeform 188">
                <a:extLst>
                  <a:ext uri="{FF2B5EF4-FFF2-40B4-BE49-F238E27FC236}">
                    <a16:creationId xmlns:a16="http://schemas.microsoft.com/office/drawing/2014/main" id="{23122166-50B4-405A-A5DD-4DD8646ECA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1" y="2028"/>
                <a:ext cx="76" cy="76"/>
              </a:xfrm>
              <a:custGeom>
                <a:avLst/>
                <a:gdLst>
                  <a:gd name="T0" fmla="*/ 0 w 76"/>
                  <a:gd name="T1" fmla="*/ 0 h 76"/>
                  <a:gd name="T2" fmla="*/ 76 w 76"/>
                  <a:gd name="T3" fmla="*/ 8 h 76"/>
                  <a:gd name="T4" fmla="*/ 53 w 76"/>
                  <a:gd name="T5" fmla="*/ 31 h 76"/>
                  <a:gd name="T6" fmla="*/ 76 w 76"/>
                  <a:gd name="T7" fmla="*/ 53 h 76"/>
                  <a:gd name="T8" fmla="*/ 50 w 76"/>
                  <a:gd name="T9" fmla="*/ 76 h 76"/>
                  <a:gd name="T10" fmla="*/ 31 w 76"/>
                  <a:gd name="T11" fmla="*/ 53 h 76"/>
                  <a:gd name="T12" fmla="*/ 8 w 76"/>
                  <a:gd name="T13" fmla="*/ 76 h 76"/>
                  <a:gd name="T14" fmla="*/ 0 w 76"/>
                  <a:gd name="T1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6" h="76">
                    <a:moveTo>
                      <a:pt x="0" y="0"/>
                    </a:moveTo>
                    <a:lnTo>
                      <a:pt x="76" y="8"/>
                    </a:lnTo>
                    <a:lnTo>
                      <a:pt x="53" y="31"/>
                    </a:lnTo>
                    <a:lnTo>
                      <a:pt x="76" y="53"/>
                    </a:lnTo>
                    <a:lnTo>
                      <a:pt x="50" y="76"/>
                    </a:lnTo>
                    <a:lnTo>
                      <a:pt x="31" y="53"/>
                    </a:lnTo>
                    <a:lnTo>
                      <a:pt x="8" y="7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64" name="Freeform 189">
                <a:extLst>
                  <a:ext uri="{FF2B5EF4-FFF2-40B4-BE49-F238E27FC236}">
                    <a16:creationId xmlns:a16="http://schemas.microsoft.com/office/drawing/2014/main" id="{B1483522-661D-47B4-A446-0BDC855C8C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05" y="2025"/>
                <a:ext cx="90" cy="90"/>
              </a:xfrm>
              <a:custGeom>
                <a:avLst/>
                <a:gdLst>
                  <a:gd name="T0" fmla="*/ 11 w 90"/>
                  <a:gd name="T1" fmla="*/ 8 h 90"/>
                  <a:gd name="T2" fmla="*/ 70 w 90"/>
                  <a:gd name="T3" fmla="*/ 17 h 90"/>
                  <a:gd name="T4" fmla="*/ 59 w 90"/>
                  <a:gd name="T5" fmla="*/ 28 h 90"/>
                  <a:gd name="T6" fmla="*/ 54 w 90"/>
                  <a:gd name="T7" fmla="*/ 34 h 90"/>
                  <a:gd name="T8" fmla="*/ 59 w 90"/>
                  <a:gd name="T9" fmla="*/ 39 h 90"/>
                  <a:gd name="T10" fmla="*/ 73 w 90"/>
                  <a:gd name="T11" fmla="*/ 56 h 90"/>
                  <a:gd name="T12" fmla="*/ 56 w 90"/>
                  <a:gd name="T13" fmla="*/ 73 h 90"/>
                  <a:gd name="T14" fmla="*/ 42 w 90"/>
                  <a:gd name="T15" fmla="*/ 56 h 90"/>
                  <a:gd name="T16" fmla="*/ 37 w 90"/>
                  <a:gd name="T17" fmla="*/ 51 h 90"/>
                  <a:gd name="T18" fmla="*/ 31 w 90"/>
                  <a:gd name="T19" fmla="*/ 56 h 90"/>
                  <a:gd name="T20" fmla="*/ 17 w 90"/>
                  <a:gd name="T21" fmla="*/ 70 h 90"/>
                  <a:gd name="T22" fmla="*/ 11 w 90"/>
                  <a:gd name="T23" fmla="*/ 8 h 90"/>
                  <a:gd name="T24" fmla="*/ 0 w 90"/>
                  <a:gd name="T25" fmla="*/ 0 h 90"/>
                  <a:gd name="T26" fmla="*/ 11 w 90"/>
                  <a:gd name="T27" fmla="*/ 90 h 90"/>
                  <a:gd name="T28" fmla="*/ 37 w 90"/>
                  <a:gd name="T29" fmla="*/ 65 h 90"/>
                  <a:gd name="T30" fmla="*/ 56 w 90"/>
                  <a:gd name="T31" fmla="*/ 84 h 90"/>
                  <a:gd name="T32" fmla="*/ 87 w 90"/>
                  <a:gd name="T33" fmla="*/ 56 h 90"/>
                  <a:gd name="T34" fmla="*/ 65 w 90"/>
                  <a:gd name="T35" fmla="*/ 34 h 90"/>
                  <a:gd name="T36" fmla="*/ 90 w 90"/>
                  <a:gd name="T37" fmla="*/ 8 h 90"/>
                  <a:gd name="T38" fmla="*/ 0 w 90"/>
                  <a:gd name="T39" fmla="*/ 0 h 90"/>
                  <a:gd name="T40" fmla="*/ 0 w 90"/>
                  <a:gd name="T41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0" h="90">
                    <a:moveTo>
                      <a:pt x="11" y="8"/>
                    </a:moveTo>
                    <a:lnTo>
                      <a:pt x="70" y="17"/>
                    </a:lnTo>
                    <a:lnTo>
                      <a:pt x="59" y="28"/>
                    </a:lnTo>
                    <a:lnTo>
                      <a:pt x="54" y="34"/>
                    </a:lnTo>
                    <a:lnTo>
                      <a:pt x="59" y="39"/>
                    </a:lnTo>
                    <a:lnTo>
                      <a:pt x="73" y="56"/>
                    </a:lnTo>
                    <a:lnTo>
                      <a:pt x="56" y="73"/>
                    </a:lnTo>
                    <a:lnTo>
                      <a:pt x="42" y="56"/>
                    </a:lnTo>
                    <a:lnTo>
                      <a:pt x="37" y="51"/>
                    </a:lnTo>
                    <a:lnTo>
                      <a:pt x="31" y="56"/>
                    </a:lnTo>
                    <a:lnTo>
                      <a:pt x="17" y="70"/>
                    </a:lnTo>
                    <a:lnTo>
                      <a:pt x="11" y="8"/>
                    </a:lnTo>
                    <a:close/>
                    <a:moveTo>
                      <a:pt x="0" y="0"/>
                    </a:moveTo>
                    <a:lnTo>
                      <a:pt x="11" y="90"/>
                    </a:lnTo>
                    <a:lnTo>
                      <a:pt x="37" y="65"/>
                    </a:lnTo>
                    <a:lnTo>
                      <a:pt x="56" y="84"/>
                    </a:lnTo>
                    <a:lnTo>
                      <a:pt x="87" y="56"/>
                    </a:lnTo>
                    <a:lnTo>
                      <a:pt x="65" y="34"/>
                    </a:lnTo>
                    <a:lnTo>
                      <a:pt x="90" y="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65" name="Freeform 190">
                <a:extLst>
                  <a:ext uri="{FF2B5EF4-FFF2-40B4-BE49-F238E27FC236}">
                    <a16:creationId xmlns:a16="http://schemas.microsoft.com/office/drawing/2014/main" id="{4F2AC425-B579-4E7B-AF04-13695442F8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05" y="2025"/>
                <a:ext cx="90" cy="90"/>
              </a:xfrm>
              <a:custGeom>
                <a:avLst/>
                <a:gdLst>
                  <a:gd name="T0" fmla="*/ 11 w 90"/>
                  <a:gd name="T1" fmla="*/ 8 h 90"/>
                  <a:gd name="T2" fmla="*/ 70 w 90"/>
                  <a:gd name="T3" fmla="*/ 17 h 90"/>
                  <a:gd name="T4" fmla="*/ 59 w 90"/>
                  <a:gd name="T5" fmla="*/ 28 h 90"/>
                  <a:gd name="T6" fmla="*/ 54 w 90"/>
                  <a:gd name="T7" fmla="*/ 34 h 90"/>
                  <a:gd name="T8" fmla="*/ 59 w 90"/>
                  <a:gd name="T9" fmla="*/ 39 h 90"/>
                  <a:gd name="T10" fmla="*/ 73 w 90"/>
                  <a:gd name="T11" fmla="*/ 56 h 90"/>
                  <a:gd name="T12" fmla="*/ 56 w 90"/>
                  <a:gd name="T13" fmla="*/ 73 h 90"/>
                  <a:gd name="T14" fmla="*/ 42 w 90"/>
                  <a:gd name="T15" fmla="*/ 56 h 90"/>
                  <a:gd name="T16" fmla="*/ 37 w 90"/>
                  <a:gd name="T17" fmla="*/ 51 h 90"/>
                  <a:gd name="T18" fmla="*/ 31 w 90"/>
                  <a:gd name="T19" fmla="*/ 56 h 90"/>
                  <a:gd name="T20" fmla="*/ 17 w 90"/>
                  <a:gd name="T21" fmla="*/ 70 h 90"/>
                  <a:gd name="T22" fmla="*/ 11 w 90"/>
                  <a:gd name="T23" fmla="*/ 8 h 90"/>
                  <a:gd name="T24" fmla="*/ 0 w 90"/>
                  <a:gd name="T25" fmla="*/ 0 h 90"/>
                  <a:gd name="T26" fmla="*/ 11 w 90"/>
                  <a:gd name="T27" fmla="*/ 90 h 90"/>
                  <a:gd name="T28" fmla="*/ 37 w 90"/>
                  <a:gd name="T29" fmla="*/ 65 h 90"/>
                  <a:gd name="T30" fmla="*/ 56 w 90"/>
                  <a:gd name="T31" fmla="*/ 84 h 90"/>
                  <a:gd name="T32" fmla="*/ 87 w 90"/>
                  <a:gd name="T33" fmla="*/ 56 h 90"/>
                  <a:gd name="T34" fmla="*/ 65 w 90"/>
                  <a:gd name="T35" fmla="*/ 34 h 90"/>
                  <a:gd name="T36" fmla="*/ 90 w 90"/>
                  <a:gd name="T37" fmla="*/ 8 h 90"/>
                  <a:gd name="T38" fmla="*/ 0 w 90"/>
                  <a:gd name="T39" fmla="*/ 0 h 90"/>
                  <a:gd name="T40" fmla="*/ 0 w 90"/>
                  <a:gd name="T41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0" h="90">
                    <a:moveTo>
                      <a:pt x="11" y="8"/>
                    </a:moveTo>
                    <a:lnTo>
                      <a:pt x="70" y="17"/>
                    </a:lnTo>
                    <a:lnTo>
                      <a:pt x="59" y="28"/>
                    </a:lnTo>
                    <a:lnTo>
                      <a:pt x="54" y="34"/>
                    </a:lnTo>
                    <a:lnTo>
                      <a:pt x="59" y="39"/>
                    </a:lnTo>
                    <a:lnTo>
                      <a:pt x="73" y="56"/>
                    </a:lnTo>
                    <a:lnTo>
                      <a:pt x="56" y="73"/>
                    </a:lnTo>
                    <a:lnTo>
                      <a:pt x="42" y="56"/>
                    </a:lnTo>
                    <a:lnTo>
                      <a:pt x="37" y="51"/>
                    </a:lnTo>
                    <a:lnTo>
                      <a:pt x="31" y="56"/>
                    </a:lnTo>
                    <a:lnTo>
                      <a:pt x="17" y="70"/>
                    </a:lnTo>
                    <a:lnTo>
                      <a:pt x="11" y="8"/>
                    </a:lnTo>
                    <a:moveTo>
                      <a:pt x="0" y="0"/>
                    </a:moveTo>
                    <a:lnTo>
                      <a:pt x="11" y="90"/>
                    </a:lnTo>
                    <a:lnTo>
                      <a:pt x="37" y="65"/>
                    </a:lnTo>
                    <a:lnTo>
                      <a:pt x="56" y="84"/>
                    </a:lnTo>
                    <a:lnTo>
                      <a:pt x="87" y="56"/>
                    </a:lnTo>
                    <a:lnTo>
                      <a:pt x="65" y="34"/>
                    </a:lnTo>
                    <a:lnTo>
                      <a:pt x="90" y="8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66" name="Freeform 191">
                <a:extLst>
                  <a:ext uri="{FF2B5EF4-FFF2-40B4-BE49-F238E27FC236}">
                    <a16:creationId xmlns:a16="http://schemas.microsoft.com/office/drawing/2014/main" id="{2D1D7DE9-D270-4F3D-978F-4EF87AE4D1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0" y="2157"/>
                <a:ext cx="360" cy="91"/>
              </a:xfrm>
              <a:custGeom>
                <a:avLst/>
                <a:gdLst>
                  <a:gd name="T0" fmla="*/ 0 w 128"/>
                  <a:gd name="T1" fmla="*/ 0 h 32"/>
                  <a:gd name="T2" fmla="*/ 0 w 128"/>
                  <a:gd name="T3" fmla="*/ 5 h 32"/>
                  <a:gd name="T4" fmla="*/ 8 w 128"/>
                  <a:gd name="T5" fmla="*/ 13 h 32"/>
                  <a:gd name="T6" fmla="*/ 50 w 128"/>
                  <a:gd name="T7" fmla="*/ 13 h 32"/>
                  <a:gd name="T8" fmla="*/ 50 w 128"/>
                  <a:gd name="T9" fmla="*/ 26 h 32"/>
                  <a:gd name="T10" fmla="*/ 24 w 128"/>
                  <a:gd name="T11" fmla="*/ 26 h 32"/>
                  <a:gd name="T12" fmla="*/ 21 w 128"/>
                  <a:gd name="T13" fmla="*/ 29 h 32"/>
                  <a:gd name="T14" fmla="*/ 24 w 128"/>
                  <a:gd name="T15" fmla="*/ 32 h 32"/>
                  <a:gd name="T16" fmla="*/ 104 w 128"/>
                  <a:gd name="T17" fmla="*/ 32 h 32"/>
                  <a:gd name="T18" fmla="*/ 107 w 128"/>
                  <a:gd name="T19" fmla="*/ 29 h 32"/>
                  <a:gd name="T20" fmla="*/ 104 w 128"/>
                  <a:gd name="T21" fmla="*/ 26 h 32"/>
                  <a:gd name="T22" fmla="*/ 78 w 128"/>
                  <a:gd name="T23" fmla="*/ 26 h 32"/>
                  <a:gd name="T24" fmla="*/ 78 w 128"/>
                  <a:gd name="T25" fmla="*/ 13 h 32"/>
                  <a:gd name="T26" fmla="*/ 120 w 128"/>
                  <a:gd name="T27" fmla="*/ 13 h 32"/>
                  <a:gd name="T28" fmla="*/ 128 w 128"/>
                  <a:gd name="T29" fmla="*/ 5 h 32"/>
                  <a:gd name="T30" fmla="*/ 128 w 128"/>
                  <a:gd name="T31" fmla="*/ 0 h 32"/>
                  <a:gd name="T32" fmla="*/ 0 w 128"/>
                  <a:gd name="T3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8" h="32">
                    <a:moveTo>
                      <a:pt x="0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9"/>
                      <a:pt x="4" y="13"/>
                      <a:pt x="8" y="13"/>
                    </a:cubicBezTo>
                    <a:cubicBezTo>
                      <a:pt x="50" y="13"/>
                      <a:pt x="50" y="13"/>
                      <a:pt x="50" y="13"/>
                    </a:cubicBezTo>
                    <a:cubicBezTo>
                      <a:pt x="50" y="26"/>
                      <a:pt x="50" y="26"/>
                      <a:pt x="50" y="26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2" y="26"/>
                      <a:pt x="21" y="27"/>
                      <a:pt x="21" y="29"/>
                    </a:cubicBezTo>
                    <a:cubicBezTo>
                      <a:pt x="21" y="30"/>
                      <a:pt x="22" y="32"/>
                      <a:pt x="24" y="32"/>
                    </a:cubicBezTo>
                    <a:cubicBezTo>
                      <a:pt x="104" y="32"/>
                      <a:pt x="104" y="32"/>
                      <a:pt x="104" y="32"/>
                    </a:cubicBezTo>
                    <a:cubicBezTo>
                      <a:pt x="106" y="32"/>
                      <a:pt x="107" y="30"/>
                      <a:pt x="107" y="29"/>
                    </a:cubicBezTo>
                    <a:cubicBezTo>
                      <a:pt x="107" y="27"/>
                      <a:pt x="106" y="26"/>
                      <a:pt x="104" y="26"/>
                    </a:cubicBezTo>
                    <a:cubicBezTo>
                      <a:pt x="78" y="26"/>
                      <a:pt x="78" y="26"/>
                      <a:pt x="78" y="26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120" y="13"/>
                      <a:pt x="120" y="13"/>
                      <a:pt x="120" y="13"/>
                    </a:cubicBezTo>
                    <a:cubicBezTo>
                      <a:pt x="124" y="13"/>
                      <a:pt x="128" y="9"/>
                      <a:pt x="128" y="5"/>
                    </a:cubicBezTo>
                    <a:cubicBezTo>
                      <a:pt x="128" y="0"/>
                      <a:pt x="128" y="0"/>
                      <a:pt x="128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85" name="Groupe 484">
            <a:extLst>
              <a:ext uri="{FF2B5EF4-FFF2-40B4-BE49-F238E27FC236}">
                <a16:creationId xmlns:a16="http://schemas.microsoft.com/office/drawing/2014/main" id="{D2B38528-2746-4F97-AC7A-5F5AB001F913}"/>
              </a:ext>
            </a:extLst>
          </p:cNvPr>
          <p:cNvGrpSpPr/>
          <p:nvPr/>
        </p:nvGrpSpPr>
        <p:grpSpPr>
          <a:xfrm>
            <a:off x="4767425" y="3103488"/>
            <a:ext cx="865004" cy="865444"/>
            <a:chOff x="3577383" y="2962223"/>
            <a:chExt cx="648743" cy="649073"/>
          </a:xfrm>
        </p:grpSpPr>
        <p:sp>
          <p:nvSpPr>
            <p:cNvPr id="649" name="Oval 5">
              <a:extLst>
                <a:ext uri="{FF2B5EF4-FFF2-40B4-BE49-F238E27FC236}">
                  <a16:creationId xmlns:a16="http://schemas.microsoft.com/office/drawing/2014/main" id="{960FE3D7-D62F-4520-96AF-103A25C450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7383" y="2962223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650" name="Group 194">
              <a:extLst>
                <a:ext uri="{FF2B5EF4-FFF2-40B4-BE49-F238E27FC236}">
                  <a16:creationId xmlns:a16="http://schemas.microsoft.com/office/drawing/2014/main" id="{E26650FF-86BA-44A8-9E50-C86748E8477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671744" y="3167064"/>
              <a:ext cx="460022" cy="296542"/>
              <a:chOff x="2268" y="1995"/>
              <a:chExt cx="363" cy="234"/>
            </a:xfrm>
          </p:grpSpPr>
          <p:sp>
            <p:nvSpPr>
              <p:cNvPr id="651" name="Freeform 195">
                <a:extLst>
                  <a:ext uri="{FF2B5EF4-FFF2-40B4-BE49-F238E27FC236}">
                    <a16:creationId xmlns:a16="http://schemas.microsoft.com/office/drawing/2014/main" id="{D0F6A9EA-0D6C-4143-812D-754F40928A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2" y="2007"/>
                <a:ext cx="337" cy="210"/>
              </a:xfrm>
              <a:custGeom>
                <a:avLst/>
                <a:gdLst>
                  <a:gd name="T0" fmla="*/ 117 w 120"/>
                  <a:gd name="T1" fmla="*/ 32 h 74"/>
                  <a:gd name="T2" fmla="*/ 60 w 120"/>
                  <a:gd name="T3" fmla="*/ 10 h 74"/>
                  <a:gd name="T4" fmla="*/ 56 w 120"/>
                  <a:gd name="T5" fmla="*/ 21 h 74"/>
                  <a:gd name="T6" fmla="*/ 59 w 120"/>
                  <a:gd name="T7" fmla="*/ 22 h 74"/>
                  <a:gd name="T8" fmla="*/ 56 w 120"/>
                  <a:gd name="T9" fmla="*/ 28 h 74"/>
                  <a:gd name="T10" fmla="*/ 50 w 120"/>
                  <a:gd name="T11" fmla="*/ 30 h 74"/>
                  <a:gd name="T12" fmla="*/ 49 w 120"/>
                  <a:gd name="T13" fmla="*/ 14 h 74"/>
                  <a:gd name="T14" fmla="*/ 67 w 120"/>
                  <a:gd name="T15" fmla="*/ 0 h 74"/>
                  <a:gd name="T16" fmla="*/ 32 w 120"/>
                  <a:gd name="T17" fmla="*/ 7 h 74"/>
                  <a:gd name="T18" fmla="*/ 27 w 120"/>
                  <a:gd name="T19" fmla="*/ 6 h 74"/>
                  <a:gd name="T20" fmla="*/ 15 w 120"/>
                  <a:gd name="T21" fmla="*/ 2 h 74"/>
                  <a:gd name="T22" fmla="*/ 0 w 120"/>
                  <a:gd name="T23" fmla="*/ 42 h 74"/>
                  <a:gd name="T24" fmla="*/ 13 w 120"/>
                  <a:gd name="T25" fmla="*/ 47 h 74"/>
                  <a:gd name="T26" fmla="*/ 15 w 120"/>
                  <a:gd name="T27" fmla="*/ 48 h 74"/>
                  <a:gd name="T28" fmla="*/ 19 w 120"/>
                  <a:gd name="T29" fmla="*/ 51 h 74"/>
                  <a:gd name="T30" fmla="*/ 24 w 120"/>
                  <a:gd name="T31" fmla="*/ 54 h 74"/>
                  <a:gd name="T32" fmla="*/ 30 w 120"/>
                  <a:gd name="T33" fmla="*/ 56 h 74"/>
                  <a:gd name="T34" fmla="*/ 30 w 120"/>
                  <a:gd name="T35" fmla="*/ 56 h 74"/>
                  <a:gd name="T36" fmla="*/ 46 w 120"/>
                  <a:gd name="T37" fmla="*/ 62 h 74"/>
                  <a:gd name="T38" fmla="*/ 68 w 120"/>
                  <a:gd name="T39" fmla="*/ 71 h 74"/>
                  <a:gd name="T40" fmla="*/ 68 w 120"/>
                  <a:gd name="T41" fmla="*/ 71 h 74"/>
                  <a:gd name="T42" fmla="*/ 74 w 120"/>
                  <a:gd name="T43" fmla="*/ 73 h 74"/>
                  <a:gd name="T44" fmla="*/ 82 w 120"/>
                  <a:gd name="T45" fmla="*/ 70 h 74"/>
                  <a:gd name="T46" fmla="*/ 83 w 120"/>
                  <a:gd name="T47" fmla="*/ 67 h 74"/>
                  <a:gd name="T48" fmla="*/ 81 w 120"/>
                  <a:gd name="T49" fmla="*/ 63 h 74"/>
                  <a:gd name="T50" fmla="*/ 70 w 120"/>
                  <a:gd name="T51" fmla="*/ 59 h 74"/>
                  <a:gd name="T52" fmla="*/ 71 w 120"/>
                  <a:gd name="T53" fmla="*/ 57 h 74"/>
                  <a:gd name="T54" fmla="*/ 86 w 120"/>
                  <a:gd name="T55" fmla="*/ 63 h 74"/>
                  <a:gd name="T56" fmla="*/ 94 w 120"/>
                  <a:gd name="T57" fmla="*/ 59 h 74"/>
                  <a:gd name="T58" fmla="*/ 95 w 120"/>
                  <a:gd name="T59" fmla="*/ 56 h 74"/>
                  <a:gd name="T60" fmla="*/ 93 w 120"/>
                  <a:gd name="T61" fmla="*/ 52 h 74"/>
                  <a:gd name="T62" fmla="*/ 73 w 120"/>
                  <a:gd name="T63" fmla="*/ 45 h 74"/>
                  <a:gd name="T64" fmla="*/ 73 w 120"/>
                  <a:gd name="T65" fmla="*/ 43 h 74"/>
                  <a:gd name="T66" fmla="*/ 98 w 120"/>
                  <a:gd name="T67" fmla="*/ 52 h 74"/>
                  <a:gd name="T68" fmla="*/ 106 w 120"/>
                  <a:gd name="T69" fmla="*/ 49 h 74"/>
                  <a:gd name="T70" fmla="*/ 107 w 120"/>
                  <a:gd name="T71" fmla="*/ 46 h 74"/>
                  <a:gd name="T72" fmla="*/ 105 w 120"/>
                  <a:gd name="T73" fmla="*/ 42 h 74"/>
                  <a:gd name="T74" fmla="*/ 75 w 120"/>
                  <a:gd name="T75" fmla="*/ 31 h 74"/>
                  <a:gd name="T76" fmla="*/ 76 w 120"/>
                  <a:gd name="T77" fmla="*/ 29 h 74"/>
                  <a:gd name="T78" fmla="*/ 110 w 120"/>
                  <a:gd name="T79" fmla="*/ 42 h 74"/>
                  <a:gd name="T80" fmla="*/ 118 w 120"/>
                  <a:gd name="T81" fmla="*/ 38 h 74"/>
                  <a:gd name="T82" fmla="*/ 119 w 120"/>
                  <a:gd name="T83" fmla="*/ 35 h 74"/>
                  <a:gd name="T84" fmla="*/ 117 w 120"/>
                  <a:gd name="T85" fmla="*/ 3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0" h="74">
                    <a:moveTo>
                      <a:pt x="117" y="32"/>
                    </a:moveTo>
                    <a:cubicBezTo>
                      <a:pt x="60" y="10"/>
                      <a:pt x="60" y="10"/>
                      <a:pt x="60" y="10"/>
                    </a:cubicBezTo>
                    <a:cubicBezTo>
                      <a:pt x="56" y="21"/>
                      <a:pt x="56" y="21"/>
                      <a:pt x="56" y="21"/>
                    </a:cubicBezTo>
                    <a:cubicBezTo>
                      <a:pt x="59" y="22"/>
                      <a:pt x="59" y="22"/>
                      <a:pt x="59" y="22"/>
                    </a:cubicBezTo>
                    <a:cubicBezTo>
                      <a:pt x="58" y="24"/>
                      <a:pt x="57" y="26"/>
                      <a:pt x="56" y="28"/>
                    </a:cubicBezTo>
                    <a:cubicBezTo>
                      <a:pt x="54" y="30"/>
                      <a:pt x="52" y="31"/>
                      <a:pt x="50" y="30"/>
                    </a:cubicBezTo>
                    <a:cubicBezTo>
                      <a:pt x="51" y="26"/>
                      <a:pt x="50" y="19"/>
                      <a:pt x="49" y="14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32" y="7"/>
                      <a:pt x="32" y="7"/>
                      <a:pt x="32" y="7"/>
                    </a:cubicBezTo>
                    <a:cubicBezTo>
                      <a:pt x="31" y="7"/>
                      <a:pt x="29" y="7"/>
                      <a:pt x="27" y="6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13" y="47"/>
                      <a:pt x="13" y="47"/>
                      <a:pt x="13" y="47"/>
                    </a:cubicBezTo>
                    <a:cubicBezTo>
                      <a:pt x="14" y="47"/>
                      <a:pt x="14" y="47"/>
                      <a:pt x="15" y="48"/>
                    </a:cubicBezTo>
                    <a:cubicBezTo>
                      <a:pt x="19" y="51"/>
                      <a:pt x="19" y="51"/>
                      <a:pt x="19" y="51"/>
                    </a:cubicBezTo>
                    <a:cubicBezTo>
                      <a:pt x="20" y="52"/>
                      <a:pt x="22" y="53"/>
                      <a:pt x="24" y="54"/>
                    </a:cubicBezTo>
                    <a:cubicBezTo>
                      <a:pt x="30" y="56"/>
                      <a:pt x="30" y="56"/>
                      <a:pt x="30" y="56"/>
                    </a:cubicBezTo>
                    <a:cubicBezTo>
                      <a:pt x="30" y="56"/>
                      <a:pt x="30" y="56"/>
                      <a:pt x="30" y="56"/>
                    </a:cubicBezTo>
                    <a:cubicBezTo>
                      <a:pt x="46" y="62"/>
                      <a:pt x="46" y="62"/>
                      <a:pt x="46" y="62"/>
                    </a:cubicBezTo>
                    <a:cubicBezTo>
                      <a:pt x="68" y="71"/>
                      <a:pt x="68" y="71"/>
                      <a:pt x="68" y="71"/>
                    </a:cubicBezTo>
                    <a:cubicBezTo>
                      <a:pt x="68" y="71"/>
                      <a:pt x="68" y="71"/>
                      <a:pt x="68" y="71"/>
                    </a:cubicBezTo>
                    <a:cubicBezTo>
                      <a:pt x="74" y="73"/>
                      <a:pt x="74" y="73"/>
                      <a:pt x="74" y="73"/>
                    </a:cubicBezTo>
                    <a:cubicBezTo>
                      <a:pt x="77" y="74"/>
                      <a:pt x="80" y="73"/>
                      <a:pt x="82" y="70"/>
                    </a:cubicBezTo>
                    <a:cubicBezTo>
                      <a:pt x="83" y="67"/>
                      <a:pt x="83" y="67"/>
                      <a:pt x="83" y="67"/>
                    </a:cubicBezTo>
                    <a:cubicBezTo>
                      <a:pt x="83" y="65"/>
                      <a:pt x="83" y="63"/>
                      <a:pt x="81" y="6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1" y="57"/>
                      <a:pt x="71" y="57"/>
                      <a:pt x="71" y="57"/>
                    </a:cubicBezTo>
                    <a:cubicBezTo>
                      <a:pt x="86" y="63"/>
                      <a:pt x="86" y="63"/>
                      <a:pt x="86" y="63"/>
                    </a:cubicBezTo>
                    <a:cubicBezTo>
                      <a:pt x="89" y="64"/>
                      <a:pt x="93" y="62"/>
                      <a:pt x="94" y="59"/>
                    </a:cubicBezTo>
                    <a:cubicBezTo>
                      <a:pt x="95" y="56"/>
                      <a:pt x="95" y="56"/>
                      <a:pt x="95" y="56"/>
                    </a:cubicBezTo>
                    <a:cubicBezTo>
                      <a:pt x="95" y="55"/>
                      <a:pt x="95" y="53"/>
                      <a:pt x="93" y="52"/>
                    </a:cubicBezTo>
                    <a:cubicBezTo>
                      <a:pt x="73" y="45"/>
                      <a:pt x="73" y="45"/>
                      <a:pt x="73" y="45"/>
                    </a:cubicBezTo>
                    <a:cubicBezTo>
                      <a:pt x="73" y="43"/>
                      <a:pt x="73" y="43"/>
                      <a:pt x="73" y="43"/>
                    </a:cubicBezTo>
                    <a:cubicBezTo>
                      <a:pt x="98" y="52"/>
                      <a:pt x="98" y="52"/>
                      <a:pt x="98" y="52"/>
                    </a:cubicBezTo>
                    <a:cubicBezTo>
                      <a:pt x="101" y="53"/>
                      <a:pt x="105" y="52"/>
                      <a:pt x="106" y="49"/>
                    </a:cubicBezTo>
                    <a:cubicBezTo>
                      <a:pt x="107" y="46"/>
                      <a:pt x="107" y="46"/>
                      <a:pt x="107" y="46"/>
                    </a:cubicBezTo>
                    <a:cubicBezTo>
                      <a:pt x="108" y="44"/>
                      <a:pt x="107" y="43"/>
                      <a:pt x="105" y="42"/>
                    </a:cubicBezTo>
                    <a:cubicBezTo>
                      <a:pt x="75" y="31"/>
                      <a:pt x="75" y="31"/>
                      <a:pt x="75" y="31"/>
                    </a:cubicBezTo>
                    <a:cubicBezTo>
                      <a:pt x="76" y="29"/>
                      <a:pt x="76" y="29"/>
                      <a:pt x="76" y="29"/>
                    </a:cubicBezTo>
                    <a:cubicBezTo>
                      <a:pt x="110" y="42"/>
                      <a:pt x="110" y="42"/>
                      <a:pt x="110" y="42"/>
                    </a:cubicBezTo>
                    <a:cubicBezTo>
                      <a:pt x="113" y="43"/>
                      <a:pt x="117" y="41"/>
                      <a:pt x="118" y="38"/>
                    </a:cubicBezTo>
                    <a:cubicBezTo>
                      <a:pt x="119" y="35"/>
                      <a:pt x="119" y="35"/>
                      <a:pt x="119" y="35"/>
                    </a:cubicBezTo>
                    <a:cubicBezTo>
                      <a:pt x="120" y="34"/>
                      <a:pt x="119" y="32"/>
                      <a:pt x="117" y="32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52" name="Freeform 196">
                <a:extLst>
                  <a:ext uri="{FF2B5EF4-FFF2-40B4-BE49-F238E27FC236}">
                    <a16:creationId xmlns:a16="http://schemas.microsoft.com/office/drawing/2014/main" id="{453E9DF0-AB99-4DB3-88C5-5003163CE0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2" y="2163"/>
                <a:ext cx="31" cy="26"/>
              </a:xfrm>
              <a:custGeom>
                <a:avLst/>
                <a:gdLst>
                  <a:gd name="T0" fmla="*/ 1 w 11"/>
                  <a:gd name="T1" fmla="*/ 6 h 9"/>
                  <a:gd name="T2" fmla="*/ 4 w 11"/>
                  <a:gd name="T3" fmla="*/ 9 h 9"/>
                  <a:gd name="T4" fmla="*/ 8 w 11"/>
                  <a:gd name="T5" fmla="*/ 9 h 9"/>
                  <a:gd name="T6" fmla="*/ 10 w 11"/>
                  <a:gd name="T7" fmla="*/ 6 h 9"/>
                  <a:gd name="T8" fmla="*/ 11 w 11"/>
                  <a:gd name="T9" fmla="*/ 4 h 9"/>
                  <a:gd name="T10" fmla="*/ 2 w 11"/>
                  <a:gd name="T11" fmla="*/ 0 h 9"/>
                  <a:gd name="T12" fmla="*/ 1 w 11"/>
                  <a:gd name="T13" fmla="*/ 2 h 9"/>
                  <a:gd name="T14" fmla="*/ 1 w 11"/>
                  <a:gd name="T15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9">
                    <a:moveTo>
                      <a:pt x="1" y="6"/>
                    </a:moveTo>
                    <a:cubicBezTo>
                      <a:pt x="1" y="7"/>
                      <a:pt x="2" y="8"/>
                      <a:pt x="4" y="9"/>
                    </a:cubicBezTo>
                    <a:cubicBezTo>
                      <a:pt x="5" y="9"/>
                      <a:pt x="6" y="9"/>
                      <a:pt x="8" y="9"/>
                    </a:cubicBezTo>
                    <a:cubicBezTo>
                      <a:pt x="9" y="8"/>
                      <a:pt x="10" y="7"/>
                      <a:pt x="10" y="6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0" y="4"/>
                      <a:pt x="0" y="5"/>
                      <a:pt x="1" y="6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53" name="Freeform 197">
                <a:extLst>
                  <a:ext uri="{FF2B5EF4-FFF2-40B4-BE49-F238E27FC236}">
                    <a16:creationId xmlns:a16="http://schemas.microsoft.com/office/drawing/2014/main" id="{98BA7B88-6C48-47ED-802E-642E391E7C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1" y="2158"/>
                <a:ext cx="39" cy="51"/>
              </a:xfrm>
              <a:custGeom>
                <a:avLst/>
                <a:gdLst>
                  <a:gd name="T0" fmla="*/ 10 w 14"/>
                  <a:gd name="T1" fmla="*/ 1 h 18"/>
                  <a:gd name="T2" fmla="*/ 10 w 14"/>
                  <a:gd name="T3" fmla="*/ 1 h 18"/>
                  <a:gd name="T4" fmla="*/ 4 w 14"/>
                  <a:gd name="T5" fmla="*/ 4 h 18"/>
                  <a:gd name="T6" fmla="*/ 1 w 14"/>
                  <a:gd name="T7" fmla="*/ 10 h 18"/>
                  <a:gd name="T8" fmla="*/ 4 w 14"/>
                  <a:gd name="T9" fmla="*/ 17 h 18"/>
                  <a:gd name="T10" fmla="*/ 11 w 14"/>
                  <a:gd name="T11" fmla="*/ 14 h 18"/>
                  <a:gd name="T12" fmla="*/ 13 w 14"/>
                  <a:gd name="T13" fmla="*/ 8 h 18"/>
                  <a:gd name="T14" fmla="*/ 10 w 14"/>
                  <a:gd name="T15" fmla="*/ 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8">
                    <a:moveTo>
                      <a:pt x="10" y="1"/>
                    </a:moveTo>
                    <a:cubicBezTo>
                      <a:pt x="10" y="1"/>
                      <a:pt x="10" y="1"/>
                      <a:pt x="10" y="1"/>
                    </a:cubicBezTo>
                    <a:cubicBezTo>
                      <a:pt x="8" y="0"/>
                      <a:pt x="5" y="2"/>
                      <a:pt x="4" y="4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13"/>
                      <a:pt x="2" y="16"/>
                      <a:pt x="4" y="17"/>
                    </a:cubicBezTo>
                    <a:cubicBezTo>
                      <a:pt x="7" y="18"/>
                      <a:pt x="10" y="17"/>
                      <a:pt x="11" y="14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4" y="5"/>
                      <a:pt x="13" y="2"/>
                      <a:pt x="10" y="1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54" name="Freeform 198">
                <a:extLst>
                  <a:ext uri="{FF2B5EF4-FFF2-40B4-BE49-F238E27FC236}">
                    <a16:creationId xmlns:a16="http://schemas.microsoft.com/office/drawing/2014/main" id="{8BB8425B-5D0A-4C20-B0B9-6409A3EA81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4" y="2172"/>
                <a:ext cx="37" cy="48"/>
              </a:xfrm>
              <a:custGeom>
                <a:avLst/>
                <a:gdLst>
                  <a:gd name="T0" fmla="*/ 0 w 13"/>
                  <a:gd name="T1" fmla="*/ 10 h 17"/>
                  <a:gd name="T2" fmla="*/ 0 w 13"/>
                  <a:gd name="T3" fmla="*/ 13 h 17"/>
                  <a:gd name="T4" fmla="*/ 3 w 13"/>
                  <a:gd name="T5" fmla="*/ 16 h 17"/>
                  <a:gd name="T6" fmla="*/ 7 w 13"/>
                  <a:gd name="T7" fmla="*/ 16 h 17"/>
                  <a:gd name="T8" fmla="*/ 10 w 13"/>
                  <a:gd name="T9" fmla="*/ 13 h 17"/>
                  <a:gd name="T10" fmla="*/ 12 w 13"/>
                  <a:gd name="T11" fmla="*/ 7 h 17"/>
                  <a:gd name="T12" fmla="*/ 12 w 13"/>
                  <a:gd name="T13" fmla="*/ 3 h 17"/>
                  <a:gd name="T14" fmla="*/ 9 w 13"/>
                  <a:gd name="T15" fmla="*/ 1 h 17"/>
                  <a:gd name="T16" fmla="*/ 9 w 13"/>
                  <a:gd name="T17" fmla="*/ 1 h 17"/>
                  <a:gd name="T18" fmla="*/ 5 w 13"/>
                  <a:gd name="T19" fmla="*/ 1 h 17"/>
                  <a:gd name="T20" fmla="*/ 3 w 13"/>
                  <a:gd name="T21" fmla="*/ 4 h 17"/>
                  <a:gd name="T22" fmla="*/ 0 w 13"/>
                  <a:gd name="T23" fmla="*/ 1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" h="17">
                    <a:moveTo>
                      <a:pt x="0" y="10"/>
                    </a:moveTo>
                    <a:cubicBezTo>
                      <a:pt x="0" y="11"/>
                      <a:pt x="0" y="12"/>
                      <a:pt x="0" y="13"/>
                    </a:cubicBezTo>
                    <a:cubicBezTo>
                      <a:pt x="1" y="15"/>
                      <a:pt x="2" y="16"/>
                      <a:pt x="3" y="16"/>
                    </a:cubicBezTo>
                    <a:cubicBezTo>
                      <a:pt x="5" y="17"/>
                      <a:pt x="6" y="17"/>
                      <a:pt x="7" y="16"/>
                    </a:cubicBezTo>
                    <a:cubicBezTo>
                      <a:pt x="8" y="16"/>
                      <a:pt x="9" y="15"/>
                      <a:pt x="10" y="13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3" y="6"/>
                      <a:pt x="13" y="5"/>
                      <a:pt x="12" y="3"/>
                    </a:cubicBezTo>
                    <a:cubicBezTo>
                      <a:pt x="12" y="2"/>
                      <a:pt x="11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8" y="0"/>
                      <a:pt x="7" y="0"/>
                      <a:pt x="5" y="1"/>
                    </a:cubicBezTo>
                    <a:cubicBezTo>
                      <a:pt x="4" y="1"/>
                      <a:pt x="3" y="2"/>
                      <a:pt x="3" y="4"/>
                    </a:cubicBez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55" name="Freeform 199">
                <a:extLst>
                  <a:ext uri="{FF2B5EF4-FFF2-40B4-BE49-F238E27FC236}">
                    <a16:creationId xmlns:a16="http://schemas.microsoft.com/office/drawing/2014/main" id="{2556CB1E-7E37-4AB5-9AE8-B4BD1FD311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8" y="2192"/>
                <a:ext cx="31" cy="37"/>
              </a:xfrm>
              <a:custGeom>
                <a:avLst/>
                <a:gdLst>
                  <a:gd name="T0" fmla="*/ 7 w 11"/>
                  <a:gd name="T1" fmla="*/ 2 h 13"/>
                  <a:gd name="T2" fmla="*/ 2 w 11"/>
                  <a:gd name="T3" fmla="*/ 0 h 13"/>
                  <a:gd name="T4" fmla="*/ 0 w 11"/>
                  <a:gd name="T5" fmla="*/ 5 h 13"/>
                  <a:gd name="T6" fmla="*/ 0 w 11"/>
                  <a:gd name="T7" fmla="*/ 9 h 13"/>
                  <a:gd name="T8" fmla="*/ 3 w 11"/>
                  <a:gd name="T9" fmla="*/ 12 h 13"/>
                  <a:gd name="T10" fmla="*/ 3 w 11"/>
                  <a:gd name="T11" fmla="*/ 12 h 13"/>
                  <a:gd name="T12" fmla="*/ 10 w 11"/>
                  <a:gd name="T13" fmla="*/ 9 h 13"/>
                  <a:gd name="T14" fmla="*/ 10 w 11"/>
                  <a:gd name="T15" fmla="*/ 8 h 13"/>
                  <a:gd name="T16" fmla="*/ 7 w 11"/>
                  <a:gd name="T17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13">
                    <a:moveTo>
                      <a:pt x="7" y="2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7"/>
                      <a:pt x="0" y="8"/>
                      <a:pt x="0" y="9"/>
                    </a:cubicBezTo>
                    <a:cubicBezTo>
                      <a:pt x="1" y="10"/>
                      <a:pt x="2" y="11"/>
                      <a:pt x="3" y="12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6" y="13"/>
                      <a:pt x="8" y="12"/>
                      <a:pt x="10" y="9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1" y="6"/>
                      <a:pt x="10" y="3"/>
                      <a:pt x="7" y="2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56" name="Freeform 200">
                <a:extLst>
                  <a:ext uri="{FF2B5EF4-FFF2-40B4-BE49-F238E27FC236}">
                    <a16:creationId xmlns:a16="http://schemas.microsoft.com/office/drawing/2014/main" id="{12CCB47E-CAE1-4071-B5FA-FA6AF5C97B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1" y="1995"/>
                <a:ext cx="220" cy="108"/>
              </a:xfrm>
              <a:custGeom>
                <a:avLst/>
                <a:gdLst>
                  <a:gd name="T0" fmla="*/ 0 w 78"/>
                  <a:gd name="T1" fmla="*/ 19 h 38"/>
                  <a:gd name="T2" fmla="*/ 1 w 78"/>
                  <a:gd name="T3" fmla="*/ 35 h 38"/>
                  <a:gd name="T4" fmla="*/ 2 w 78"/>
                  <a:gd name="T5" fmla="*/ 37 h 38"/>
                  <a:gd name="T6" fmla="*/ 12 w 78"/>
                  <a:gd name="T7" fmla="*/ 34 h 38"/>
                  <a:gd name="T8" fmla="*/ 17 w 78"/>
                  <a:gd name="T9" fmla="*/ 23 h 38"/>
                  <a:gd name="T10" fmla="*/ 23 w 78"/>
                  <a:gd name="T11" fmla="*/ 22 h 38"/>
                  <a:gd name="T12" fmla="*/ 32 w 78"/>
                  <a:gd name="T13" fmla="*/ 21 h 38"/>
                  <a:gd name="T14" fmla="*/ 71 w 78"/>
                  <a:gd name="T15" fmla="*/ 36 h 38"/>
                  <a:gd name="T16" fmla="*/ 74 w 78"/>
                  <a:gd name="T17" fmla="*/ 35 h 38"/>
                  <a:gd name="T18" fmla="*/ 76 w 78"/>
                  <a:gd name="T19" fmla="*/ 26 h 38"/>
                  <a:gd name="T20" fmla="*/ 61 w 78"/>
                  <a:gd name="T21" fmla="*/ 3 h 38"/>
                  <a:gd name="T22" fmla="*/ 53 w 78"/>
                  <a:gd name="T23" fmla="*/ 2 h 38"/>
                  <a:gd name="T24" fmla="*/ 51 w 78"/>
                  <a:gd name="T25" fmla="*/ 3 h 38"/>
                  <a:gd name="T26" fmla="*/ 46 w 78"/>
                  <a:gd name="T27" fmla="*/ 4 h 38"/>
                  <a:gd name="T28" fmla="*/ 21 w 78"/>
                  <a:gd name="T29" fmla="*/ 3 h 38"/>
                  <a:gd name="T30" fmla="*/ 19 w 78"/>
                  <a:gd name="T31" fmla="*/ 4 h 38"/>
                  <a:gd name="T32" fmla="*/ 12 w 78"/>
                  <a:gd name="T33" fmla="*/ 8 h 38"/>
                  <a:gd name="T34" fmla="*/ 12 w 78"/>
                  <a:gd name="T35" fmla="*/ 8 h 38"/>
                  <a:gd name="T36" fmla="*/ 1 w 78"/>
                  <a:gd name="T37" fmla="*/ 17 h 38"/>
                  <a:gd name="T38" fmla="*/ 0 w 78"/>
                  <a:gd name="T3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8" h="38">
                    <a:moveTo>
                      <a:pt x="0" y="19"/>
                    </a:moveTo>
                    <a:cubicBezTo>
                      <a:pt x="1" y="23"/>
                      <a:pt x="2" y="31"/>
                      <a:pt x="1" y="35"/>
                    </a:cubicBezTo>
                    <a:cubicBezTo>
                      <a:pt x="1" y="36"/>
                      <a:pt x="2" y="37"/>
                      <a:pt x="2" y="37"/>
                    </a:cubicBezTo>
                    <a:cubicBezTo>
                      <a:pt x="5" y="38"/>
                      <a:pt x="9" y="38"/>
                      <a:pt x="12" y="34"/>
                    </a:cubicBezTo>
                    <a:cubicBezTo>
                      <a:pt x="16" y="28"/>
                      <a:pt x="17" y="23"/>
                      <a:pt x="17" y="23"/>
                    </a:cubicBezTo>
                    <a:cubicBezTo>
                      <a:pt x="23" y="22"/>
                      <a:pt x="23" y="22"/>
                      <a:pt x="23" y="22"/>
                    </a:cubicBezTo>
                    <a:cubicBezTo>
                      <a:pt x="25" y="21"/>
                      <a:pt x="30" y="20"/>
                      <a:pt x="32" y="21"/>
                    </a:cubicBezTo>
                    <a:cubicBezTo>
                      <a:pt x="71" y="36"/>
                      <a:pt x="71" y="36"/>
                      <a:pt x="71" y="36"/>
                    </a:cubicBezTo>
                    <a:cubicBezTo>
                      <a:pt x="74" y="35"/>
                      <a:pt x="74" y="35"/>
                      <a:pt x="74" y="35"/>
                    </a:cubicBezTo>
                    <a:cubicBezTo>
                      <a:pt x="77" y="33"/>
                      <a:pt x="78" y="29"/>
                      <a:pt x="76" y="26"/>
                    </a:cubicBezTo>
                    <a:cubicBezTo>
                      <a:pt x="61" y="3"/>
                      <a:pt x="61" y="3"/>
                      <a:pt x="61" y="3"/>
                    </a:cubicBezTo>
                    <a:cubicBezTo>
                      <a:pt x="60" y="0"/>
                      <a:pt x="56" y="0"/>
                      <a:pt x="53" y="2"/>
                    </a:cubicBezTo>
                    <a:cubicBezTo>
                      <a:pt x="51" y="3"/>
                      <a:pt x="51" y="3"/>
                      <a:pt x="51" y="3"/>
                    </a:cubicBezTo>
                    <a:cubicBezTo>
                      <a:pt x="50" y="4"/>
                      <a:pt x="48" y="5"/>
                      <a:pt x="46" y="4"/>
                    </a:cubicBezTo>
                    <a:cubicBezTo>
                      <a:pt x="21" y="3"/>
                      <a:pt x="21" y="3"/>
                      <a:pt x="21" y="3"/>
                    </a:cubicBezTo>
                    <a:cubicBezTo>
                      <a:pt x="20" y="3"/>
                      <a:pt x="19" y="3"/>
                      <a:pt x="19" y="4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0" y="17"/>
                      <a:pt x="0" y="18"/>
                      <a:pt x="0" y="19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57" name="Freeform 201">
                <a:extLst>
                  <a:ext uri="{FF2B5EF4-FFF2-40B4-BE49-F238E27FC236}">
                    <a16:creationId xmlns:a16="http://schemas.microsoft.com/office/drawing/2014/main" id="{306D81CD-E558-4E7A-AD61-86018321BD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2" y="2007"/>
                <a:ext cx="68" cy="133"/>
              </a:xfrm>
              <a:custGeom>
                <a:avLst/>
                <a:gdLst>
                  <a:gd name="T0" fmla="*/ 7 w 24"/>
                  <a:gd name="T1" fmla="*/ 47 h 47"/>
                  <a:gd name="T2" fmla="*/ 1 w 24"/>
                  <a:gd name="T3" fmla="*/ 45 h 47"/>
                  <a:gd name="T4" fmla="*/ 0 w 24"/>
                  <a:gd name="T5" fmla="*/ 43 h 47"/>
                  <a:gd name="T6" fmla="*/ 17 w 24"/>
                  <a:gd name="T7" fmla="*/ 0 h 47"/>
                  <a:gd name="T8" fmla="*/ 18 w 24"/>
                  <a:gd name="T9" fmla="*/ 0 h 47"/>
                  <a:gd name="T10" fmla="*/ 24 w 24"/>
                  <a:gd name="T11" fmla="*/ 2 h 47"/>
                  <a:gd name="T12" fmla="*/ 24 w 24"/>
                  <a:gd name="T13" fmla="*/ 3 h 47"/>
                  <a:gd name="T14" fmla="*/ 8 w 24"/>
                  <a:gd name="T15" fmla="*/ 46 h 47"/>
                  <a:gd name="T16" fmla="*/ 7 w 24"/>
                  <a:gd name="T17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47">
                    <a:moveTo>
                      <a:pt x="7" y="47"/>
                    </a:moveTo>
                    <a:cubicBezTo>
                      <a:pt x="1" y="45"/>
                      <a:pt x="1" y="45"/>
                      <a:pt x="1" y="45"/>
                    </a:cubicBezTo>
                    <a:cubicBezTo>
                      <a:pt x="0" y="45"/>
                      <a:pt x="0" y="44"/>
                      <a:pt x="0" y="43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8" y="0"/>
                      <a:pt x="18" y="0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24" y="2"/>
                      <a:pt x="24" y="3"/>
                      <a:pt x="24" y="3"/>
                    </a:cubicBezTo>
                    <a:cubicBezTo>
                      <a:pt x="8" y="46"/>
                      <a:pt x="8" y="46"/>
                      <a:pt x="8" y="46"/>
                    </a:cubicBezTo>
                    <a:cubicBezTo>
                      <a:pt x="8" y="47"/>
                      <a:pt x="7" y="47"/>
                      <a:pt x="7" y="4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58" name="Freeform 202">
                <a:extLst>
                  <a:ext uri="{FF2B5EF4-FFF2-40B4-BE49-F238E27FC236}">
                    <a16:creationId xmlns:a16="http://schemas.microsoft.com/office/drawing/2014/main" id="{8B4E5FD7-BC2F-4A72-9A3C-F8B656AFE1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8" y="1995"/>
                <a:ext cx="76" cy="148"/>
              </a:xfrm>
              <a:custGeom>
                <a:avLst/>
                <a:gdLst>
                  <a:gd name="T0" fmla="*/ 9 w 27"/>
                  <a:gd name="T1" fmla="*/ 52 h 52"/>
                  <a:gd name="T2" fmla="*/ 2 w 27"/>
                  <a:gd name="T3" fmla="*/ 49 h 52"/>
                  <a:gd name="T4" fmla="*/ 0 w 27"/>
                  <a:gd name="T5" fmla="*/ 45 h 52"/>
                  <a:gd name="T6" fmla="*/ 17 w 27"/>
                  <a:gd name="T7" fmla="*/ 3 h 52"/>
                  <a:gd name="T8" fmla="*/ 21 w 27"/>
                  <a:gd name="T9" fmla="*/ 1 h 52"/>
                  <a:gd name="T10" fmla="*/ 27 w 27"/>
                  <a:gd name="T11" fmla="*/ 3 h 52"/>
                  <a:gd name="T12" fmla="*/ 9 w 27"/>
                  <a:gd name="T13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52">
                    <a:moveTo>
                      <a:pt x="9" y="52"/>
                    </a:moveTo>
                    <a:cubicBezTo>
                      <a:pt x="2" y="49"/>
                      <a:pt x="2" y="49"/>
                      <a:pt x="2" y="49"/>
                    </a:cubicBezTo>
                    <a:cubicBezTo>
                      <a:pt x="1" y="49"/>
                      <a:pt x="0" y="47"/>
                      <a:pt x="0" y="45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17" y="1"/>
                      <a:pt x="19" y="0"/>
                      <a:pt x="21" y="1"/>
                    </a:cubicBezTo>
                    <a:cubicBezTo>
                      <a:pt x="27" y="3"/>
                      <a:pt x="27" y="3"/>
                      <a:pt x="27" y="3"/>
                    </a:cubicBezTo>
                    <a:lnTo>
                      <a:pt x="9" y="52"/>
                    </a:ln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86" name="Groupe 485">
            <a:extLst>
              <a:ext uri="{FF2B5EF4-FFF2-40B4-BE49-F238E27FC236}">
                <a16:creationId xmlns:a16="http://schemas.microsoft.com/office/drawing/2014/main" id="{0F774FF7-64C6-4F11-BE03-53084F6CAB60}"/>
              </a:ext>
            </a:extLst>
          </p:cNvPr>
          <p:cNvGrpSpPr/>
          <p:nvPr/>
        </p:nvGrpSpPr>
        <p:grpSpPr>
          <a:xfrm>
            <a:off x="4767425" y="4246747"/>
            <a:ext cx="865004" cy="865444"/>
            <a:chOff x="3577383" y="3935887"/>
            <a:chExt cx="648743" cy="649073"/>
          </a:xfrm>
        </p:grpSpPr>
        <p:sp>
          <p:nvSpPr>
            <p:cNvPr id="643" name="Oval 5">
              <a:extLst>
                <a:ext uri="{FF2B5EF4-FFF2-40B4-BE49-F238E27FC236}">
                  <a16:creationId xmlns:a16="http://schemas.microsoft.com/office/drawing/2014/main" id="{34A7CD6D-7BCF-446E-8509-470EFA19F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7383" y="3935887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644" name="Group 205">
              <a:extLst>
                <a:ext uri="{FF2B5EF4-FFF2-40B4-BE49-F238E27FC236}">
                  <a16:creationId xmlns:a16="http://schemas.microsoft.com/office/drawing/2014/main" id="{BDCD6F03-8A91-4C5B-BC6B-8D3D06D2CDA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736313" y="4100513"/>
              <a:ext cx="330882" cy="319820"/>
              <a:chOff x="2123" y="2565"/>
              <a:chExt cx="360" cy="343"/>
            </a:xfrm>
          </p:grpSpPr>
          <p:sp>
            <p:nvSpPr>
              <p:cNvPr id="645" name="Freeform 206">
                <a:extLst>
                  <a:ext uri="{FF2B5EF4-FFF2-40B4-BE49-F238E27FC236}">
                    <a16:creationId xmlns:a16="http://schemas.microsoft.com/office/drawing/2014/main" id="{919A016C-D01F-44EF-9944-363A77B67F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30" y="2565"/>
                <a:ext cx="253" cy="343"/>
              </a:xfrm>
              <a:custGeom>
                <a:avLst/>
                <a:gdLst>
                  <a:gd name="T0" fmla="*/ 86 w 90"/>
                  <a:gd name="T1" fmla="*/ 54 h 122"/>
                  <a:gd name="T2" fmla="*/ 87 w 90"/>
                  <a:gd name="T3" fmla="*/ 48 h 122"/>
                  <a:gd name="T4" fmla="*/ 83 w 90"/>
                  <a:gd name="T5" fmla="*/ 37 h 122"/>
                  <a:gd name="T6" fmla="*/ 83 w 90"/>
                  <a:gd name="T7" fmla="*/ 28 h 122"/>
                  <a:gd name="T8" fmla="*/ 79 w 90"/>
                  <a:gd name="T9" fmla="*/ 20 h 122"/>
                  <a:gd name="T10" fmla="*/ 75 w 90"/>
                  <a:gd name="T11" fmla="*/ 6 h 122"/>
                  <a:gd name="T12" fmla="*/ 59 w 90"/>
                  <a:gd name="T13" fmla="*/ 0 h 122"/>
                  <a:gd name="T14" fmla="*/ 49 w 90"/>
                  <a:gd name="T15" fmla="*/ 0 h 122"/>
                  <a:gd name="T16" fmla="*/ 38 w 90"/>
                  <a:gd name="T17" fmla="*/ 1 h 122"/>
                  <a:gd name="T18" fmla="*/ 28 w 90"/>
                  <a:gd name="T19" fmla="*/ 3 h 122"/>
                  <a:gd name="T20" fmla="*/ 18 w 90"/>
                  <a:gd name="T21" fmla="*/ 6 h 122"/>
                  <a:gd name="T22" fmla="*/ 6 w 90"/>
                  <a:gd name="T23" fmla="*/ 10 h 122"/>
                  <a:gd name="T24" fmla="*/ 2 w 90"/>
                  <a:gd name="T25" fmla="*/ 11 h 122"/>
                  <a:gd name="T26" fmla="*/ 0 w 90"/>
                  <a:gd name="T27" fmla="*/ 15 h 122"/>
                  <a:gd name="T28" fmla="*/ 0 w 90"/>
                  <a:gd name="T29" fmla="*/ 66 h 122"/>
                  <a:gd name="T30" fmla="*/ 2 w 90"/>
                  <a:gd name="T31" fmla="*/ 70 h 122"/>
                  <a:gd name="T32" fmla="*/ 5 w 90"/>
                  <a:gd name="T33" fmla="*/ 71 h 122"/>
                  <a:gd name="T34" fmla="*/ 11 w 90"/>
                  <a:gd name="T35" fmla="*/ 76 h 122"/>
                  <a:gd name="T36" fmla="*/ 19 w 90"/>
                  <a:gd name="T37" fmla="*/ 86 h 122"/>
                  <a:gd name="T38" fmla="*/ 28 w 90"/>
                  <a:gd name="T39" fmla="*/ 95 h 122"/>
                  <a:gd name="T40" fmla="*/ 30 w 90"/>
                  <a:gd name="T41" fmla="*/ 99 h 122"/>
                  <a:gd name="T42" fmla="*/ 31 w 90"/>
                  <a:gd name="T43" fmla="*/ 103 h 122"/>
                  <a:gd name="T44" fmla="*/ 32 w 90"/>
                  <a:gd name="T45" fmla="*/ 108 h 122"/>
                  <a:gd name="T46" fmla="*/ 33 w 90"/>
                  <a:gd name="T47" fmla="*/ 113 h 122"/>
                  <a:gd name="T48" fmla="*/ 35 w 90"/>
                  <a:gd name="T49" fmla="*/ 117 h 122"/>
                  <a:gd name="T50" fmla="*/ 38 w 90"/>
                  <a:gd name="T51" fmla="*/ 121 h 122"/>
                  <a:gd name="T52" fmla="*/ 41 w 90"/>
                  <a:gd name="T53" fmla="*/ 122 h 122"/>
                  <a:gd name="T54" fmla="*/ 48 w 90"/>
                  <a:gd name="T55" fmla="*/ 122 h 122"/>
                  <a:gd name="T56" fmla="*/ 53 w 90"/>
                  <a:gd name="T57" fmla="*/ 120 h 122"/>
                  <a:gd name="T58" fmla="*/ 56 w 90"/>
                  <a:gd name="T59" fmla="*/ 116 h 122"/>
                  <a:gd name="T60" fmla="*/ 58 w 90"/>
                  <a:gd name="T61" fmla="*/ 113 h 122"/>
                  <a:gd name="T62" fmla="*/ 59 w 90"/>
                  <a:gd name="T63" fmla="*/ 109 h 122"/>
                  <a:gd name="T64" fmla="*/ 59 w 90"/>
                  <a:gd name="T65" fmla="*/ 105 h 122"/>
                  <a:gd name="T66" fmla="*/ 59 w 90"/>
                  <a:gd name="T67" fmla="*/ 102 h 122"/>
                  <a:gd name="T68" fmla="*/ 59 w 90"/>
                  <a:gd name="T69" fmla="*/ 96 h 122"/>
                  <a:gd name="T70" fmla="*/ 57 w 90"/>
                  <a:gd name="T71" fmla="*/ 91 h 122"/>
                  <a:gd name="T72" fmla="*/ 55 w 90"/>
                  <a:gd name="T73" fmla="*/ 87 h 122"/>
                  <a:gd name="T74" fmla="*/ 54 w 90"/>
                  <a:gd name="T75" fmla="*/ 85 h 122"/>
                  <a:gd name="T76" fmla="*/ 53 w 90"/>
                  <a:gd name="T77" fmla="*/ 83 h 122"/>
                  <a:gd name="T78" fmla="*/ 52 w 90"/>
                  <a:gd name="T79" fmla="*/ 81 h 122"/>
                  <a:gd name="T80" fmla="*/ 75 w 90"/>
                  <a:gd name="T81" fmla="*/ 81 h 122"/>
                  <a:gd name="T82" fmla="*/ 85 w 90"/>
                  <a:gd name="T83" fmla="*/ 77 h 122"/>
                  <a:gd name="T84" fmla="*/ 90 w 90"/>
                  <a:gd name="T85" fmla="*/ 66 h 122"/>
                  <a:gd name="T86" fmla="*/ 86 w 90"/>
                  <a:gd name="T87" fmla="*/ 54 h 122"/>
                  <a:gd name="T88" fmla="*/ 86 w 90"/>
                  <a:gd name="T89" fmla="*/ 54 h 122"/>
                  <a:gd name="T90" fmla="*/ 86 w 90"/>
                  <a:gd name="T91" fmla="*/ 5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90" h="122">
                    <a:moveTo>
                      <a:pt x="86" y="54"/>
                    </a:moveTo>
                    <a:cubicBezTo>
                      <a:pt x="86" y="52"/>
                      <a:pt x="87" y="50"/>
                      <a:pt x="87" y="48"/>
                    </a:cubicBezTo>
                    <a:cubicBezTo>
                      <a:pt x="87" y="44"/>
                      <a:pt x="86" y="40"/>
                      <a:pt x="83" y="37"/>
                    </a:cubicBezTo>
                    <a:cubicBezTo>
                      <a:pt x="84" y="34"/>
                      <a:pt x="84" y="31"/>
                      <a:pt x="83" y="28"/>
                    </a:cubicBezTo>
                    <a:cubicBezTo>
                      <a:pt x="83" y="25"/>
                      <a:pt x="81" y="22"/>
                      <a:pt x="79" y="20"/>
                    </a:cubicBezTo>
                    <a:cubicBezTo>
                      <a:pt x="80" y="14"/>
                      <a:pt x="78" y="9"/>
                      <a:pt x="75" y="6"/>
                    </a:cubicBezTo>
                    <a:cubicBezTo>
                      <a:pt x="72" y="2"/>
                      <a:pt x="66" y="0"/>
                      <a:pt x="59" y="0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6" y="0"/>
                      <a:pt x="42" y="0"/>
                      <a:pt x="38" y="1"/>
                    </a:cubicBezTo>
                    <a:cubicBezTo>
                      <a:pt x="33" y="2"/>
                      <a:pt x="30" y="2"/>
                      <a:pt x="28" y="3"/>
                    </a:cubicBezTo>
                    <a:cubicBezTo>
                      <a:pt x="25" y="4"/>
                      <a:pt x="22" y="5"/>
                      <a:pt x="18" y="6"/>
                    </a:cubicBezTo>
                    <a:cubicBezTo>
                      <a:pt x="12" y="9"/>
                      <a:pt x="7" y="10"/>
                      <a:pt x="6" y="10"/>
                    </a:cubicBezTo>
                    <a:cubicBezTo>
                      <a:pt x="4" y="10"/>
                      <a:pt x="3" y="10"/>
                      <a:pt x="2" y="11"/>
                    </a:cubicBezTo>
                    <a:cubicBezTo>
                      <a:pt x="1" y="12"/>
                      <a:pt x="0" y="14"/>
                      <a:pt x="0" y="15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0" y="68"/>
                      <a:pt x="1" y="69"/>
                      <a:pt x="2" y="70"/>
                    </a:cubicBezTo>
                    <a:cubicBezTo>
                      <a:pt x="3" y="71"/>
                      <a:pt x="4" y="71"/>
                      <a:pt x="5" y="71"/>
                    </a:cubicBezTo>
                    <a:cubicBezTo>
                      <a:pt x="7" y="71"/>
                      <a:pt x="9" y="73"/>
                      <a:pt x="11" y="76"/>
                    </a:cubicBezTo>
                    <a:cubicBezTo>
                      <a:pt x="14" y="79"/>
                      <a:pt x="17" y="82"/>
                      <a:pt x="19" y="86"/>
                    </a:cubicBezTo>
                    <a:cubicBezTo>
                      <a:pt x="23" y="90"/>
                      <a:pt x="26" y="94"/>
                      <a:pt x="28" y="95"/>
                    </a:cubicBezTo>
                    <a:cubicBezTo>
                      <a:pt x="28" y="96"/>
                      <a:pt x="29" y="98"/>
                      <a:pt x="30" y="99"/>
                    </a:cubicBezTo>
                    <a:cubicBezTo>
                      <a:pt x="31" y="101"/>
                      <a:pt x="31" y="102"/>
                      <a:pt x="31" y="103"/>
                    </a:cubicBezTo>
                    <a:cubicBezTo>
                      <a:pt x="32" y="104"/>
                      <a:pt x="32" y="106"/>
                      <a:pt x="32" y="108"/>
                    </a:cubicBezTo>
                    <a:cubicBezTo>
                      <a:pt x="33" y="110"/>
                      <a:pt x="33" y="112"/>
                      <a:pt x="33" y="113"/>
                    </a:cubicBezTo>
                    <a:cubicBezTo>
                      <a:pt x="34" y="114"/>
                      <a:pt x="34" y="115"/>
                      <a:pt x="35" y="117"/>
                    </a:cubicBezTo>
                    <a:cubicBezTo>
                      <a:pt x="36" y="119"/>
                      <a:pt x="37" y="120"/>
                      <a:pt x="38" y="121"/>
                    </a:cubicBezTo>
                    <a:cubicBezTo>
                      <a:pt x="39" y="122"/>
                      <a:pt x="40" y="122"/>
                      <a:pt x="41" y="122"/>
                    </a:cubicBezTo>
                    <a:cubicBezTo>
                      <a:pt x="44" y="122"/>
                      <a:pt x="46" y="122"/>
                      <a:pt x="48" y="122"/>
                    </a:cubicBezTo>
                    <a:cubicBezTo>
                      <a:pt x="50" y="121"/>
                      <a:pt x="52" y="120"/>
                      <a:pt x="53" y="120"/>
                    </a:cubicBezTo>
                    <a:cubicBezTo>
                      <a:pt x="54" y="119"/>
                      <a:pt x="55" y="118"/>
                      <a:pt x="56" y="116"/>
                    </a:cubicBezTo>
                    <a:cubicBezTo>
                      <a:pt x="57" y="115"/>
                      <a:pt x="57" y="114"/>
                      <a:pt x="58" y="113"/>
                    </a:cubicBezTo>
                    <a:cubicBezTo>
                      <a:pt x="58" y="112"/>
                      <a:pt x="59" y="110"/>
                      <a:pt x="59" y="109"/>
                    </a:cubicBezTo>
                    <a:cubicBezTo>
                      <a:pt x="59" y="107"/>
                      <a:pt x="59" y="106"/>
                      <a:pt x="59" y="105"/>
                    </a:cubicBezTo>
                    <a:cubicBezTo>
                      <a:pt x="59" y="104"/>
                      <a:pt x="59" y="103"/>
                      <a:pt x="59" y="102"/>
                    </a:cubicBezTo>
                    <a:cubicBezTo>
                      <a:pt x="59" y="100"/>
                      <a:pt x="59" y="98"/>
                      <a:pt x="59" y="96"/>
                    </a:cubicBezTo>
                    <a:cubicBezTo>
                      <a:pt x="58" y="94"/>
                      <a:pt x="58" y="92"/>
                      <a:pt x="57" y="91"/>
                    </a:cubicBezTo>
                    <a:cubicBezTo>
                      <a:pt x="57" y="90"/>
                      <a:pt x="56" y="88"/>
                      <a:pt x="55" y="87"/>
                    </a:cubicBezTo>
                    <a:cubicBezTo>
                      <a:pt x="55" y="86"/>
                      <a:pt x="54" y="86"/>
                      <a:pt x="54" y="85"/>
                    </a:cubicBezTo>
                    <a:cubicBezTo>
                      <a:pt x="54" y="85"/>
                      <a:pt x="53" y="84"/>
                      <a:pt x="53" y="83"/>
                    </a:cubicBezTo>
                    <a:cubicBezTo>
                      <a:pt x="53" y="83"/>
                      <a:pt x="53" y="82"/>
                      <a:pt x="52" y="81"/>
                    </a:cubicBezTo>
                    <a:cubicBezTo>
                      <a:pt x="75" y="81"/>
                      <a:pt x="75" y="81"/>
                      <a:pt x="75" y="81"/>
                    </a:cubicBezTo>
                    <a:cubicBezTo>
                      <a:pt x="79" y="81"/>
                      <a:pt x="82" y="80"/>
                      <a:pt x="85" y="77"/>
                    </a:cubicBezTo>
                    <a:cubicBezTo>
                      <a:pt x="88" y="74"/>
                      <a:pt x="90" y="70"/>
                      <a:pt x="90" y="66"/>
                    </a:cubicBezTo>
                    <a:cubicBezTo>
                      <a:pt x="90" y="62"/>
                      <a:pt x="89" y="58"/>
                      <a:pt x="86" y="54"/>
                    </a:cubicBezTo>
                    <a:close/>
                    <a:moveTo>
                      <a:pt x="86" y="54"/>
                    </a:moveTo>
                    <a:cubicBezTo>
                      <a:pt x="86" y="54"/>
                      <a:pt x="86" y="54"/>
                      <a:pt x="86" y="54"/>
                    </a:cubicBezTo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46" name="Freeform 207">
                <a:extLst>
                  <a:ext uri="{FF2B5EF4-FFF2-40B4-BE49-F238E27FC236}">
                    <a16:creationId xmlns:a16="http://schemas.microsoft.com/office/drawing/2014/main" id="{C30A5B6B-CDAB-4253-AF1C-C5A06858E2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23" y="2593"/>
                <a:ext cx="93" cy="171"/>
              </a:xfrm>
              <a:custGeom>
                <a:avLst/>
                <a:gdLst>
                  <a:gd name="T0" fmla="*/ 28 w 33"/>
                  <a:gd name="T1" fmla="*/ 61 h 61"/>
                  <a:gd name="T2" fmla="*/ 32 w 33"/>
                  <a:gd name="T3" fmla="*/ 60 h 61"/>
                  <a:gd name="T4" fmla="*/ 33 w 33"/>
                  <a:gd name="T5" fmla="*/ 56 h 61"/>
                  <a:gd name="T6" fmla="*/ 33 w 33"/>
                  <a:gd name="T7" fmla="*/ 5 h 61"/>
                  <a:gd name="T8" fmla="*/ 32 w 33"/>
                  <a:gd name="T9" fmla="*/ 1 h 61"/>
                  <a:gd name="T10" fmla="*/ 28 w 33"/>
                  <a:gd name="T11" fmla="*/ 0 h 61"/>
                  <a:gd name="T12" fmla="*/ 5 w 33"/>
                  <a:gd name="T13" fmla="*/ 0 h 61"/>
                  <a:gd name="T14" fmla="*/ 1 w 33"/>
                  <a:gd name="T15" fmla="*/ 1 h 61"/>
                  <a:gd name="T16" fmla="*/ 0 w 33"/>
                  <a:gd name="T17" fmla="*/ 5 h 61"/>
                  <a:gd name="T18" fmla="*/ 0 w 33"/>
                  <a:gd name="T19" fmla="*/ 56 h 61"/>
                  <a:gd name="T20" fmla="*/ 1 w 33"/>
                  <a:gd name="T21" fmla="*/ 60 h 61"/>
                  <a:gd name="T22" fmla="*/ 5 w 33"/>
                  <a:gd name="T23" fmla="*/ 61 h 61"/>
                  <a:gd name="T24" fmla="*/ 28 w 33"/>
                  <a:gd name="T25" fmla="*/ 61 h 61"/>
                  <a:gd name="T26" fmla="*/ 19 w 33"/>
                  <a:gd name="T27" fmla="*/ 12 h 61"/>
                  <a:gd name="T28" fmla="*/ 20 w 33"/>
                  <a:gd name="T29" fmla="*/ 15 h 61"/>
                  <a:gd name="T30" fmla="*/ 19 w 33"/>
                  <a:gd name="T31" fmla="*/ 19 h 61"/>
                  <a:gd name="T32" fmla="*/ 15 w 33"/>
                  <a:gd name="T33" fmla="*/ 20 h 61"/>
                  <a:gd name="T34" fmla="*/ 12 w 33"/>
                  <a:gd name="T35" fmla="*/ 19 h 61"/>
                  <a:gd name="T36" fmla="*/ 10 w 33"/>
                  <a:gd name="T37" fmla="*/ 15 h 61"/>
                  <a:gd name="T38" fmla="*/ 12 w 33"/>
                  <a:gd name="T39" fmla="*/ 12 h 61"/>
                  <a:gd name="T40" fmla="*/ 15 w 33"/>
                  <a:gd name="T41" fmla="*/ 10 h 61"/>
                  <a:gd name="T42" fmla="*/ 19 w 33"/>
                  <a:gd name="T43" fmla="*/ 12 h 61"/>
                  <a:gd name="T44" fmla="*/ 19 w 33"/>
                  <a:gd name="T45" fmla="*/ 12 h 61"/>
                  <a:gd name="T46" fmla="*/ 19 w 33"/>
                  <a:gd name="T47" fmla="*/ 12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3" h="61">
                    <a:moveTo>
                      <a:pt x="28" y="61"/>
                    </a:moveTo>
                    <a:cubicBezTo>
                      <a:pt x="30" y="61"/>
                      <a:pt x="31" y="61"/>
                      <a:pt x="32" y="60"/>
                    </a:cubicBezTo>
                    <a:cubicBezTo>
                      <a:pt x="33" y="59"/>
                      <a:pt x="33" y="58"/>
                      <a:pt x="33" y="56"/>
                    </a:cubicBezTo>
                    <a:cubicBezTo>
                      <a:pt x="33" y="5"/>
                      <a:pt x="33" y="5"/>
                      <a:pt x="33" y="5"/>
                    </a:cubicBezTo>
                    <a:cubicBezTo>
                      <a:pt x="33" y="4"/>
                      <a:pt x="33" y="2"/>
                      <a:pt x="32" y="1"/>
                    </a:cubicBezTo>
                    <a:cubicBezTo>
                      <a:pt x="31" y="0"/>
                      <a:pt x="30" y="0"/>
                      <a:pt x="28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0"/>
                      <a:pt x="3" y="0"/>
                      <a:pt x="1" y="1"/>
                    </a:cubicBezTo>
                    <a:cubicBezTo>
                      <a:pt x="0" y="2"/>
                      <a:pt x="0" y="4"/>
                      <a:pt x="0" y="5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58"/>
                      <a:pt x="0" y="59"/>
                      <a:pt x="1" y="60"/>
                    </a:cubicBezTo>
                    <a:cubicBezTo>
                      <a:pt x="3" y="61"/>
                      <a:pt x="4" y="61"/>
                      <a:pt x="5" y="61"/>
                    </a:cubicBezTo>
                    <a:cubicBezTo>
                      <a:pt x="28" y="61"/>
                      <a:pt x="28" y="61"/>
                      <a:pt x="28" y="61"/>
                    </a:cubicBezTo>
                    <a:close/>
                    <a:moveTo>
                      <a:pt x="19" y="12"/>
                    </a:moveTo>
                    <a:cubicBezTo>
                      <a:pt x="20" y="12"/>
                      <a:pt x="20" y="14"/>
                      <a:pt x="20" y="15"/>
                    </a:cubicBezTo>
                    <a:cubicBezTo>
                      <a:pt x="20" y="17"/>
                      <a:pt x="20" y="18"/>
                      <a:pt x="19" y="19"/>
                    </a:cubicBezTo>
                    <a:cubicBezTo>
                      <a:pt x="18" y="20"/>
                      <a:pt x="17" y="20"/>
                      <a:pt x="15" y="20"/>
                    </a:cubicBezTo>
                    <a:cubicBezTo>
                      <a:pt x="14" y="20"/>
                      <a:pt x="13" y="20"/>
                      <a:pt x="12" y="19"/>
                    </a:cubicBezTo>
                    <a:cubicBezTo>
                      <a:pt x="11" y="18"/>
                      <a:pt x="10" y="17"/>
                      <a:pt x="10" y="15"/>
                    </a:cubicBezTo>
                    <a:cubicBezTo>
                      <a:pt x="10" y="14"/>
                      <a:pt x="11" y="12"/>
                      <a:pt x="12" y="12"/>
                    </a:cubicBezTo>
                    <a:cubicBezTo>
                      <a:pt x="13" y="11"/>
                      <a:pt x="14" y="10"/>
                      <a:pt x="15" y="10"/>
                    </a:cubicBezTo>
                    <a:cubicBezTo>
                      <a:pt x="17" y="10"/>
                      <a:pt x="18" y="11"/>
                      <a:pt x="19" y="12"/>
                    </a:cubicBezTo>
                    <a:close/>
                    <a:moveTo>
                      <a:pt x="19" y="12"/>
                    </a:moveTo>
                    <a:cubicBezTo>
                      <a:pt x="19" y="12"/>
                      <a:pt x="19" y="12"/>
                      <a:pt x="19" y="12"/>
                    </a:cubicBezTo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47" name="Freeform 208">
                <a:extLst>
                  <a:ext uri="{FF2B5EF4-FFF2-40B4-BE49-F238E27FC236}">
                    <a16:creationId xmlns:a16="http://schemas.microsoft.com/office/drawing/2014/main" id="{D78CF9EA-0063-4FE0-8724-7A189E3A05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1" y="2621"/>
                <a:ext cx="28" cy="28"/>
              </a:xfrm>
              <a:custGeom>
                <a:avLst/>
                <a:gdLst>
                  <a:gd name="T0" fmla="*/ 9 w 10"/>
                  <a:gd name="T1" fmla="*/ 2 h 10"/>
                  <a:gd name="T2" fmla="*/ 9 w 10"/>
                  <a:gd name="T3" fmla="*/ 2 h 10"/>
                  <a:gd name="T4" fmla="*/ 5 w 10"/>
                  <a:gd name="T5" fmla="*/ 0 h 10"/>
                  <a:gd name="T6" fmla="*/ 2 w 10"/>
                  <a:gd name="T7" fmla="*/ 2 h 10"/>
                  <a:gd name="T8" fmla="*/ 0 w 10"/>
                  <a:gd name="T9" fmla="*/ 5 h 10"/>
                  <a:gd name="T10" fmla="*/ 2 w 10"/>
                  <a:gd name="T11" fmla="*/ 9 h 10"/>
                  <a:gd name="T12" fmla="*/ 5 w 10"/>
                  <a:gd name="T13" fmla="*/ 10 h 10"/>
                  <a:gd name="T14" fmla="*/ 9 w 10"/>
                  <a:gd name="T15" fmla="*/ 9 h 10"/>
                  <a:gd name="T16" fmla="*/ 10 w 10"/>
                  <a:gd name="T17" fmla="*/ 5 h 10"/>
                  <a:gd name="T18" fmla="*/ 9 w 10"/>
                  <a:gd name="T19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10">
                    <a:moveTo>
                      <a:pt x="9" y="2"/>
                    </a:moveTo>
                    <a:cubicBezTo>
                      <a:pt x="9" y="2"/>
                      <a:pt x="9" y="2"/>
                      <a:pt x="9" y="2"/>
                    </a:cubicBezTo>
                    <a:cubicBezTo>
                      <a:pt x="8" y="1"/>
                      <a:pt x="7" y="0"/>
                      <a:pt x="5" y="0"/>
                    </a:cubicBezTo>
                    <a:cubicBezTo>
                      <a:pt x="4" y="0"/>
                      <a:pt x="3" y="1"/>
                      <a:pt x="2" y="2"/>
                    </a:cubicBezTo>
                    <a:cubicBezTo>
                      <a:pt x="1" y="2"/>
                      <a:pt x="0" y="4"/>
                      <a:pt x="0" y="5"/>
                    </a:cubicBezTo>
                    <a:cubicBezTo>
                      <a:pt x="0" y="7"/>
                      <a:pt x="1" y="8"/>
                      <a:pt x="2" y="9"/>
                    </a:cubicBezTo>
                    <a:cubicBezTo>
                      <a:pt x="3" y="10"/>
                      <a:pt x="4" y="10"/>
                      <a:pt x="5" y="10"/>
                    </a:cubicBezTo>
                    <a:cubicBezTo>
                      <a:pt x="7" y="10"/>
                      <a:pt x="8" y="10"/>
                      <a:pt x="9" y="9"/>
                    </a:cubicBezTo>
                    <a:cubicBezTo>
                      <a:pt x="10" y="8"/>
                      <a:pt x="10" y="7"/>
                      <a:pt x="10" y="5"/>
                    </a:cubicBezTo>
                    <a:cubicBezTo>
                      <a:pt x="10" y="4"/>
                      <a:pt x="10" y="2"/>
                      <a:pt x="9" y="2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48" name="Freeform 209">
                <a:extLst>
                  <a:ext uri="{FF2B5EF4-FFF2-40B4-BE49-F238E27FC236}">
                    <a16:creationId xmlns:a16="http://schemas.microsoft.com/office/drawing/2014/main" id="{560B7D97-1750-4132-9FF8-264861D845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46" y="2615"/>
                <a:ext cx="39" cy="43"/>
              </a:xfrm>
              <a:custGeom>
                <a:avLst/>
                <a:gdLst>
                  <a:gd name="T0" fmla="*/ 12 w 14"/>
                  <a:gd name="T1" fmla="*/ 2 h 15"/>
                  <a:gd name="T2" fmla="*/ 14 w 14"/>
                  <a:gd name="T3" fmla="*/ 7 h 15"/>
                  <a:gd name="T4" fmla="*/ 12 w 14"/>
                  <a:gd name="T5" fmla="*/ 12 h 15"/>
                  <a:gd name="T6" fmla="*/ 2 w 14"/>
                  <a:gd name="T7" fmla="*/ 12 h 15"/>
                  <a:gd name="T8" fmla="*/ 0 w 14"/>
                  <a:gd name="T9" fmla="*/ 7 h 15"/>
                  <a:gd name="T10" fmla="*/ 2 w 14"/>
                  <a:gd name="T11" fmla="*/ 2 h 15"/>
                  <a:gd name="T12" fmla="*/ 7 w 14"/>
                  <a:gd name="T13" fmla="*/ 0 h 15"/>
                  <a:gd name="T14" fmla="*/ 12 w 14"/>
                  <a:gd name="T15" fmla="*/ 2 h 15"/>
                  <a:gd name="T16" fmla="*/ 10 w 14"/>
                  <a:gd name="T17" fmla="*/ 9 h 15"/>
                  <a:gd name="T18" fmla="*/ 10 w 14"/>
                  <a:gd name="T19" fmla="*/ 7 h 15"/>
                  <a:gd name="T20" fmla="*/ 10 w 14"/>
                  <a:gd name="T21" fmla="*/ 5 h 15"/>
                  <a:gd name="T22" fmla="*/ 10 w 14"/>
                  <a:gd name="T23" fmla="*/ 5 h 15"/>
                  <a:gd name="T24" fmla="*/ 5 w 14"/>
                  <a:gd name="T25" fmla="*/ 5 h 15"/>
                  <a:gd name="T26" fmla="*/ 4 w 14"/>
                  <a:gd name="T27" fmla="*/ 7 h 15"/>
                  <a:gd name="T28" fmla="*/ 5 w 14"/>
                  <a:gd name="T29" fmla="*/ 9 h 15"/>
                  <a:gd name="T30" fmla="*/ 7 w 14"/>
                  <a:gd name="T31" fmla="*/ 10 h 15"/>
                  <a:gd name="T32" fmla="*/ 10 w 14"/>
                  <a:gd name="T33" fmla="*/ 9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15">
                    <a:moveTo>
                      <a:pt x="12" y="2"/>
                    </a:moveTo>
                    <a:cubicBezTo>
                      <a:pt x="14" y="3"/>
                      <a:pt x="14" y="5"/>
                      <a:pt x="14" y="7"/>
                    </a:cubicBezTo>
                    <a:cubicBezTo>
                      <a:pt x="14" y="9"/>
                      <a:pt x="14" y="11"/>
                      <a:pt x="12" y="12"/>
                    </a:cubicBezTo>
                    <a:cubicBezTo>
                      <a:pt x="9" y="15"/>
                      <a:pt x="5" y="15"/>
                      <a:pt x="2" y="12"/>
                    </a:cubicBezTo>
                    <a:cubicBezTo>
                      <a:pt x="1" y="11"/>
                      <a:pt x="0" y="9"/>
                      <a:pt x="0" y="7"/>
                    </a:cubicBezTo>
                    <a:cubicBezTo>
                      <a:pt x="0" y="5"/>
                      <a:pt x="1" y="3"/>
                      <a:pt x="2" y="2"/>
                    </a:cubicBezTo>
                    <a:cubicBezTo>
                      <a:pt x="4" y="1"/>
                      <a:pt x="5" y="0"/>
                      <a:pt x="7" y="0"/>
                    </a:cubicBezTo>
                    <a:cubicBezTo>
                      <a:pt x="9" y="0"/>
                      <a:pt x="11" y="1"/>
                      <a:pt x="12" y="2"/>
                    </a:cubicBezTo>
                    <a:close/>
                    <a:moveTo>
                      <a:pt x="10" y="9"/>
                    </a:moveTo>
                    <a:cubicBezTo>
                      <a:pt x="10" y="9"/>
                      <a:pt x="10" y="8"/>
                      <a:pt x="10" y="7"/>
                    </a:cubicBezTo>
                    <a:cubicBezTo>
                      <a:pt x="10" y="6"/>
                      <a:pt x="10" y="6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8" y="4"/>
                      <a:pt x="6" y="4"/>
                      <a:pt x="5" y="5"/>
                    </a:cubicBezTo>
                    <a:cubicBezTo>
                      <a:pt x="4" y="6"/>
                      <a:pt x="4" y="6"/>
                      <a:pt x="4" y="7"/>
                    </a:cubicBezTo>
                    <a:cubicBezTo>
                      <a:pt x="4" y="8"/>
                      <a:pt x="5" y="9"/>
                      <a:pt x="5" y="9"/>
                    </a:cubicBezTo>
                    <a:cubicBezTo>
                      <a:pt x="6" y="10"/>
                      <a:pt x="6" y="10"/>
                      <a:pt x="7" y="10"/>
                    </a:cubicBezTo>
                    <a:cubicBezTo>
                      <a:pt x="8" y="10"/>
                      <a:pt x="9" y="10"/>
                      <a:pt x="10" y="9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87" name="Groupe 486">
            <a:extLst>
              <a:ext uri="{FF2B5EF4-FFF2-40B4-BE49-F238E27FC236}">
                <a16:creationId xmlns:a16="http://schemas.microsoft.com/office/drawing/2014/main" id="{4FED6630-FE24-4A9E-BE0D-E37785FE52DA}"/>
              </a:ext>
            </a:extLst>
          </p:cNvPr>
          <p:cNvGrpSpPr/>
          <p:nvPr/>
        </p:nvGrpSpPr>
        <p:grpSpPr>
          <a:xfrm>
            <a:off x="5859097" y="4246747"/>
            <a:ext cx="865004" cy="865444"/>
            <a:chOff x="4396124" y="3935887"/>
            <a:chExt cx="648743" cy="649073"/>
          </a:xfrm>
        </p:grpSpPr>
        <p:sp>
          <p:nvSpPr>
            <p:cNvPr id="633" name="Oval 5">
              <a:extLst>
                <a:ext uri="{FF2B5EF4-FFF2-40B4-BE49-F238E27FC236}">
                  <a16:creationId xmlns:a16="http://schemas.microsoft.com/office/drawing/2014/main" id="{DBB9FC15-E3C0-4F6F-9D30-90A7175FE2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6124" y="3935887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634" name="Group 212">
              <a:extLst>
                <a:ext uri="{FF2B5EF4-FFF2-40B4-BE49-F238E27FC236}">
                  <a16:creationId xmlns:a16="http://schemas.microsoft.com/office/drawing/2014/main" id="{47239CC3-D119-4D40-86E0-56BE5E0054E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539806" y="4096752"/>
              <a:ext cx="361378" cy="327342"/>
              <a:chOff x="2800" y="2584"/>
              <a:chExt cx="361" cy="327"/>
            </a:xfrm>
          </p:grpSpPr>
          <p:sp>
            <p:nvSpPr>
              <p:cNvPr id="635" name="Freeform 213">
                <a:extLst>
                  <a:ext uri="{FF2B5EF4-FFF2-40B4-BE49-F238E27FC236}">
                    <a16:creationId xmlns:a16="http://schemas.microsoft.com/office/drawing/2014/main" id="{E5B615DB-E98F-44BA-A886-B8812AA3F8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8" y="2584"/>
                <a:ext cx="273" cy="229"/>
              </a:xfrm>
              <a:custGeom>
                <a:avLst/>
                <a:gdLst>
                  <a:gd name="T0" fmla="*/ 97 w 97"/>
                  <a:gd name="T1" fmla="*/ 81 h 81"/>
                  <a:gd name="T2" fmla="*/ 90 w 97"/>
                  <a:gd name="T3" fmla="*/ 59 h 81"/>
                  <a:gd name="T4" fmla="*/ 96 w 97"/>
                  <a:gd name="T5" fmla="*/ 40 h 81"/>
                  <a:gd name="T6" fmla="*/ 48 w 97"/>
                  <a:gd name="T7" fmla="*/ 0 h 81"/>
                  <a:gd name="T8" fmla="*/ 0 w 97"/>
                  <a:gd name="T9" fmla="*/ 40 h 81"/>
                  <a:gd name="T10" fmla="*/ 48 w 97"/>
                  <a:gd name="T11" fmla="*/ 80 h 81"/>
                  <a:gd name="T12" fmla="*/ 74 w 97"/>
                  <a:gd name="T13" fmla="*/ 74 h 81"/>
                  <a:gd name="T14" fmla="*/ 97 w 97"/>
                  <a:gd name="T15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7" h="81">
                    <a:moveTo>
                      <a:pt x="97" y="81"/>
                    </a:moveTo>
                    <a:cubicBezTo>
                      <a:pt x="90" y="59"/>
                      <a:pt x="90" y="59"/>
                      <a:pt x="90" y="59"/>
                    </a:cubicBezTo>
                    <a:cubicBezTo>
                      <a:pt x="94" y="54"/>
                      <a:pt x="96" y="47"/>
                      <a:pt x="96" y="40"/>
                    </a:cubicBezTo>
                    <a:cubicBezTo>
                      <a:pt x="96" y="18"/>
                      <a:pt x="75" y="0"/>
                      <a:pt x="48" y="0"/>
                    </a:cubicBezTo>
                    <a:cubicBezTo>
                      <a:pt x="22" y="0"/>
                      <a:pt x="0" y="18"/>
                      <a:pt x="0" y="40"/>
                    </a:cubicBezTo>
                    <a:cubicBezTo>
                      <a:pt x="0" y="62"/>
                      <a:pt x="22" y="80"/>
                      <a:pt x="48" y="80"/>
                    </a:cubicBezTo>
                    <a:cubicBezTo>
                      <a:pt x="58" y="80"/>
                      <a:pt x="67" y="78"/>
                      <a:pt x="74" y="74"/>
                    </a:cubicBezTo>
                    <a:lnTo>
                      <a:pt x="97" y="81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36" name="Freeform 214">
                <a:extLst>
                  <a:ext uri="{FF2B5EF4-FFF2-40B4-BE49-F238E27FC236}">
                    <a16:creationId xmlns:a16="http://schemas.microsoft.com/office/drawing/2014/main" id="{655F8CD5-F106-4737-A8C2-E954CB1174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0" y="2641"/>
                <a:ext cx="305" cy="270"/>
              </a:xfrm>
              <a:custGeom>
                <a:avLst/>
                <a:gdLst>
                  <a:gd name="T0" fmla="*/ 54 w 108"/>
                  <a:gd name="T1" fmla="*/ 0 h 96"/>
                  <a:gd name="T2" fmla="*/ 0 w 108"/>
                  <a:gd name="T3" fmla="*/ 48 h 96"/>
                  <a:gd name="T4" fmla="*/ 8 w 108"/>
                  <a:gd name="T5" fmla="*/ 72 h 96"/>
                  <a:gd name="T6" fmla="*/ 0 w 108"/>
                  <a:gd name="T7" fmla="*/ 96 h 96"/>
                  <a:gd name="T8" fmla="*/ 25 w 108"/>
                  <a:gd name="T9" fmla="*/ 88 h 96"/>
                  <a:gd name="T10" fmla="*/ 54 w 108"/>
                  <a:gd name="T11" fmla="*/ 96 h 96"/>
                  <a:gd name="T12" fmla="*/ 108 w 108"/>
                  <a:gd name="T13" fmla="*/ 48 h 96"/>
                  <a:gd name="T14" fmla="*/ 54 w 108"/>
                  <a:gd name="T15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8" h="96">
                    <a:moveTo>
                      <a:pt x="54" y="0"/>
                    </a:moveTo>
                    <a:cubicBezTo>
                      <a:pt x="24" y="0"/>
                      <a:pt x="0" y="22"/>
                      <a:pt x="0" y="48"/>
                    </a:cubicBezTo>
                    <a:cubicBezTo>
                      <a:pt x="0" y="57"/>
                      <a:pt x="3" y="65"/>
                      <a:pt x="8" y="72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25" y="88"/>
                      <a:pt x="25" y="88"/>
                      <a:pt x="25" y="88"/>
                    </a:cubicBezTo>
                    <a:cubicBezTo>
                      <a:pt x="33" y="93"/>
                      <a:pt x="43" y="96"/>
                      <a:pt x="54" y="96"/>
                    </a:cubicBezTo>
                    <a:cubicBezTo>
                      <a:pt x="84" y="96"/>
                      <a:pt x="108" y="75"/>
                      <a:pt x="108" y="48"/>
                    </a:cubicBezTo>
                    <a:cubicBezTo>
                      <a:pt x="108" y="22"/>
                      <a:pt x="84" y="0"/>
                      <a:pt x="54" y="0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37" name="Oval 215">
                <a:extLst>
                  <a:ext uri="{FF2B5EF4-FFF2-40B4-BE49-F238E27FC236}">
                    <a16:creationId xmlns:a16="http://schemas.microsoft.com/office/drawing/2014/main" id="{C6512136-9E83-408A-99B6-A7D9FC0744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71" y="2759"/>
                <a:ext cx="36" cy="34"/>
              </a:xfrm>
              <a:prstGeom prst="ellipse">
                <a:avLst/>
              </a:pr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38" name="Freeform 216">
                <a:extLst>
                  <a:ext uri="{FF2B5EF4-FFF2-40B4-BE49-F238E27FC236}">
                    <a16:creationId xmlns:a16="http://schemas.microsoft.com/office/drawing/2014/main" id="{0EA95867-D4EE-4EE0-9964-6DB0F39D2D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65" y="2754"/>
                <a:ext cx="45" cy="45"/>
              </a:xfrm>
              <a:custGeom>
                <a:avLst/>
                <a:gdLst>
                  <a:gd name="T0" fmla="*/ 8 w 16"/>
                  <a:gd name="T1" fmla="*/ 4 h 16"/>
                  <a:gd name="T2" fmla="*/ 13 w 16"/>
                  <a:gd name="T3" fmla="*/ 8 h 16"/>
                  <a:gd name="T4" fmla="*/ 8 w 16"/>
                  <a:gd name="T5" fmla="*/ 13 h 16"/>
                  <a:gd name="T6" fmla="*/ 4 w 16"/>
                  <a:gd name="T7" fmla="*/ 8 h 16"/>
                  <a:gd name="T8" fmla="*/ 8 w 16"/>
                  <a:gd name="T9" fmla="*/ 4 h 16"/>
                  <a:gd name="T10" fmla="*/ 8 w 16"/>
                  <a:gd name="T11" fmla="*/ 0 h 16"/>
                  <a:gd name="T12" fmla="*/ 0 w 16"/>
                  <a:gd name="T13" fmla="*/ 8 h 16"/>
                  <a:gd name="T14" fmla="*/ 8 w 16"/>
                  <a:gd name="T15" fmla="*/ 16 h 16"/>
                  <a:gd name="T16" fmla="*/ 16 w 16"/>
                  <a:gd name="T17" fmla="*/ 8 h 16"/>
                  <a:gd name="T18" fmla="*/ 8 w 16"/>
                  <a:gd name="T1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16">
                    <a:moveTo>
                      <a:pt x="8" y="4"/>
                    </a:moveTo>
                    <a:cubicBezTo>
                      <a:pt x="11" y="4"/>
                      <a:pt x="13" y="6"/>
                      <a:pt x="13" y="8"/>
                    </a:cubicBezTo>
                    <a:cubicBezTo>
                      <a:pt x="13" y="11"/>
                      <a:pt x="11" y="13"/>
                      <a:pt x="8" y="13"/>
                    </a:cubicBezTo>
                    <a:cubicBezTo>
                      <a:pt x="6" y="13"/>
                      <a:pt x="4" y="11"/>
                      <a:pt x="4" y="8"/>
                    </a:cubicBezTo>
                    <a:cubicBezTo>
                      <a:pt x="4" y="6"/>
                      <a:pt x="6" y="4"/>
                      <a:pt x="8" y="4"/>
                    </a:cubicBezTo>
                    <a:moveTo>
                      <a:pt x="8" y="0"/>
                    </a:moveTo>
                    <a:cubicBezTo>
                      <a:pt x="4" y="0"/>
                      <a:pt x="0" y="4"/>
                      <a:pt x="0" y="8"/>
                    </a:cubicBezTo>
                    <a:cubicBezTo>
                      <a:pt x="0" y="13"/>
                      <a:pt x="4" y="16"/>
                      <a:pt x="8" y="16"/>
                    </a:cubicBezTo>
                    <a:cubicBezTo>
                      <a:pt x="13" y="16"/>
                      <a:pt x="16" y="13"/>
                      <a:pt x="16" y="8"/>
                    </a:cubicBezTo>
                    <a:cubicBezTo>
                      <a:pt x="16" y="4"/>
                      <a:pt x="13" y="0"/>
                      <a:pt x="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39" name="Oval 217">
                <a:extLst>
                  <a:ext uri="{FF2B5EF4-FFF2-40B4-BE49-F238E27FC236}">
                    <a16:creationId xmlns:a16="http://schemas.microsoft.com/office/drawing/2014/main" id="{34B17129-2624-4AF8-A7BE-C43DB3FD9D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38" y="2759"/>
                <a:ext cx="37" cy="34"/>
              </a:xfrm>
              <a:prstGeom prst="ellipse">
                <a:avLst/>
              </a:pr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40" name="Freeform 218">
                <a:extLst>
                  <a:ext uri="{FF2B5EF4-FFF2-40B4-BE49-F238E27FC236}">
                    <a16:creationId xmlns:a16="http://schemas.microsoft.com/office/drawing/2014/main" id="{D016B32B-38CF-4C5D-8D94-D910EC3E362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33" y="2754"/>
                <a:ext cx="45" cy="45"/>
              </a:xfrm>
              <a:custGeom>
                <a:avLst/>
                <a:gdLst>
                  <a:gd name="T0" fmla="*/ 8 w 16"/>
                  <a:gd name="T1" fmla="*/ 4 h 16"/>
                  <a:gd name="T2" fmla="*/ 13 w 16"/>
                  <a:gd name="T3" fmla="*/ 8 h 16"/>
                  <a:gd name="T4" fmla="*/ 8 w 16"/>
                  <a:gd name="T5" fmla="*/ 13 h 16"/>
                  <a:gd name="T6" fmla="*/ 4 w 16"/>
                  <a:gd name="T7" fmla="*/ 8 h 16"/>
                  <a:gd name="T8" fmla="*/ 8 w 16"/>
                  <a:gd name="T9" fmla="*/ 4 h 16"/>
                  <a:gd name="T10" fmla="*/ 8 w 16"/>
                  <a:gd name="T11" fmla="*/ 0 h 16"/>
                  <a:gd name="T12" fmla="*/ 0 w 16"/>
                  <a:gd name="T13" fmla="*/ 8 h 16"/>
                  <a:gd name="T14" fmla="*/ 8 w 16"/>
                  <a:gd name="T15" fmla="*/ 16 h 16"/>
                  <a:gd name="T16" fmla="*/ 16 w 16"/>
                  <a:gd name="T17" fmla="*/ 8 h 16"/>
                  <a:gd name="T18" fmla="*/ 8 w 16"/>
                  <a:gd name="T1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16">
                    <a:moveTo>
                      <a:pt x="8" y="4"/>
                    </a:moveTo>
                    <a:cubicBezTo>
                      <a:pt x="11" y="4"/>
                      <a:pt x="13" y="6"/>
                      <a:pt x="13" y="8"/>
                    </a:cubicBezTo>
                    <a:cubicBezTo>
                      <a:pt x="13" y="11"/>
                      <a:pt x="11" y="13"/>
                      <a:pt x="8" y="13"/>
                    </a:cubicBezTo>
                    <a:cubicBezTo>
                      <a:pt x="6" y="13"/>
                      <a:pt x="4" y="11"/>
                      <a:pt x="4" y="8"/>
                    </a:cubicBezTo>
                    <a:cubicBezTo>
                      <a:pt x="4" y="6"/>
                      <a:pt x="6" y="4"/>
                      <a:pt x="8" y="4"/>
                    </a:cubicBezTo>
                    <a:moveTo>
                      <a:pt x="8" y="0"/>
                    </a:moveTo>
                    <a:cubicBezTo>
                      <a:pt x="4" y="0"/>
                      <a:pt x="0" y="4"/>
                      <a:pt x="0" y="8"/>
                    </a:cubicBezTo>
                    <a:cubicBezTo>
                      <a:pt x="0" y="13"/>
                      <a:pt x="4" y="16"/>
                      <a:pt x="8" y="16"/>
                    </a:cubicBezTo>
                    <a:cubicBezTo>
                      <a:pt x="13" y="16"/>
                      <a:pt x="16" y="13"/>
                      <a:pt x="16" y="8"/>
                    </a:cubicBezTo>
                    <a:cubicBezTo>
                      <a:pt x="16" y="4"/>
                      <a:pt x="13" y="0"/>
                      <a:pt x="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41" name="Oval 219">
                <a:extLst>
                  <a:ext uri="{FF2B5EF4-FFF2-40B4-BE49-F238E27FC236}">
                    <a16:creationId xmlns:a16="http://schemas.microsoft.com/office/drawing/2014/main" id="{83EDFC42-0373-40EC-9FD8-E99017FCA0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06" y="2759"/>
                <a:ext cx="37" cy="34"/>
              </a:xfrm>
              <a:prstGeom prst="ellipse">
                <a:avLst/>
              </a:pr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42" name="Freeform 220">
                <a:extLst>
                  <a:ext uri="{FF2B5EF4-FFF2-40B4-BE49-F238E27FC236}">
                    <a16:creationId xmlns:a16="http://schemas.microsoft.com/office/drawing/2014/main" id="{6D8C7D8A-9786-4C1C-B166-E6654CB887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0" y="2754"/>
                <a:ext cx="45" cy="45"/>
              </a:xfrm>
              <a:custGeom>
                <a:avLst/>
                <a:gdLst>
                  <a:gd name="T0" fmla="*/ 8 w 16"/>
                  <a:gd name="T1" fmla="*/ 4 h 16"/>
                  <a:gd name="T2" fmla="*/ 13 w 16"/>
                  <a:gd name="T3" fmla="*/ 8 h 16"/>
                  <a:gd name="T4" fmla="*/ 8 w 16"/>
                  <a:gd name="T5" fmla="*/ 13 h 16"/>
                  <a:gd name="T6" fmla="*/ 4 w 16"/>
                  <a:gd name="T7" fmla="*/ 8 h 16"/>
                  <a:gd name="T8" fmla="*/ 8 w 16"/>
                  <a:gd name="T9" fmla="*/ 4 h 16"/>
                  <a:gd name="T10" fmla="*/ 8 w 16"/>
                  <a:gd name="T11" fmla="*/ 0 h 16"/>
                  <a:gd name="T12" fmla="*/ 0 w 16"/>
                  <a:gd name="T13" fmla="*/ 8 h 16"/>
                  <a:gd name="T14" fmla="*/ 8 w 16"/>
                  <a:gd name="T15" fmla="*/ 16 h 16"/>
                  <a:gd name="T16" fmla="*/ 16 w 16"/>
                  <a:gd name="T17" fmla="*/ 8 h 16"/>
                  <a:gd name="T18" fmla="*/ 8 w 16"/>
                  <a:gd name="T1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16">
                    <a:moveTo>
                      <a:pt x="8" y="4"/>
                    </a:moveTo>
                    <a:cubicBezTo>
                      <a:pt x="11" y="4"/>
                      <a:pt x="13" y="6"/>
                      <a:pt x="13" y="8"/>
                    </a:cubicBezTo>
                    <a:cubicBezTo>
                      <a:pt x="13" y="11"/>
                      <a:pt x="11" y="13"/>
                      <a:pt x="8" y="13"/>
                    </a:cubicBezTo>
                    <a:cubicBezTo>
                      <a:pt x="6" y="13"/>
                      <a:pt x="4" y="11"/>
                      <a:pt x="4" y="8"/>
                    </a:cubicBezTo>
                    <a:cubicBezTo>
                      <a:pt x="4" y="6"/>
                      <a:pt x="6" y="4"/>
                      <a:pt x="8" y="4"/>
                    </a:cubicBezTo>
                    <a:moveTo>
                      <a:pt x="8" y="0"/>
                    </a:moveTo>
                    <a:cubicBezTo>
                      <a:pt x="4" y="0"/>
                      <a:pt x="0" y="4"/>
                      <a:pt x="0" y="8"/>
                    </a:cubicBezTo>
                    <a:cubicBezTo>
                      <a:pt x="0" y="13"/>
                      <a:pt x="4" y="16"/>
                      <a:pt x="8" y="16"/>
                    </a:cubicBezTo>
                    <a:cubicBezTo>
                      <a:pt x="13" y="16"/>
                      <a:pt x="16" y="13"/>
                      <a:pt x="16" y="8"/>
                    </a:cubicBezTo>
                    <a:cubicBezTo>
                      <a:pt x="16" y="4"/>
                      <a:pt x="13" y="0"/>
                      <a:pt x="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88" name="Groupe 487">
            <a:extLst>
              <a:ext uri="{FF2B5EF4-FFF2-40B4-BE49-F238E27FC236}">
                <a16:creationId xmlns:a16="http://schemas.microsoft.com/office/drawing/2014/main" id="{FEC8B7AB-1329-4A50-B16D-75987D86780B}"/>
              </a:ext>
            </a:extLst>
          </p:cNvPr>
          <p:cNvGrpSpPr/>
          <p:nvPr/>
        </p:nvGrpSpPr>
        <p:grpSpPr>
          <a:xfrm>
            <a:off x="10225783" y="1960229"/>
            <a:ext cx="865004" cy="865444"/>
            <a:chOff x="7671088" y="1988559"/>
            <a:chExt cx="648743" cy="649073"/>
          </a:xfrm>
        </p:grpSpPr>
        <p:sp>
          <p:nvSpPr>
            <p:cNvPr id="615" name="Oval 5">
              <a:extLst>
                <a:ext uri="{FF2B5EF4-FFF2-40B4-BE49-F238E27FC236}">
                  <a16:creationId xmlns:a16="http://schemas.microsoft.com/office/drawing/2014/main" id="{E02D4EF4-D173-4D35-B950-3786083E7F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1088" y="1988559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616" name="Group 223">
              <a:extLst>
                <a:ext uri="{FF2B5EF4-FFF2-40B4-BE49-F238E27FC236}">
                  <a16:creationId xmlns:a16="http://schemas.microsoft.com/office/drawing/2014/main" id="{83F27842-179C-429F-884D-B63CE8F2B53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794655" y="2166151"/>
              <a:ext cx="401608" cy="293888"/>
              <a:chOff x="4898" y="1341"/>
              <a:chExt cx="343" cy="251"/>
            </a:xfrm>
          </p:grpSpPr>
          <p:sp>
            <p:nvSpPr>
              <p:cNvPr id="617" name="Freeform 224">
                <a:extLst>
                  <a:ext uri="{FF2B5EF4-FFF2-40B4-BE49-F238E27FC236}">
                    <a16:creationId xmlns:a16="http://schemas.microsoft.com/office/drawing/2014/main" id="{D1F7EA3F-F96F-4012-819A-FDAB7ACD08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8" y="1341"/>
                <a:ext cx="248" cy="251"/>
              </a:xfrm>
              <a:custGeom>
                <a:avLst/>
                <a:gdLst>
                  <a:gd name="T0" fmla="*/ 84 w 88"/>
                  <a:gd name="T1" fmla="*/ 0 h 88"/>
                  <a:gd name="T2" fmla="*/ 4 w 88"/>
                  <a:gd name="T3" fmla="*/ 0 h 88"/>
                  <a:gd name="T4" fmla="*/ 0 w 88"/>
                  <a:gd name="T5" fmla="*/ 4 h 88"/>
                  <a:gd name="T6" fmla="*/ 0 w 88"/>
                  <a:gd name="T7" fmla="*/ 88 h 88"/>
                  <a:gd name="T8" fmla="*/ 88 w 88"/>
                  <a:gd name="T9" fmla="*/ 88 h 88"/>
                  <a:gd name="T10" fmla="*/ 88 w 88"/>
                  <a:gd name="T11" fmla="*/ 4 h 88"/>
                  <a:gd name="T12" fmla="*/ 84 w 88"/>
                  <a:gd name="T13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8" h="88">
                    <a:moveTo>
                      <a:pt x="84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88" y="88"/>
                      <a:pt x="88" y="88"/>
                      <a:pt x="88" y="88"/>
                    </a:cubicBezTo>
                    <a:cubicBezTo>
                      <a:pt x="88" y="4"/>
                      <a:pt x="88" y="4"/>
                      <a:pt x="88" y="4"/>
                    </a:cubicBezTo>
                    <a:cubicBezTo>
                      <a:pt x="88" y="2"/>
                      <a:pt x="86" y="0"/>
                      <a:pt x="84" y="0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18" name="Freeform 225">
                <a:extLst>
                  <a:ext uri="{FF2B5EF4-FFF2-40B4-BE49-F238E27FC236}">
                    <a16:creationId xmlns:a16="http://schemas.microsoft.com/office/drawing/2014/main" id="{C21DB4F1-2447-41AC-8E3D-F4B5595AF9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8" y="1341"/>
                <a:ext cx="124" cy="251"/>
              </a:xfrm>
              <a:custGeom>
                <a:avLst/>
                <a:gdLst>
                  <a:gd name="T0" fmla="*/ 44 w 44"/>
                  <a:gd name="T1" fmla="*/ 0 h 88"/>
                  <a:gd name="T2" fmla="*/ 4 w 44"/>
                  <a:gd name="T3" fmla="*/ 0 h 88"/>
                  <a:gd name="T4" fmla="*/ 0 w 44"/>
                  <a:gd name="T5" fmla="*/ 4 h 88"/>
                  <a:gd name="T6" fmla="*/ 0 w 44"/>
                  <a:gd name="T7" fmla="*/ 88 h 88"/>
                  <a:gd name="T8" fmla="*/ 44 w 44"/>
                  <a:gd name="T9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88">
                    <a:moveTo>
                      <a:pt x="44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44" y="88"/>
                      <a:pt x="44" y="88"/>
                      <a:pt x="44" y="88"/>
                    </a:cubicBezTo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19" name="Rectangle 226">
                <a:extLst>
                  <a:ext uri="{FF2B5EF4-FFF2-40B4-BE49-F238E27FC236}">
                    <a16:creationId xmlns:a16="http://schemas.microsoft.com/office/drawing/2014/main" id="{2D431AB3-5950-4FD9-8737-7E5298DE8B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46" y="1486"/>
                <a:ext cx="155" cy="106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20" name="Freeform 227">
                <a:extLst>
                  <a:ext uri="{FF2B5EF4-FFF2-40B4-BE49-F238E27FC236}">
                    <a16:creationId xmlns:a16="http://schemas.microsoft.com/office/drawing/2014/main" id="{CC7B7DDC-85D5-4A21-B95D-8D82C1A505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6" y="1486"/>
                <a:ext cx="155" cy="106"/>
              </a:xfrm>
              <a:custGeom>
                <a:avLst/>
                <a:gdLst>
                  <a:gd name="T0" fmla="*/ 155 w 155"/>
                  <a:gd name="T1" fmla="*/ 106 h 106"/>
                  <a:gd name="T2" fmla="*/ 155 w 155"/>
                  <a:gd name="T3" fmla="*/ 0 h 106"/>
                  <a:gd name="T4" fmla="*/ 0 w 155"/>
                  <a:gd name="T5" fmla="*/ 0 h 106"/>
                  <a:gd name="T6" fmla="*/ 0 w 155"/>
                  <a:gd name="T7" fmla="*/ 106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5" h="106">
                    <a:moveTo>
                      <a:pt x="155" y="106"/>
                    </a:moveTo>
                    <a:lnTo>
                      <a:pt x="155" y="0"/>
                    </a:lnTo>
                    <a:lnTo>
                      <a:pt x="0" y="0"/>
                    </a:lnTo>
                    <a:lnTo>
                      <a:pt x="0" y="106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21" name="Freeform 228">
                <a:extLst>
                  <a:ext uri="{FF2B5EF4-FFF2-40B4-BE49-F238E27FC236}">
                    <a16:creationId xmlns:a16="http://schemas.microsoft.com/office/drawing/2014/main" id="{B71720E0-5CE2-487C-B1B7-9991094D6C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0" y="1478"/>
                <a:ext cx="163" cy="114"/>
              </a:xfrm>
              <a:custGeom>
                <a:avLst/>
                <a:gdLst>
                  <a:gd name="T0" fmla="*/ 0 w 163"/>
                  <a:gd name="T1" fmla="*/ 0 h 114"/>
                  <a:gd name="T2" fmla="*/ 0 w 163"/>
                  <a:gd name="T3" fmla="*/ 114 h 114"/>
                  <a:gd name="T4" fmla="*/ 11 w 163"/>
                  <a:gd name="T5" fmla="*/ 114 h 114"/>
                  <a:gd name="T6" fmla="*/ 11 w 163"/>
                  <a:gd name="T7" fmla="*/ 11 h 114"/>
                  <a:gd name="T8" fmla="*/ 76 w 163"/>
                  <a:gd name="T9" fmla="*/ 11 h 114"/>
                  <a:gd name="T10" fmla="*/ 76 w 163"/>
                  <a:gd name="T11" fmla="*/ 114 h 114"/>
                  <a:gd name="T12" fmla="*/ 87 w 163"/>
                  <a:gd name="T13" fmla="*/ 114 h 114"/>
                  <a:gd name="T14" fmla="*/ 87 w 163"/>
                  <a:gd name="T15" fmla="*/ 11 h 114"/>
                  <a:gd name="T16" fmla="*/ 152 w 163"/>
                  <a:gd name="T17" fmla="*/ 11 h 114"/>
                  <a:gd name="T18" fmla="*/ 152 w 163"/>
                  <a:gd name="T19" fmla="*/ 114 h 114"/>
                  <a:gd name="T20" fmla="*/ 163 w 163"/>
                  <a:gd name="T21" fmla="*/ 114 h 114"/>
                  <a:gd name="T22" fmla="*/ 163 w 163"/>
                  <a:gd name="T23" fmla="*/ 0 h 114"/>
                  <a:gd name="T24" fmla="*/ 0 w 163"/>
                  <a:gd name="T25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3" h="114">
                    <a:moveTo>
                      <a:pt x="0" y="0"/>
                    </a:moveTo>
                    <a:lnTo>
                      <a:pt x="0" y="114"/>
                    </a:lnTo>
                    <a:lnTo>
                      <a:pt x="11" y="114"/>
                    </a:lnTo>
                    <a:lnTo>
                      <a:pt x="11" y="11"/>
                    </a:lnTo>
                    <a:lnTo>
                      <a:pt x="76" y="11"/>
                    </a:lnTo>
                    <a:lnTo>
                      <a:pt x="76" y="114"/>
                    </a:lnTo>
                    <a:lnTo>
                      <a:pt x="87" y="114"/>
                    </a:lnTo>
                    <a:lnTo>
                      <a:pt x="87" y="11"/>
                    </a:lnTo>
                    <a:lnTo>
                      <a:pt x="152" y="11"/>
                    </a:lnTo>
                    <a:lnTo>
                      <a:pt x="152" y="114"/>
                    </a:lnTo>
                    <a:lnTo>
                      <a:pt x="163" y="114"/>
                    </a:lnTo>
                    <a:lnTo>
                      <a:pt x="16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22" name="Freeform 229">
                <a:extLst>
                  <a:ext uri="{FF2B5EF4-FFF2-40B4-BE49-F238E27FC236}">
                    <a16:creationId xmlns:a16="http://schemas.microsoft.com/office/drawing/2014/main" id="{94AA74B9-9AA4-4985-B397-BEC4C75A1A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0" y="1424"/>
                <a:ext cx="23" cy="31"/>
              </a:xfrm>
              <a:custGeom>
                <a:avLst/>
                <a:gdLst>
                  <a:gd name="T0" fmla="*/ 6 w 8"/>
                  <a:gd name="T1" fmla="*/ 11 h 11"/>
                  <a:gd name="T2" fmla="*/ 2 w 8"/>
                  <a:gd name="T3" fmla="*/ 11 h 11"/>
                  <a:gd name="T4" fmla="*/ 0 w 8"/>
                  <a:gd name="T5" fmla="*/ 9 h 11"/>
                  <a:gd name="T6" fmla="*/ 0 w 8"/>
                  <a:gd name="T7" fmla="*/ 2 h 11"/>
                  <a:gd name="T8" fmla="*/ 2 w 8"/>
                  <a:gd name="T9" fmla="*/ 0 h 11"/>
                  <a:gd name="T10" fmla="*/ 6 w 8"/>
                  <a:gd name="T11" fmla="*/ 0 h 11"/>
                  <a:gd name="T12" fmla="*/ 8 w 8"/>
                  <a:gd name="T13" fmla="*/ 2 h 11"/>
                  <a:gd name="T14" fmla="*/ 8 w 8"/>
                  <a:gd name="T15" fmla="*/ 9 h 11"/>
                  <a:gd name="T16" fmla="*/ 6 w 8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1">
                    <a:moveTo>
                      <a:pt x="6" y="11"/>
                    </a:moveTo>
                    <a:cubicBezTo>
                      <a:pt x="2" y="11"/>
                      <a:pt x="2" y="11"/>
                      <a:pt x="2" y="11"/>
                    </a:cubicBezTo>
                    <a:cubicBezTo>
                      <a:pt x="0" y="11"/>
                      <a:pt x="0" y="10"/>
                      <a:pt x="0" y="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8" y="10"/>
                      <a:pt x="7" y="11"/>
                      <a:pt x="6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23" name="Freeform 230">
                <a:extLst>
                  <a:ext uri="{FF2B5EF4-FFF2-40B4-BE49-F238E27FC236}">
                    <a16:creationId xmlns:a16="http://schemas.microsoft.com/office/drawing/2014/main" id="{A007FDCD-40A1-44BE-A579-044B608B43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8" y="1424"/>
                <a:ext cx="23" cy="31"/>
              </a:xfrm>
              <a:custGeom>
                <a:avLst/>
                <a:gdLst>
                  <a:gd name="T0" fmla="*/ 6 w 8"/>
                  <a:gd name="T1" fmla="*/ 11 h 11"/>
                  <a:gd name="T2" fmla="*/ 2 w 8"/>
                  <a:gd name="T3" fmla="*/ 11 h 11"/>
                  <a:gd name="T4" fmla="*/ 0 w 8"/>
                  <a:gd name="T5" fmla="*/ 9 h 11"/>
                  <a:gd name="T6" fmla="*/ 0 w 8"/>
                  <a:gd name="T7" fmla="*/ 2 h 11"/>
                  <a:gd name="T8" fmla="*/ 2 w 8"/>
                  <a:gd name="T9" fmla="*/ 0 h 11"/>
                  <a:gd name="T10" fmla="*/ 6 w 8"/>
                  <a:gd name="T11" fmla="*/ 0 h 11"/>
                  <a:gd name="T12" fmla="*/ 8 w 8"/>
                  <a:gd name="T13" fmla="*/ 2 h 11"/>
                  <a:gd name="T14" fmla="*/ 8 w 8"/>
                  <a:gd name="T15" fmla="*/ 9 h 11"/>
                  <a:gd name="T16" fmla="*/ 6 w 8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1">
                    <a:moveTo>
                      <a:pt x="6" y="11"/>
                    </a:moveTo>
                    <a:cubicBezTo>
                      <a:pt x="2" y="11"/>
                      <a:pt x="2" y="11"/>
                      <a:pt x="2" y="11"/>
                    </a:cubicBezTo>
                    <a:cubicBezTo>
                      <a:pt x="0" y="11"/>
                      <a:pt x="0" y="10"/>
                      <a:pt x="0" y="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8" y="10"/>
                      <a:pt x="7" y="11"/>
                      <a:pt x="6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24" name="Freeform 231">
                <a:extLst>
                  <a:ext uri="{FF2B5EF4-FFF2-40B4-BE49-F238E27FC236}">
                    <a16:creationId xmlns:a16="http://schemas.microsoft.com/office/drawing/2014/main" id="{B78AE7E1-2002-4D38-8DD9-925500D5A7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3" y="1424"/>
                <a:ext cx="23" cy="31"/>
              </a:xfrm>
              <a:custGeom>
                <a:avLst/>
                <a:gdLst>
                  <a:gd name="T0" fmla="*/ 6 w 8"/>
                  <a:gd name="T1" fmla="*/ 11 h 11"/>
                  <a:gd name="T2" fmla="*/ 2 w 8"/>
                  <a:gd name="T3" fmla="*/ 11 h 11"/>
                  <a:gd name="T4" fmla="*/ 0 w 8"/>
                  <a:gd name="T5" fmla="*/ 9 h 11"/>
                  <a:gd name="T6" fmla="*/ 0 w 8"/>
                  <a:gd name="T7" fmla="*/ 2 h 11"/>
                  <a:gd name="T8" fmla="*/ 2 w 8"/>
                  <a:gd name="T9" fmla="*/ 0 h 11"/>
                  <a:gd name="T10" fmla="*/ 6 w 8"/>
                  <a:gd name="T11" fmla="*/ 0 h 11"/>
                  <a:gd name="T12" fmla="*/ 8 w 8"/>
                  <a:gd name="T13" fmla="*/ 2 h 11"/>
                  <a:gd name="T14" fmla="*/ 8 w 8"/>
                  <a:gd name="T15" fmla="*/ 9 h 11"/>
                  <a:gd name="T16" fmla="*/ 6 w 8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1">
                    <a:moveTo>
                      <a:pt x="6" y="11"/>
                    </a:moveTo>
                    <a:cubicBezTo>
                      <a:pt x="2" y="11"/>
                      <a:pt x="2" y="11"/>
                      <a:pt x="2" y="11"/>
                    </a:cubicBezTo>
                    <a:cubicBezTo>
                      <a:pt x="1" y="11"/>
                      <a:pt x="0" y="10"/>
                      <a:pt x="0" y="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8" y="0"/>
                      <a:pt x="8" y="1"/>
                      <a:pt x="8" y="2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8" y="10"/>
                      <a:pt x="8" y="11"/>
                      <a:pt x="6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25" name="Freeform 232">
                <a:extLst>
                  <a:ext uri="{FF2B5EF4-FFF2-40B4-BE49-F238E27FC236}">
                    <a16:creationId xmlns:a16="http://schemas.microsoft.com/office/drawing/2014/main" id="{11E6B4B2-4B72-4BE5-B949-7A684DCEA4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1" y="1424"/>
                <a:ext cx="22" cy="31"/>
              </a:xfrm>
              <a:custGeom>
                <a:avLst/>
                <a:gdLst>
                  <a:gd name="T0" fmla="*/ 6 w 8"/>
                  <a:gd name="T1" fmla="*/ 11 h 11"/>
                  <a:gd name="T2" fmla="*/ 2 w 8"/>
                  <a:gd name="T3" fmla="*/ 11 h 11"/>
                  <a:gd name="T4" fmla="*/ 0 w 8"/>
                  <a:gd name="T5" fmla="*/ 9 h 11"/>
                  <a:gd name="T6" fmla="*/ 0 w 8"/>
                  <a:gd name="T7" fmla="*/ 2 h 11"/>
                  <a:gd name="T8" fmla="*/ 2 w 8"/>
                  <a:gd name="T9" fmla="*/ 0 h 11"/>
                  <a:gd name="T10" fmla="*/ 6 w 8"/>
                  <a:gd name="T11" fmla="*/ 0 h 11"/>
                  <a:gd name="T12" fmla="*/ 8 w 8"/>
                  <a:gd name="T13" fmla="*/ 2 h 11"/>
                  <a:gd name="T14" fmla="*/ 8 w 8"/>
                  <a:gd name="T15" fmla="*/ 9 h 11"/>
                  <a:gd name="T16" fmla="*/ 6 w 8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1">
                    <a:moveTo>
                      <a:pt x="6" y="11"/>
                    </a:moveTo>
                    <a:cubicBezTo>
                      <a:pt x="2" y="11"/>
                      <a:pt x="2" y="11"/>
                      <a:pt x="2" y="11"/>
                    </a:cubicBezTo>
                    <a:cubicBezTo>
                      <a:pt x="1" y="11"/>
                      <a:pt x="0" y="10"/>
                      <a:pt x="0" y="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8" y="0"/>
                      <a:pt x="8" y="1"/>
                      <a:pt x="8" y="2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8" y="10"/>
                      <a:pt x="8" y="11"/>
                      <a:pt x="6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26" name="Freeform 233">
                <a:extLst>
                  <a:ext uri="{FF2B5EF4-FFF2-40B4-BE49-F238E27FC236}">
                    <a16:creationId xmlns:a16="http://schemas.microsoft.com/office/drawing/2014/main" id="{7F75D214-D935-403C-99CF-DF54CBB8DE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1" y="1358"/>
                <a:ext cx="62" cy="46"/>
              </a:xfrm>
              <a:custGeom>
                <a:avLst/>
                <a:gdLst>
                  <a:gd name="T0" fmla="*/ 0 w 62"/>
                  <a:gd name="T1" fmla="*/ 32 h 46"/>
                  <a:gd name="T2" fmla="*/ 42 w 62"/>
                  <a:gd name="T3" fmla="*/ 0 h 46"/>
                  <a:gd name="T4" fmla="*/ 62 w 62"/>
                  <a:gd name="T5" fmla="*/ 46 h 46"/>
                  <a:gd name="T6" fmla="*/ 0 w 62"/>
                  <a:gd name="T7" fmla="*/ 3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2" h="46">
                    <a:moveTo>
                      <a:pt x="0" y="32"/>
                    </a:moveTo>
                    <a:lnTo>
                      <a:pt x="42" y="0"/>
                    </a:lnTo>
                    <a:lnTo>
                      <a:pt x="62" y="46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27" name="Line 234">
                <a:extLst>
                  <a:ext uri="{FF2B5EF4-FFF2-40B4-BE49-F238E27FC236}">
                    <a16:creationId xmlns:a16="http://schemas.microsoft.com/office/drawing/2014/main" id="{1DE77177-9E5E-4933-8A9C-DD01ABAEC5F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99" y="1529"/>
                <a:ext cx="0" cy="57"/>
              </a:xfrm>
              <a:prstGeom prst="line">
                <a:avLst/>
              </a:prstGeom>
              <a:noFill/>
              <a:ln w="17463" cap="rnd">
                <a:solidFill>
                  <a:srgbClr val="2B4555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28" name="Oval 235">
                <a:extLst>
                  <a:ext uri="{FF2B5EF4-FFF2-40B4-BE49-F238E27FC236}">
                    <a16:creationId xmlns:a16="http://schemas.microsoft.com/office/drawing/2014/main" id="{AECAC142-FC4D-4327-B23A-DBD5678424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57" y="1478"/>
                <a:ext cx="56" cy="57"/>
              </a:xfrm>
              <a:prstGeom prst="ellipse">
                <a:avLst/>
              </a:pr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29" name="Oval 236">
                <a:extLst>
                  <a:ext uri="{FF2B5EF4-FFF2-40B4-BE49-F238E27FC236}">
                    <a16:creationId xmlns:a16="http://schemas.microsoft.com/office/drawing/2014/main" id="{A6909047-B62F-4EF4-8BE3-20A0BF5E4E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93" y="1495"/>
                <a:ext cx="48" cy="46"/>
              </a:xfrm>
              <a:prstGeom prst="ellipse">
                <a:avLst/>
              </a:pr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30" name="Oval 237">
                <a:extLst>
                  <a:ext uri="{FF2B5EF4-FFF2-40B4-BE49-F238E27FC236}">
                    <a16:creationId xmlns:a16="http://schemas.microsoft.com/office/drawing/2014/main" id="{57C56F27-C51F-4E87-B74E-AA9F35D3B4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77" y="1492"/>
                <a:ext cx="47" cy="63"/>
              </a:xfrm>
              <a:prstGeom prst="ellipse">
                <a:avLst/>
              </a:pr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31" name="Oval 238">
                <a:extLst>
                  <a:ext uri="{FF2B5EF4-FFF2-40B4-BE49-F238E27FC236}">
                    <a16:creationId xmlns:a16="http://schemas.microsoft.com/office/drawing/2014/main" id="{E8456CA5-A1E5-477E-9766-07EFA185D9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96" y="1464"/>
                <a:ext cx="34" cy="45"/>
              </a:xfrm>
              <a:prstGeom prst="ellipse">
                <a:avLst/>
              </a:pr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32" name="Oval 239">
                <a:extLst>
                  <a:ext uri="{FF2B5EF4-FFF2-40B4-BE49-F238E27FC236}">
                    <a16:creationId xmlns:a16="http://schemas.microsoft.com/office/drawing/2014/main" id="{E0631E2D-2A99-4872-8E58-CB0D63E912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79" y="1441"/>
                <a:ext cx="34" cy="63"/>
              </a:xfrm>
              <a:prstGeom prst="ellipse">
                <a:avLst/>
              </a:pr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89" name="Groupe 488">
            <a:extLst>
              <a:ext uri="{FF2B5EF4-FFF2-40B4-BE49-F238E27FC236}">
                <a16:creationId xmlns:a16="http://schemas.microsoft.com/office/drawing/2014/main" id="{30D99189-35DF-4455-810C-2CD06304B907}"/>
              </a:ext>
            </a:extLst>
          </p:cNvPr>
          <p:cNvGrpSpPr/>
          <p:nvPr/>
        </p:nvGrpSpPr>
        <p:grpSpPr>
          <a:xfrm>
            <a:off x="8042441" y="3103488"/>
            <a:ext cx="865004" cy="865444"/>
            <a:chOff x="6033607" y="2962223"/>
            <a:chExt cx="648743" cy="649073"/>
          </a:xfrm>
        </p:grpSpPr>
        <p:sp>
          <p:nvSpPr>
            <p:cNvPr id="595" name="Oval 5">
              <a:extLst>
                <a:ext uri="{FF2B5EF4-FFF2-40B4-BE49-F238E27FC236}">
                  <a16:creationId xmlns:a16="http://schemas.microsoft.com/office/drawing/2014/main" id="{D91D7C4A-536A-49EB-BB47-A8381A3539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3607" y="2962223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596" name="Group 242">
              <a:extLst>
                <a:ext uri="{FF2B5EF4-FFF2-40B4-BE49-F238E27FC236}">
                  <a16:creationId xmlns:a16="http://schemas.microsoft.com/office/drawing/2014/main" id="{C42236D1-C9F6-4964-A6D1-0B8BE75F58D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158565" y="3105626"/>
              <a:ext cx="398826" cy="362267"/>
              <a:chOff x="3557" y="2420"/>
              <a:chExt cx="360" cy="327"/>
            </a:xfrm>
          </p:grpSpPr>
          <p:sp>
            <p:nvSpPr>
              <p:cNvPr id="597" name="Freeform 243">
                <a:extLst>
                  <a:ext uri="{FF2B5EF4-FFF2-40B4-BE49-F238E27FC236}">
                    <a16:creationId xmlns:a16="http://schemas.microsoft.com/office/drawing/2014/main" id="{CE8552CF-75DD-430C-AAD8-71B0F9AFEE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1" y="2440"/>
                <a:ext cx="332" cy="186"/>
              </a:xfrm>
              <a:custGeom>
                <a:avLst/>
                <a:gdLst>
                  <a:gd name="T0" fmla="*/ 40 w 118"/>
                  <a:gd name="T1" fmla="*/ 66 h 66"/>
                  <a:gd name="T2" fmla="*/ 0 w 118"/>
                  <a:gd name="T3" fmla="*/ 29 h 66"/>
                  <a:gd name="T4" fmla="*/ 45 w 118"/>
                  <a:gd name="T5" fmla="*/ 4 h 66"/>
                  <a:gd name="T6" fmla="*/ 59 w 118"/>
                  <a:gd name="T7" fmla="*/ 0 h 66"/>
                  <a:gd name="T8" fmla="*/ 73 w 118"/>
                  <a:gd name="T9" fmla="*/ 4 h 66"/>
                  <a:gd name="T10" fmla="*/ 118 w 118"/>
                  <a:gd name="T11" fmla="*/ 29 h 66"/>
                  <a:gd name="T12" fmla="*/ 78 w 118"/>
                  <a:gd name="T13" fmla="*/ 66 h 66"/>
                  <a:gd name="T14" fmla="*/ 40 w 118"/>
                  <a:gd name="T15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8" h="66">
                    <a:moveTo>
                      <a:pt x="40" y="66"/>
                    </a:moveTo>
                    <a:cubicBezTo>
                      <a:pt x="0" y="29"/>
                      <a:pt x="0" y="29"/>
                      <a:pt x="0" y="29"/>
                    </a:cubicBezTo>
                    <a:cubicBezTo>
                      <a:pt x="45" y="4"/>
                      <a:pt x="45" y="4"/>
                      <a:pt x="45" y="4"/>
                    </a:cubicBezTo>
                    <a:cubicBezTo>
                      <a:pt x="49" y="1"/>
                      <a:pt x="54" y="0"/>
                      <a:pt x="59" y="0"/>
                    </a:cubicBezTo>
                    <a:cubicBezTo>
                      <a:pt x="64" y="0"/>
                      <a:pt x="69" y="1"/>
                      <a:pt x="73" y="4"/>
                    </a:cubicBezTo>
                    <a:cubicBezTo>
                      <a:pt x="118" y="29"/>
                      <a:pt x="118" y="29"/>
                      <a:pt x="118" y="29"/>
                    </a:cubicBezTo>
                    <a:cubicBezTo>
                      <a:pt x="78" y="66"/>
                      <a:pt x="78" y="66"/>
                      <a:pt x="78" y="66"/>
                    </a:cubicBezTo>
                    <a:lnTo>
                      <a:pt x="40" y="66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98" name="Freeform 244">
                <a:extLst>
                  <a:ext uri="{FF2B5EF4-FFF2-40B4-BE49-F238E27FC236}">
                    <a16:creationId xmlns:a16="http://schemas.microsoft.com/office/drawing/2014/main" id="{03126E5E-E68B-43B1-A9DA-016CC14E10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57" y="2431"/>
                <a:ext cx="360" cy="203"/>
              </a:xfrm>
              <a:custGeom>
                <a:avLst/>
                <a:gdLst>
                  <a:gd name="T0" fmla="*/ 64 w 128"/>
                  <a:gd name="T1" fmla="*/ 6 h 72"/>
                  <a:gd name="T2" fmla="*/ 76 w 128"/>
                  <a:gd name="T3" fmla="*/ 9 h 72"/>
                  <a:gd name="T4" fmla="*/ 118 w 128"/>
                  <a:gd name="T5" fmla="*/ 33 h 72"/>
                  <a:gd name="T6" fmla="*/ 82 w 128"/>
                  <a:gd name="T7" fmla="*/ 66 h 72"/>
                  <a:gd name="T8" fmla="*/ 46 w 128"/>
                  <a:gd name="T9" fmla="*/ 66 h 72"/>
                  <a:gd name="T10" fmla="*/ 10 w 128"/>
                  <a:gd name="T11" fmla="*/ 33 h 72"/>
                  <a:gd name="T12" fmla="*/ 51 w 128"/>
                  <a:gd name="T13" fmla="*/ 9 h 72"/>
                  <a:gd name="T14" fmla="*/ 64 w 128"/>
                  <a:gd name="T15" fmla="*/ 6 h 72"/>
                  <a:gd name="T16" fmla="*/ 64 w 128"/>
                  <a:gd name="T17" fmla="*/ 0 h 72"/>
                  <a:gd name="T18" fmla="*/ 48 w 128"/>
                  <a:gd name="T19" fmla="*/ 4 h 72"/>
                  <a:gd name="T20" fmla="*/ 0 w 128"/>
                  <a:gd name="T21" fmla="*/ 32 h 72"/>
                  <a:gd name="T22" fmla="*/ 44 w 128"/>
                  <a:gd name="T23" fmla="*/ 72 h 72"/>
                  <a:gd name="T24" fmla="*/ 84 w 128"/>
                  <a:gd name="T25" fmla="*/ 72 h 72"/>
                  <a:gd name="T26" fmla="*/ 128 w 128"/>
                  <a:gd name="T27" fmla="*/ 32 h 72"/>
                  <a:gd name="T28" fmla="*/ 79 w 128"/>
                  <a:gd name="T29" fmla="*/ 4 h 72"/>
                  <a:gd name="T30" fmla="*/ 64 w 128"/>
                  <a:gd name="T31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8" h="72">
                    <a:moveTo>
                      <a:pt x="64" y="6"/>
                    </a:moveTo>
                    <a:cubicBezTo>
                      <a:pt x="68" y="6"/>
                      <a:pt x="72" y="7"/>
                      <a:pt x="76" y="9"/>
                    </a:cubicBezTo>
                    <a:cubicBezTo>
                      <a:pt x="118" y="33"/>
                      <a:pt x="118" y="33"/>
                      <a:pt x="118" y="33"/>
                    </a:cubicBezTo>
                    <a:cubicBezTo>
                      <a:pt x="82" y="66"/>
                      <a:pt x="82" y="66"/>
                      <a:pt x="82" y="66"/>
                    </a:cubicBezTo>
                    <a:cubicBezTo>
                      <a:pt x="46" y="66"/>
                      <a:pt x="46" y="66"/>
                      <a:pt x="46" y="66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51" y="9"/>
                      <a:pt x="51" y="9"/>
                      <a:pt x="51" y="9"/>
                    </a:cubicBezTo>
                    <a:cubicBezTo>
                      <a:pt x="55" y="7"/>
                      <a:pt x="59" y="6"/>
                      <a:pt x="64" y="6"/>
                    </a:cubicBezTo>
                    <a:moveTo>
                      <a:pt x="64" y="0"/>
                    </a:moveTo>
                    <a:cubicBezTo>
                      <a:pt x="58" y="0"/>
                      <a:pt x="53" y="2"/>
                      <a:pt x="48" y="4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44" y="72"/>
                      <a:pt x="44" y="72"/>
                      <a:pt x="44" y="72"/>
                    </a:cubicBezTo>
                    <a:cubicBezTo>
                      <a:pt x="84" y="72"/>
                      <a:pt x="84" y="72"/>
                      <a:pt x="84" y="72"/>
                    </a:cubicBezTo>
                    <a:cubicBezTo>
                      <a:pt x="128" y="32"/>
                      <a:pt x="128" y="32"/>
                      <a:pt x="128" y="32"/>
                    </a:cubicBezTo>
                    <a:cubicBezTo>
                      <a:pt x="79" y="4"/>
                      <a:pt x="79" y="4"/>
                      <a:pt x="79" y="4"/>
                    </a:cubicBezTo>
                    <a:cubicBezTo>
                      <a:pt x="74" y="2"/>
                      <a:pt x="69" y="0"/>
                      <a:pt x="64" y="0"/>
                    </a:cubicBezTo>
                    <a:close/>
                  </a:path>
                </a:pathLst>
              </a:custGeom>
              <a:solidFill>
                <a:srgbClr val="C51A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99" name="Freeform 245">
                <a:extLst>
                  <a:ext uri="{FF2B5EF4-FFF2-40B4-BE49-F238E27FC236}">
                    <a16:creationId xmlns:a16="http://schemas.microsoft.com/office/drawing/2014/main" id="{02D5D15A-768D-4793-B51D-73B0F4DE5B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0" y="2426"/>
                <a:ext cx="214" cy="208"/>
              </a:xfrm>
              <a:custGeom>
                <a:avLst/>
                <a:gdLst>
                  <a:gd name="T0" fmla="*/ 0 w 214"/>
                  <a:gd name="T1" fmla="*/ 0 h 208"/>
                  <a:gd name="T2" fmla="*/ 0 w 214"/>
                  <a:gd name="T3" fmla="*/ 160 h 208"/>
                  <a:gd name="T4" fmla="*/ 51 w 214"/>
                  <a:gd name="T5" fmla="*/ 208 h 208"/>
                  <a:gd name="T6" fmla="*/ 163 w 214"/>
                  <a:gd name="T7" fmla="*/ 208 h 208"/>
                  <a:gd name="T8" fmla="*/ 214 w 214"/>
                  <a:gd name="T9" fmla="*/ 160 h 208"/>
                  <a:gd name="T10" fmla="*/ 214 w 214"/>
                  <a:gd name="T11" fmla="*/ 0 h 208"/>
                  <a:gd name="T12" fmla="*/ 0 w 214"/>
                  <a:gd name="T13" fmla="*/ 0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4" h="208">
                    <a:moveTo>
                      <a:pt x="0" y="0"/>
                    </a:moveTo>
                    <a:lnTo>
                      <a:pt x="0" y="160"/>
                    </a:lnTo>
                    <a:lnTo>
                      <a:pt x="51" y="208"/>
                    </a:lnTo>
                    <a:lnTo>
                      <a:pt x="163" y="208"/>
                    </a:lnTo>
                    <a:lnTo>
                      <a:pt x="214" y="160"/>
                    </a:lnTo>
                    <a:lnTo>
                      <a:pt x="21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00" name="Freeform 246">
                <a:extLst>
                  <a:ext uri="{FF2B5EF4-FFF2-40B4-BE49-F238E27FC236}">
                    <a16:creationId xmlns:a16="http://schemas.microsoft.com/office/drawing/2014/main" id="{ACE4E2C3-DCC1-4711-B9DB-ABE970AB3B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8" y="2482"/>
                <a:ext cx="78" cy="0"/>
              </a:xfrm>
              <a:custGeom>
                <a:avLst/>
                <a:gdLst>
                  <a:gd name="T0" fmla="*/ 0 w 78"/>
                  <a:gd name="T1" fmla="*/ 78 w 78"/>
                  <a:gd name="T2" fmla="*/ 0 w 7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78">
                    <a:moveTo>
                      <a:pt x="0" y="0"/>
                    </a:moveTo>
                    <a:lnTo>
                      <a:pt x="78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01" name="Line 247">
                <a:extLst>
                  <a:ext uri="{FF2B5EF4-FFF2-40B4-BE49-F238E27FC236}">
                    <a16:creationId xmlns:a16="http://schemas.microsoft.com/office/drawing/2014/main" id="{66E93C33-BADF-455C-92B8-A4F4AE2130E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98" y="2482"/>
                <a:ext cx="78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02" name="Rectangle 248">
                <a:extLst>
                  <a:ext uri="{FF2B5EF4-FFF2-40B4-BE49-F238E27FC236}">
                    <a16:creationId xmlns:a16="http://schemas.microsoft.com/office/drawing/2014/main" id="{A807DE96-6C49-4D31-A1B5-66A3DC6CA4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92" y="2479"/>
                <a:ext cx="90" cy="9"/>
              </a:xfrm>
              <a:prstGeom prst="rect">
                <a:avLst/>
              </a:pr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03" name="Freeform 249">
                <a:extLst>
                  <a:ext uri="{FF2B5EF4-FFF2-40B4-BE49-F238E27FC236}">
                    <a16:creationId xmlns:a16="http://schemas.microsoft.com/office/drawing/2014/main" id="{8A919EE4-34B3-46EA-9BAE-0D83143E91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8" y="2530"/>
                <a:ext cx="78" cy="0"/>
              </a:xfrm>
              <a:custGeom>
                <a:avLst/>
                <a:gdLst>
                  <a:gd name="T0" fmla="*/ 0 w 78"/>
                  <a:gd name="T1" fmla="*/ 78 w 78"/>
                  <a:gd name="T2" fmla="*/ 0 w 7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78">
                    <a:moveTo>
                      <a:pt x="0" y="0"/>
                    </a:moveTo>
                    <a:lnTo>
                      <a:pt x="78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04" name="Line 250">
                <a:extLst>
                  <a:ext uri="{FF2B5EF4-FFF2-40B4-BE49-F238E27FC236}">
                    <a16:creationId xmlns:a16="http://schemas.microsoft.com/office/drawing/2014/main" id="{9BDD8953-4EA6-4D1D-B6AB-799CE72C37E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98" y="2530"/>
                <a:ext cx="78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05" name="Rectangle 251">
                <a:extLst>
                  <a:ext uri="{FF2B5EF4-FFF2-40B4-BE49-F238E27FC236}">
                    <a16:creationId xmlns:a16="http://schemas.microsoft.com/office/drawing/2014/main" id="{A096233C-9C21-469B-A7D0-43D7E35138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92" y="2524"/>
                <a:ext cx="90" cy="9"/>
              </a:xfrm>
              <a:prstGeom prst="rect">
                <a:avLst/>
              </a:pr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06" name="Freeform 252">
                <a:extLst>
                  <a:ext uri="{FF2B5EF4-FFF2-40B4-BE49-F238E27FC236}">
                    <a16:creationId xmlns:a16="http://schemas.microsoft.com/office/drawing/2014/main" id="{003F9D89-50B6-4CE6-84CD-03FCC58AB8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8" y="2575"/>
                <a:ext cx="78" cy="0"/>
              </a:xfrm>
              <a:custGeom>
                <a:avLst/>
                <a:gdLst>
                  <a:gd name="T0" fmla="*/ 0 w 78"/>
                  <a:gd name="T1" fmla="*/ 78 w 78"/>
                  <a:gd name="T2" fmla="*/ 0 w 7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78">
                    <a:moveTo>
                      <a:pt x="0" y="0"/>
                    </a:moveTo>
                    <a:lnTo>
                      <a:pt x="78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07" name="Line 253">
                <a:extLst>
                  <a:ext uri="{FF2B5EF4-FFF2-40B4-BE49-F238E27FC236}">
                    <a16:creationId xmlns:a16="http://schemas.microsoft.com/office/drawing/2014/main" id="{C92C41FC-5EC5-47B0-B8AF-BC0126DE19C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98" y="2575"/>
                <a:ext cx="78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08" name="Rectangle 254">
                <a:extLst>
                  <a:ext uri="{FF2B5EF4-FFF2-40B4-BE49-F238E27FC236}">
                    <a16:creationId xmlns:a16="http://schemas.microsoft.com/office/drawing/2014/main" id="{BBFD67FA-6F13-4B87-BC69-0348118855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92" y="2569"/>
                <a:ext cx="90" cy="12"/>
              </a:xfrm>
              <a:prstGeom prst="rect">
                <a:avLst/>
              </a:pr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09" name="Freeform 255">
                <a:extLst>
                  <a:ext uri="{FF2B5EF4-FFF2-40B4-BE49-F238E27FC236}">
                    <a16:creationId xmlns:a16="http://schemas.microsoft.com/office/drawing/2014/main" id="{5534D777-83D7-4D2C-8F4B-6CA6BF31D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8" y="2643"/>
                <a:ext cx="298" cy="96"/>
              </a:xfrm>
              <a:custGeom>
                <a:avLst/>
                <a:gdLst>
                  <a:gd name="T0" fmla="*/ 0 w 298"/>
                  <a:gd name="T1" fmla="*/ 96 h 96"/>
                  <a:gd name="T2" fmla="*/ 104 w 298"/>
                  <a:gd name="T3" fmla="*/ 0 h 96"/>
                  <a:gd name="T4" fmla="*/ 194 w 298"/>
                  <a:gd name="T5" fmla="*/ 0 h 96"/>
                  <a:gd name="T6" fmla="*/ 298 w 298"/>
                  <a:gd name="T7" fmla="*/ 96 h 96"/>
                  <a:gd name="T8" fmla="*/ 0 w 298"/>
                  <a:gd name="T9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8" h="96">
                    <a:moveTo>
                      <a:pt x="0" y="96"/>
                    </a:moveTo>
                    <a:lnTo>
                      <a:pt x="104" y="0"/>
                    </a:lnTo>
                    <a:lnTo>
                      <a:pt x="194" y="0"/>
                    </a:lnTo>
                    <a:lnTo>
                      <a:pt x="298" y="96"/>
                    </a:lnTo>
                    <a:lnTo>
                      <a:pt x="0" y="96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10" name="Freeform 256">
                <a:extLst>
                  <a:ext uri="{FF2B5EF4-FFF2-40B4-BE49-F238E27FC236}">
                    <a16:creationId xmlns:a16="http://schemas.microsoft.com/office/drawing/2014/main" id="{0CED7829-A60E-4086-A5A6-07965B476A6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71" y="2634"/>
                <a:ext cx="332" cy="113"/>
              </a:xfrm>
              <a:custGeom>
                <a:avLst/>
                <a:gdLst>
                  <a:gd name="T0" fmla="*/ 74 w 118"/>
                  <a:gd name="T1" fmla="*/ 6 h 40"/>
                  <a:gd name="T2" fmla="*/ 104 w 118"/>
                  <a:gd name="T3" fmla="*/ 34 h 40"/>
                  <a:gd name="T4" fmla="*/ 13 w 118"/>
                  <a:gd name="T5" fmla="*/ 34 h 40"/>
                  <a:gd name="T6" fmla="*/ 44 w 118"/>
                  <a:gd name="T7" fmla="*/ 6 h 40"/>
                  <a:gd name="T8" fmla="*/ 74 w 118"/>
                  <a:gd name="T9" fmla="*/ 6 h 40"/>
                  <a:gd name="T10" fmla="*/ 76 w 118"/>
                  <a:gd name="T11" fmla="*/ 0 h 40"/>
                  <a:gd name="T12" fmla="*/ 42 w 118"/>
                  <a:gd name="T13" fmla="*/ 0 h 40"/>
                  <a:gd name="T14" fmla="*/ 0 w 118"/>
                  <a:gd name="T15" fmla="*/ 38 h 40"/>
                  <a:gd name="T16" fmla="*/ 5 w 118"/>
                  <a:gd name="T17" fmla="*/ 40 h 40"/>
                  <a:gd name="T18" fmla="*/ 113 w 118"/>
                  <a:gd name="T19" fmla="*/ 40 h 40"/>
                  <a:gd name="T20" fmla="*/ 118 w 118"/>
                  <a:gd name="T21" fmla="*/ 38 h 40"/>
                  <a:gd name="T22" fmla="*/ 76 w 118"/>
                  <a:gd name="T2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8" h="40">
                    <a:moveTo>
                      <a:pt x="74" y="6"/>
                    </a:moveTo>
                    <a:cubicBezTo>
                      <a:pt x="104" y="34"/>
                      <a:pt x="104" y="34"/>
                      <a:pt x="104" y="34"/>
                    </a:cubicBezTo>
                    <a:cubicBezTo>
                      <a:pt x="13" y="34"/>
                      <a:pt x="13" y="34"/>
                      <a:pt x="13" y="34"/>
                    </a:cubicBezTo>
                    <a:cubicBezTo>
                      <a:pt x="44" y="6"/>
                      <a:pt x="44" y="6"/>
                      <a:pt x="44" y="6"/>
                    </a:cubicBezTo>
                    <a:cubicBezTo>
                      <a:pt x="74" y="6"/>
                      <a:pt x="74" y="6"/>
                      <a:pt x="74" y="6"/>
                    </a:cubicBezTo>
                    <a:moveTo>
                      <a:pt x="76" y="0"/>
                    </a:moveTo>
                    <a:cubicBezTo>
                      <a:pt x="42" y="0"/>
                      <a:pt x="42" y="0"/>
                      <a:pt x="42" y="0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1" y="39"/>
                      <a:pt x="3" y="40"/>
                      <a:pt x="5" y="40"/>
                    </a:cubicBezTo>
                    <a:cubicBezTo>
                      <a:pt x="113" y="40"/>
                      <a:pt x="113" y="40"/>
                      <a:pt x="113" y="40"/>
                    </a:cubicBezTo>
                    <a:cubicBezTo>
                      <a:pt x="115" y="40"/>
                      <a:pt x="117" y="39"/>
                      <a:pt x="118" y="38"/>
                    </a:cubicBezTo>
                    <a:cubicBezTo>
                      <a:pt x="76" y="0"/>
                      <a:pt x="76" y="0"/>
                      <a:pt x="76" y="0"/>
                    </a:cubicBezTo>
                    <a:close/>
                  </a:path>
                </a:pathLst>
              </a:custGeom>
              <a:solidFill>
                <a:srgbClr val="C51A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11" name="Rectangle 257">
                <a:extLst>
                  <a:ext uri="{FF2B5EF4-FFF2-40B4-BE49-F238E27FC236}">
                    <a16:creationId xmlns:a16="http://schemas.microsoft.com/office/drawing/2014/main" id="{BD0209CA-B0D5-4381-988B-8168D23AC4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89" y="2634"/>
                <a:ext cx="96" cy="1"/>
              </a:xfrm>
              <a:prstGeom prst="rect">
                <a:avLst/>
              </a:prstGeom>
              <a:solidFill>
                <a:srgbClr val="E523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12" name="Freeform 258">
                <a:extLst>
                  <a:ext uri="{FF2B5EF4-FFF2-40B4-BE49-F238E27FC236}">
                    <a16:creationId xmlns:a16="http://schemas.microsoft.com/office/drawing/2014/main" id="{8912EBC0-E496-47E8-92AB-46AEDCD8E1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7" y="2420"/>
                <a:ext cx="360" cy="316"/>
              </a:xfrm>
              <a:custGeom>
                <a:avLst/>
                <a:gdLst>
                  <a:gd name="T0" fmla="*/ 128 w 128"/>
                  <a:gd name="T1" fmla="*/ 36 h 112"/>
                  <a:gd name="T2" fmla="*/ 104 w 128"/>
                  <a:gd name="T3" fmla="*/ 58 h 112"/>
                  <a:gd name="T4" fmla="*/ 104 w 128"/>
                  <a:gd name="T5" fmla="*/ 0 h 112"/>
                  <a:gd name="T6" fmla="*/ 24 w 128"/>
                  <a:gd name="T7" fmla="*/ 0 h 112"/>
                  <a:gd name="T8" fmla="*/ 24 w 128"/>
                  <a:gd name="T9" fmla="*/ 58 h 112"/>
                  <a:gd name="T10" fmla="*/ 0 w 128"/>
                  <a:gd name="T11" fmla="*/ 36 h 112"/>
                  <a:gd name="T12" fmla="*/ 0 w 128"/>
                  <a:gd name="T13" fmla="*/ 106 h 112"/>
                  <a:gd name="T14" fmla="*/ 2 w 128"/>
                  <a:gd name="T15" fmla="*/ 112 h 112"/>
                  <a:gd name="T16" fmla="*/ 43 w 128"/>
                  <a:gd name="T17" fmla="*/ 74 h 112"/>
                  <a:gd name="T18" fmla="*/ 28 w 128"/>
                  <a:gd name="T19" fmla="*/ 61 h 112"/>
                  <a:gd name="T20" fmla="*/ 28 w 128"/>
                  <a:gd name="T21" fmla="*/ 4 h 112"/>
                  <a:gd name="T22" fmla="*/ 100 w 128"/>
                  <a:gd name="T23" fmla="*/ 4 h 112"/>
                  <a:gd name="T24" fmla="*/ 100 w 128"/>
                  <a:gd name="T25" fmla="*/ 61 h 112"/>
                  <a:gd name="T26" fmla="*/ 85 w 128"/>
                  <a:gd name="T27" fmla="*/ 75 h 112"/>
                  <a:gd name="T28" fmla="*/ 126 w 128"/>
                  <a:gd name="T29" fmla="*/ 112 h 112"/>
                  <a:gd name="T30" fmla="*/ 128 w 128"/>
                  <a:gd name="T31" fmla="*/ 106 h 112"/>
                  <a:gd name="T32" fmla="*/ 128 w 128"/>
                  <a:gd name="T33" fmla="*/ 3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8" h="112">
                    <a:moveTo>
                      <a:pt x="128" y="36"/>
                    </a:moveTo>
                    <a:cubicBezTo>
                      <a:pt x="104" y="58"/>
                      <a:pt x="104" y="58"/>
                      <a:pt x="104" y="58"/>
                    </a:cubicBezTo>
                    <a:cubicBezTo>
                      <a:pt x="104" y="0"/>
                      <a:pt x="104" y="0"/>
                      <a:pt x="104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4" y="58"/>
                      <a:pt x="24" y="58"/>
                      <a:pt x="24" y="58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106"/>
                      <a:pt x="0" y="106"/>
                      <a:pt x="0" y="106"/>
                    </a:cubicBezTo>
                    <a:cubicBezTo>
                      <a:pt x="0" y="108"/>
                      <a:pt x="1" y="110"/>
                      <a:pt x="2" y="112"/>
                    </a:cubicBezTo>
                    <a:cubicBezTo>
                      <a:pt x="43" y="74"/>
                      <a:pt x="43" y="74"/>
                      <a:pt x="43" y="74"/>
                    </a:cubicBezTo>
                    <a:cubicBezTo>
                      <a:pt x="28" y="61"/>
                      <a:pt x="28" y="61"/>
                      <a:pt x="28" y="61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100" y="4"/>
                      <a:pt x="100" y="4"/>
                      <a:pt x="100" y="4"/>
                    </a:cubicBezTo>
                    <a:cubicBezTo>
                      <a:pt x="100" y="61"/>
                      <a:pt x="100" y="61"/>
                      <a:pt x="100" y="61"/>
                    </a:cubicBezTo>
                    <a:cubicBezTo>
                      <a:pt x="85" y="75"/>
                      <a:pt x="85" y="75"/>
                      <a:pt x="85" y="75"/>
                    </a:cubicBezTo>
                    <a:cubicBezTo>
                      <a:pt x="126" y="112"/>
                      <a:pt x="126" y="112"/>
                      <a:pt x="126" y="112"/>
                    </a:cubicBezTo>
                    <a:cubicBezTo>
                      <a:pt x="127" y="110"/>
                      <a:pt x="128" y="108"/>
                      <a:pt x="128" y="106"/>
                    </a:cubicBezTo>
                    <a:lnTo>
                      <a:pt x="128" y="36"/>
                    </a:ln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13" name="Freeform 259">
                <a:extLst>
                  <a:ext uri="{FF2B5EF4-FFF2-40B4-BE49-F238E27FC236}">
                    <a16:creationId xmlns:a16="http://schemas.microsoft.com/office/drawing/2014/main" id="{CE03F7A0-FFE7-4D12-B0E9-53BDDAA65E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3" y="2629"/>
                <a:ext cx="126" cy="113"/>
              </a:xfrm>
              <a:custGeom>
                <a:avLst/>
                <a:gdLst>
                  <a:gd name="T0" fmla="*/ 42 w 45"/>
                  <a:gd name="T1" fmla="*/ 2 h 40"/>
                  <a:gd name="T2" fmla="*/ 41 w 45"/>
                  <a:gd name="T3" fmla="*/ 0 h 40"/>
                  <a:gd name="T4" fmla="*/ 0 w 45"/>
                  <a:gd name="T5" fmla="*/ 38 h 40"/>
                  <a:gd name="T6" fmla="*/ 1 w 45"/>
                  <a:gd name="T7" fmla="*/ 39 h 40"/>
                  <a:gd name="T8" fmla="*/ 3 w 45"/>
                  <a:gd name="T9" fmla="*/ 40 h 40"/>
                  <a:gd name="T10" fmla="*/ 45 w 45"/>
                  <a:gd name="T11" fmla="*/ 2 h 40"/>
                  <a:gd name="T12" fmla="*/ 45 w 45"/>
                  <a:gd name="T13" fmla="*/ 2 h 40"/>
                  <a:gd name="T14" fmla="*/ 42 w 45"/>
                  <a:gd name="T15" fmla="*/ 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40">
                    <a:moveTo>
                      <a:pt x="42" y="2"/>
                    </a:moveTo>
                    <a:cubicBezTo>
                      <a:pt x="41" y="0"/>
                      <a:pt x="41" y="0"/>
                      <a:pt x="41" y="0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0" y="38"/>
                      <a:pt x="1" y="38"/>
                      <a:pt x="1" y="39"/>
                    </a:cubicBezTo>
                    <a:cubicBezTo>
                      <a:pt x="2" y="39"/>
                      <a:pt x="2" y="40"/>
                      <a:pt x="3" y="40"/>
                    </a:cubicBezTo>
                    <a:cubicBezTo>
                      <a:pt x="45" y="2"/>
                      <a:pt x="45" y="2"/>
                      <a:pt x="45" y="2"/>
                    </a:cubicBezTo>
                    <a:cubicBezTo>
                      <a:pt x="45" y="2"/>
                      <a:pt x="45" y="2"/>
                      <a:pt x="45" y="2"/>
                    </a:cubicBezTo>
                    <a:lnTo>
                      <a:pt x="42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14" name="Freeform 260">
                <a:extLst>
                  <a:ext uri="{FF2B5EF4-FFF2-40B4-BE49-F238E27FC236}">
                    <a16:creationId xmlns:a16="http://schemas.microsoft.com/office/drawing/2014/main" id="{9D1C7685-8B0B-4C9C-9B58-08E0DD9D22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5" y="2632"/>
                <a:ext cx="126" cy="110"/>
              </a:xfrm>
              <a:custGeom>
                <a:avLst/>
                <a:gdLst>
                  <a:gd name="T0" fmla="*/ 4 w 45"/>
                  <a:gd name="T1" fmla="*/ 0 h 39"/>
                  <a:gd name="T2" fmla="*/ 3 w 45"/>
                  <a:gd name="T3" fmla="*/ 1 h 39"/>
                  <a:gd name="T4" fmla="*/ 0 w 45"/>
                  <a:gd name="T5" fmla="*/ 1 h 39"/>
                  <a:gd name="T6" fmla="*/ 0 w 45"/>
                  <a:gd name="T7" fmla="*/ 1 h 39"/>
                  <a:gd name="T8" fmla="*/ 42 w 45"/>
                  <a:gd name="T9" fmla="*/ 39 h 39"/>
                  <a:gd name="T10" fmla="*/ 44 w 45"/>
                  <a:gd name="T11" fmla="*/ 38 h 39"/>
                  <a:gd name="T12" fmla="*/ 45 w 45"/>
                  <a:gd name="T13" fmla="*/ 37 h 39"/>
                  <a:gd name="T14" fmla="*/ 4 w 45"/>
                  <a:gd name="T15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39">
                    <a:moveTo>
                      <a:pt x="4" y="0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42" y="39"/>
                      <a:pt x="42" y="39"/>
                      <a:pt x="42" y="39"/>
                    </a:cubicBezTo>
                    <a:cubicBezTo>
                      <a:pt x="43" y="39"/>
                      <a:pt x="43" y="38"/>
                      <a:pt x="44" y="38"/>
                    </a:cubicBezTo>
                    <a:cubicBezTo>
                      <a:pt x="44" y="37"/>
                      <a:pt x="44" y="37"/>
                      <a:pt x="45" y="37"/>
                    </a:cubicBez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90" name="Groupe 489">
            <a:extLst>
              <a:ext uri="{FF2B5EF4-FFF2-40B4-BE49-F238E27FC236}">
                <a16:creationId xmlns:a16="http://schemas.microsoft.com/office/drawing/2014/main" id="{E330C12F-66A6-454E-829A-AF136BFDD858}"/>
              </a:ext>
            </a:extLst>
          </p:cNvPr>
          <p:cNvGrpSpPr/>
          <p:nvPr/>
        </p:nvGrpSpPr>
        <p:grpSpPr>
          <a:xfrm>
            <a:off x="9134113" y="3103488"/>
            <a:ext cx="865004" cy="865444"/>
            <a:chOff x="6852348" y="2962223"/>
            <a:chExt cx="648743" cy="649073"/>
          </a:xfrm>
        </p:grpSpPr>
        <p:sp>
          <p:nvSpPr>
            <p:cNvPr id="586" name="Oval 5">
              <a:extLst>
                <a:ext uri="{FF2B5EF4-FFF2-40B4-BE49-F238E27FC236}">
                  <a16:creationId xmlns:a16="http://schemas.microsoft.com/office/drawing/2014/main" id="{18EAC76A-3E85-44E6-9ED4-F7D1AA5BA2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2348" y="2962223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587" name="Group 264">
              <a:extLst>
                <a:ext uri="{FF2B5EF4-FFF2-40B4-BE49-F238E27FC236}">
                  <a16:creationId xmlns:a16="http://schemas.microsoft.com/office/drawing/2014/main" id="{327CA2B7-9CD8-499F-9398-A35FF09CC3A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85585" y="3095625"/>
              <a:ext cx="382268" cy="382268"/>
              <a:chOff x="4407" y="1880"/>
              <a:chExt cx="352" cy="352"/>
            </a:xfrm>
          </p:grpSpPr>
          <p:sp>
            <p:nvSpPr>
              <p:cNvPr id="588" name="Freeform 265">
                <a:extLst>
                  <a:ext uri="{FF2B5EF4-FFF2-40B4-BE49-F238E27FC236}">
                    <a16:creationId xmlns:a16="http://schemas.microsoft.com/office/drawing/2014/main" id="{6D2CAB4C-0D50-4422-AFFC-8C4D5D57FC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5" y="1931"/>
                <a:ext cx="33" cy="36"/>
              </a:xfrm>
              <a:custGeom>
                <a:avLst/>
                <a:gdLst>
                  <a:gd name="T0" fmla="*/ 2 w 12"/>
                  <a:gd name="T1" fmla="*/ 13 h 13"/>
                  <a:gd name="T2" fmla="*/ 1 w 12"/>
                  <a:gd name="T3" fmla="*/ 13 h 13"/>
                  <a:gd name="T4" fmla="*/ 1 w 12"/>
                  <a:gd name="T5" fmla="*/ 10 h 13"/>
                  <a:gd name="T6" fmla="*/ 9 w 12"/>
                  <a:gd name="T7" fmla="*/ 1 h 13"/>
                  <a:gd name="T8" fmla="*/ 11 w 12"/>
                  <a:gd name="T9" fmla="*/ 1 h 13"/>
                  <a:gd name="T10" fmla="*/ 11 w 12"/>
                  <a:gd name="T11" fmla="*/ 3 h 13"/>
                  <a:gd name="T12" fmla="*/ 4 w 12"/>
                  <a:gd name="T13" fmla="*/ 12 h 13"/>
                  <a:gd name="T14" fmla="*/ 2 w 12"/>
                  <a:gd name="T1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3">
                    <a:moveTo>
                      <a:pt x="2" y="13"/>
                    </a:moveTo>
                    <a:cubicBezTo>
                      <a:pt x="2" y="13"/>
                      <a:pt x="2" y="13"/>
                      <a:pt x="1" y="13"/>
                    </a:cubicBezTo>
                    <a:cubicBezTo>
                      <a:pt x="1" y="12"/>
                      <a:pt x="0" y="11"/>
                      <a:pt x="1" y="10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0"/>
                      <a:pt x="10" y="0"/>
                      <a:pt x="11" y="1"/>
                    </a:cubicBezTo>
                    <a:cubicBezTo>
                      <a:pt x="12" y="1"/>
                      <a:pt x="12" y="2"/>
                      <a:pt x="11" y="3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3" y="13"/>
                      <a:pt x="3" y="13"/>
                      <a:pt x="2" y="13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89" name="Freeform 266">
                <a:extLst>
                  <a:ext uri="{FF2B5EF4-FFF2-40B4-BE49-F238E27FC236}">
                    <a16:creationId xmlns:a16="http://schemas.microsoft.com/office/drawing/2014/main" id="{08F71DE4-EB77-432F-84AF-4A1A76AB52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1" y="1880"/>
                <a:ext cx="14" cy="48"/>
              </a:xfrm>
              <a:custGeom>
                <a:avLst/>
                <a:gdLst>
                  <a:gd name="T0" fmla="*/ 2 w 5"/>
                  <a:gd name="T1" fmla="*/ 17 h 17"/>
                  <a:gd name="T2" fmla="*/ 1 w 5"/>
                  <a:gd name="T3" fmla="*/ 17 h 17"/>
                  <a:gd name="T4" fmla="*/ 0 w 5"/>
                  <a:gd name="T5" fmla="*/ 15 h 17"/>
                  <a:gd name="T6" fmla="*/ 1 w 5"/>
                  <a:gd name="T7" fmla="*/ 2 h 17"/>
                  <a:gd name="T8" fmla="*/ 3 w 5"/>
                  <a:gd name="T9" fmla="*/ 0 h 17"/>
                  <a:gd name="T10" fmla="*/ 5 w 5"/>
                  <a:gd name="T11" fmla="*/ 2 h 17"/>
                  <a:gd name="T12" fmla="*/ 3 w 5"/>
                  <a:gd name="T13" fmla="*/ 15 h 17"/>
                  <a:gd name="T14" fmla="*/ 2 w 5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17">
                    <a:moveTo>
                      <a:pt x="2" y="17"/>
                    </a:moveTo>
                    <a:cubicBezTo>
                      <a:pt x="2" y="17"/>
                      <a:pt x="2" y="17"/>
                      <a:pt x="1" y="17"/>
                    </a:cubicBezTo>
                    <a:cubicBezTo>
                      <a:pt x="1" y="16"/>
                      <a:pt x="0" y="16"/>
                      <a:pt x="0" y="15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1"/>
                      <a:pt x="2" y="0"/>
                      <a:pt x="3" y="0"/>
                    </a:cubicBezTo>
                    <a:cubicBezTo>
                      <a:pt x="4" y="0"/>
                      <a:pt x="5" y="1"/>
                      <a:pt x="5" y="2"/>
                    </a:cubicBezTo>
                    <a:cubicBezTo>
                      <a:pt x="3" y="15"/>
                      <a:pt x="3" y="15"/>
                      <a:pt x="3" y="15"/>
                    </a:cubicBezTo>
                    <a:cubicBezTo>
                      <a:pt x="3" y="16"/>
                      <a:pt x="2" y="17"/>
                      <a:pt x="2" y="17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90" name="Freeform 267">
                <a:extLst>
                  <a:ext uri="{FF2B5EF4-FFF2-40B4-BE49-F238E27FC236}">
                    <a16:creationId xmlns:a16="http://schemas.microsoft.com/office/drawing/2014/main" id="{89D30BCD-42B6-4383-A23D-6EFEE2D5AC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11" y="1903"/>
                <a:ext cx="28" cy="42"/>
              </a:xfrm>
              <a:custGeom>
                <a:avLst/>
                <a:gdLst>
                  <a:gd name="T0" fmla="*/ 8 w 10"/>
                  <a:gd name="T1" fmla="*/ 15 h 15"/>
                  <a:gd name="T2" fmla="*/ 6 w 10"/>
                  <a:gd name="T3" fmla="*/ 14 h 15"/>
                  <a:gd name="T4" fmla="*/ 0 w 10"/>
                  <a:gd name="T5" fmla="*/ 3 h 15"/>
                  <a:gd name="T6" fmla="*/ 1 w 10"/>
                  <a:gd name="T7" fmla="*/ 1 h 15"/>
                  <a:gd name="T8" fmla="*/ 3 w 10"/>
                  <a:gd name="T9" fmla="*/ 1 h 15"/>
                  <a:gd name="T10" fmla="*/ 9 w 10"/>
                  <a:gd name="T11" fmla="*/ 12 h 15"/>
                  <a:gd name="T12" fmla="*/ 8 w 10"/>
                  <a:gd name="T13" fmla="*/ 14 h 15"/>
                  <a:gd name="T14" fmla="*/ 8 w 10"/>
                  <a:gd name="T1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15">
                    <a:moveTo>
                      <a:pt x="8" y="15"/>
                    </a:moveTo>
                    <a:cubicBezTo>
                      <a:pt x="7" y="15"/>
                      <a:pt x="6" y="14"/>
                      <a:pt x="6" y="1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1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10" y="13"/>
                      <a:pt x="9" y="14"/>
                      <a:pt x="8" y="14"/>
                    </a:cubicBezTo>
                    <a:cubicBezTo>
                      <a:pt x="8" y="15"/>
                      <a:pt x="8" y="15"/>
                      <a:pt x="8" y="15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91" name="Freeform 268">
                <a:extLst>
                  <a:ext uri="{FF2B5EF4-FFF2-40B4-BE49-F238E27FC236}">
                    <a16:creationId xmlns:a16="http://schemas.microsoft.com/office/drawing/2014/main" id="{BFF175A3-82BB-44EE-B620-579CFBD3D2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0" y="2097"/>
                <a:ext cx="36" cy="31"/>
              </a:xfrm>
              <a:custGeom>
                <a:avLst/>
                <a:gdLst>
                  <a:gd name="T0" fmla="*/ 11 w 13"/>
                  <a:gd name="T1" fmla="*/ 11 h 11"/>
                  <a:gd name="T2" fmla="*/ 10 w 13"/>
                  <a:gd name="T3" fmla="*/ 11 h 11"/>
                  <a:gd name="T4" fmla="*/ 1 w 13"/>
                  <a:gd name="T5" fmla="*/ 3 h 11"/>
                  <a:gd name="T6" fmla="*/ 1 w 13"/>
                  <a:gd name="T7" fmla="*/ 1 h 11"/>
                  <a:gd name="T8" fmla="*/ 3 w 13"/>
                  <a:gd name="T9" fmla="*/ 1 h 11"/>
                  <a:gd name="T10" fmla="*/ 12 w 13"/>
                  <a:gd name="T11" fmla="*/ 8 h 11"/>
                  <a:gd name="T12" fmla="*/ 12 w 13"/>
                  <a:gd name="T13" fmla="*/ 10 h 11"/>
                  <a:gd name="T14" fmla="*/ 11 w 13"/>
                  <a:gd name="T1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1">
                    <a:moveTo>
                      <a:pt x="11" y="11"/>
                    </a:moveTo>
                    <a:cubicBezTo>
                      <a:pt x="11" y="11"/>
                      <a:pt x="10" y="11"/>
                      <a:pt x="10" y="11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3" y="9"/>
                      <a:pt x="13" y="10"/>
                      <a:pt x="12" y="10"/>
                    </a:cubicBezTo>
                    <a:cubicBezTo>
                      <a:pt x="12" y="11"/>
                      <a:pt x="11" y="11"/>
                      <a:pt x="11" y="11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92" name="Freeform 269">
                <a:extLst>
                  <a:ext uri="{FF2B5EF4-FFF2-40B4-BE49-F238E27FC236}">
                    <a16:creationId xmlns:a16="http://schemas.microsoft.com/office/drawing/2014/main" id="{1D7ECB37-76BD-4255-8C49-54BE826D7F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0" y="2024"/>
                <a:ext cx="39" cy="14"/>
              </a:xfrm>
              <a:custGeom>
                <a:avLst/>
                <a:gdLst>
                  <a:gd name="T0" fmla="*/ 1 w 14"/>
                  <a:gd name="T1" fmla="*/ 5 h 5"/>
                  <a:gd name="T2" fmla="*/ 0 w 14"/>
                  <a:gd name="T3" fmla="*/ 4 h 5"/>
                  <a:gd name="T4" fmla="*/ 1 w 14"/>
                  <a:gd name="T5" fmla="*/ 2 h 5"/>
                  <a:gd name="T6" fmla="*/ 12 w 14"/>
                  <a:gd name="T7" fmla="*/ 1 h 5"/>
                  <a:gd name="T8" fmla="*/ 14 w 14"/>
                  <a:gd name="T9" fmla="*/ 2 h 5"/>
                  <a:gd name="T10" fmla="*/ 13 w 14"/>
                  <a:gd name="T11" fmla="*/ 4 h 5"/>
                  <a:gd name="T12" fmla="*/ 2 w 14"/>
                  <a:gd name="T13" fmla="*/ 5 h 5"/>
                  <a:gd name="T14" fmla="*/ 1 w 14"/>
                  <a:gd name="T1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5">
                    <a:moveTo>
                      <a:pt x="1" y="5"/>
                    </a:moveTo>
                    <a:cubicBezTo>
                      <a:pt x="1" y="5"/>
                      <a:pt x="0" y="5"/>
                      <a:pt x="0" y="4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3" y="0"/>
                      <a:pt x="14" y="1"/>
                      <a:pt x="14" y="2"/>
                    </a:cubicBezTo>
                    <a:cubicBezTo>
                      <a:pt x="14" y="3"/>
                      <a:pt x="13" y="4"/>
                      <a:pt x="13" y="4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1" y="5"/>
                      <a:pt x="1" y="5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93" name="Freeform 270">
                <a:extLst>
                  <a:ext uri="{FF2B5EF4-FFF2-40B4-BE49-F238E27FC236}">
                    <a16:creationId xmlns:a16="http://schemas.microsoft.com/office/drawing/2014/main" id="{5B1CA0E4-AEF8-4A79-9DBF-E1F77D72FB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7" y="1979"/>
                <a:ext cx="251" cy="214"/>
              </a:xfrm>
              <a:custGeom>
                <a:avLst/>
                <a:gdLst>
                  <a:gd name="T0" fmla="*/ 85 w 89"/>
                  <a:gd name="T1" fmla="*/ 0 h 76"/>
                  <a:gd name="T2" fmla="*/ 2 w 89"/>
                  <a:gd name="T3" fmla="*/ 20 h 76"/>
                  <a:gd name="T4" fmla="*/ 1 w 89"/>
                  <a:gd name="T5" fmla="*/ 23 h 76"/>
                  <a:gd name="T6" fmla="*/ 19 w 89"/>
                  <a:gd name="T7" fmla="*/ 42 h 76"/>
                  <a:gd name="T8" fmla="*/ 19 w 89"/>
                  <a:gd name="T9" fmla="*/ 45 h 76"/>
                  <a:gd name="T10" fmla="*/ 4 w 89"/>
                  <a:gd name="T11" fmla="*/ 60 h 76"/>
                  <a:gd name="T12" fmla="*/ 4 w 89"/>
                  <a:gd name="T13" fmla="*/ 66 h 76"/>
                  <a:gd name="T14" fmla="*/ 14 w 89"/>
                  <a:gd name="T15" fmla="*/ 76 h 76"/>
                  <a:gd name="T16" fmla="*/ 89 w 89"/>
                  <a:gd name="T17" fmla="*/ 1 h 76"/>
                  <a:gd name="T18" fmla="*/ 85 w 89"/>
                  <a:gd name="T1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9" h="76">
                    <a:moveTo>
                      <a:pt x="85" y="0"/>
                    </a:moveTo>
                    <a:cubicBezTo>
                      <a:pt x="2" y="20"/>
                      <a:pt x="2" y="20"/>
                      <a:pt x="2" y="20"/>
                    </a:cubicBezTo>
                    <a:cubicBezTo>
                      <a:pt x="0" y="20"/>
                      <a:pt x="0" y="22"/>
                      <a:pt x="1" y="23"/>
                    </a:cubicBezTo>
                    <a:cubicBezTo>
                      <a:pt x="19" y="42"/>
                      <a:pt x="19" y="42"/>
                      <a:pt x="19" y="42"/>
                    </a:cubicBezTo>
                    <a:cubicBezTo>
                      <a:pt x="20" y="43"/>
                      <a:pt x="20" y="44"/>
                      <a:pt x="19" y="45"/>
                    </a:cubicBezTo>
                    <a:cubicBezTo>
                      <a:pt x="4" y="60"/>
                      <a:pt x="4" y="60"/>
                      <a:pt x="4" y="60"/>
                    </a:cubicBezTo>
                    <a:cubicBezTo>
                      <a:pt x="3" y="61"/>
                      <a:pt x="3" y="64"/>
                      <a:pt x="4" y="66"/>
                    </a:cubicBezTo>
                    <a:cubicBezTo>
                      <a:pt x="14" y="76"/>
                      <a:pt x="14" y="76"/>
                      <a:pt x="14" y="76"/>
                    </a:cubicBezTo>
                    <a:cubicBezTo>
                      <a:pt x="89" y="1"/>
                      <a:pt x="89" y="1"/>
                      <a:pt x="89" y="1"/>
                    </a:cubicBezTo>
                    <a:cubicBezTo>
                      <a:pt x="88" y="1"/>
                      <a:pt x="86" y="0"/>
                      <a:pt x="85" y="0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94" name="Freeform 271">
                <a:extLst>
                  <a:ext uri="{FF2B5EF4-FFF2-40B4-BE49-F238E27FC236}">
                    <a16:creationId xmlns:a16="http://schemas.microsoft.com/office/drawing/2014/main" id="{42F6226D-CFDF-4A7C-9A5E-E3CEC41D0B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7" y="1981"/>
                <a:ext cx="213" cy="251"/>
              </a:xfrm>
              <a:custGeom>
                <a:avLst/>
                <a:gdLst>
                  <a:gd name="T0" fmla="*/ 76 w 76"/>
                  <a:gd name="T1" fmla="*/ 4 h 89"/>
                  <a:gd name="T2" fmla="*/ 75 w 76"/>
                  <a:gd name="T3" fmla="*/ 0 h 89"/>
                  <a:gd name="T4" fmla="*/ 0 w 76"/>
                  <a:gd name="T5" fmla="*/ 75 h 89"/>
                  <a:gd name="T6" fmla="*/ 10 w 76"/>
                  <a:gd name="T7" fmla="*/ 84 h 89"/>
                  <a:gd name="T8" fmla="*/ 16 w 76"/>
                  <a:gd name="T9" fmla="*/ 84 h 89"/>
                  <a:gd name="T10" fmla="*/ 31 w 76"/>
                  <a:gd name="T11" fmla="*/ 70 h 89"/>
                  <a:gd name="T12" fmla="*/ 34 w 76"/>
                  <a:gd name="T13" fmla="*/ 70 h 89"/>
                  <a:gd name="T14" fmla="*/ 53 w 76"/>
                  <a:gd name="T15" fmla="*/ 88 h 89"/>
                  <a:gd name="T16" fmla="*/ 56 w 76"/>
                  <a:gd name="T17" fmla="*/ 87 h 89"/>
                  <a:gd name="T18" fmla="*/ 76 w 76"/>
                  <a:gd name="T19" fmla="*/ 4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6" h="89">
                    <a:moveTo>
                      <a:pt x="76" y="4"/>
                    </a:moveTo>
                    <a:cubicBezTo>
                      <a:pt x="76" y="3"/>
                      <a:pt x="75" y="1"/>
                      <a:pt x="75" y="0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6"/>
                      <a:pt x="14" y="86"/>
                      <a:pt x="16" y="84"/>
                    </a:cubicBezTo>
                    <a:cubicBezTo>
                      <a:pt x="31" y="70"/>
                      <a:pt x="31" y="70"/>
                      <a:pt x="31" y="70"/>
                    </a:cubicBezTo>
                    <a:cubicBezTo>
                      <a:pt x="32" y="69"/>
                      <a:pt x="33" y="69"/>
                      <a:pt x="34" y="70"/>
                    </a:cubicBezTo>
                    <a:cubicBezTo>
                      <a:pt x="53" y="88"/>
                      <a:pt x="53" y="88"/>
                      <a:pt x="53" y="88"/>
                    </a:cubicBezTo>
                    <a:cubicBezTo>
                      <a:pt x="54" y="89"/>
                      <a:pt x="56" y="89"/>
                      <a:pt x="56" y="87"/>
                    </a:cubicBezTo>
                    <a:lnTo>
                      <a:pt x="76" y="4"/>
                    </a:ln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91" name="Groupe 490">
            <a:extLst>
              <a:ext uri="{FF2B5EF4-FFF2-40B4-BE49-F238E27FC236}">
                <a16:creationId xmlns:a16="http://schemas.microsoft.com/office/drawing/2014/main" id="{38D1EC52-3184-497D-9B69-E420870A648E}"/>
              </a:ext>
            </a:extLst>
          </p:cNvPr>
          <p:cNvGrpSpPr/>
          <p:nvPr/>
        </p:nvGrpSpPr>
        <p:grpSpPr>
          <a:xfrm>
            <a:off x="2584081" y="4246747"/>
            <a:ext cx="865004" cy="865444"/>
            <a:chOff x="1939900" y="3935887"/>
            <a:chExt cx="648743" cy="649073"/>
          </a:xfrm>
        </p:grpSpPr>
        <p:sp>
          <p:nvSpPr>
            <p:cNvPr id="578" name="Oval 5">
              <a:extLst>
                <a:ext uri="{FF2B5EF4-FFF2-40B4-BE49-F238E27FC236}">
                  <a16:creationId xmlns:a16="http://schemas.microsoft.com/office/drawing/2014/main" id="{AAC7F6CF-AB26-4ED5-857D-4A9CE45C58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9900" y="3935887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579" name="Group 274">
              <a:extLst>
                <a:ext uri="{FF2B5EF4-FFF2-40B4-BE49-F238E27FC236}">
                  <a16:creationId xmlns:a16="http://schemas.microsoft.com/office/drawing/2014/main" id="{911080F2-D23F-409E-A025-15C56F023B6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053929" y="4048910"/>
              <a:ext cx="420684" cy="423026"/>
              <a:chOff x="1260" y="2514"/>
              <a:chExt cx="359" cy="361"/>
            </a:xfrm>
          </p:grpSpPr>
          <p:sp>
            <p:nvSpPr>
              <p:cNvPr id="580" name="Freeform 275">
                <a:extLst>
                  <a:ext uri="{FF2B5EF4-FFF2-40B4-BE49-F238E27FC236}">
                    <a16:creationId xmlns:a16="http://schemas.microsoft.com/office/drawing/2014/main" id="{1E7865DF-DFCF-47BE-8046-8103291D98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8" y="2514"/>
                <a:ext cx="241" cy="243"/>
              </a:xfrm>
              <a:custGeom>
                <a:avLst/>
                <a:gdLst>
                  <a:gd name="T0" fmla="*/ 86 w 86"/>
                  <a:gd name="T1" fmla="*/ 48 h 86"/>
                  <a:gd name="T2" fmla="*/ 80 w 86"/>
                  <a:gd name="T3" fmla="*/ 43 h 86"/>
                  <a:gd name="T4" fmla="*/ 75 w 86"/>
                  <a:gd name="T5" fmla="*/ 33 h 86"/>
                  <a:gd name="T6" fmla="*/ 79 w 86"/>
                  <a:gd name="T7" fmla="*/ 26 h 86"/>
                  <a:gd name="T8" fmla="*/ 77 w 86"/>
                  <a:gd name="T9" fmla="*/ 16 h 86"/>
                  <a:gd name="T10" fmla="*/ 69 w 86"/>
                  <a:gd name="T11" fmla="*/ 18 h 86"/>
                  <a:gd name="T12" fmla="*/ 59 w 86"/>
                  <a:gd name="T13" fmla="*/ 13 h 86"/>
                  <a:gd name="T14" fmla="*/ 57 w 86"/>
                  <a:gd name="T15" fmla="*/ 6 h 86"/>
                  <a:gd name="T16" fmla="*/ 49 w 86"/>
                  <a:gd name="T17" fmla="*/ 0 h 86"/>
                  <a:gd name="T18" fmla="*/ 44 w 86"/>
                  <a:gd name="T19" fmla="*/ 6 h 86"/>
                  <a:gd name="T20" fmla="*/ 33 w 86"/>
                  <a:gd name="T21" fmla="*/ 11 h 86"/>
                  <a:gd name="T22" fmla="*/ 27 w 86"/>
                  <a:gd name="T23" fmla="*/ 6 h 86"/>
                  <a:gd name="T24" fmla="*/ 17 w 86"/>
                  <a:gd name="T25" fmla="*/ 9 h 86"/>
                  <a:gd name="T26" fmla="*/ 18 w 86"/>
                  <a:gd name="T27" fmla="*/ 16 h 86"/>
                  <a:gd name="T28" fmla="*/ 14 w 86"/>
                  <a:gd name="T29" fmla="*/ 27 h 86"/>
                  <a:gd name="T30" fmla="*/ 6 w 86"/>
                  <a:gd name="T31" fmla="*/ 29 h 86"/>
                  <a:gd name="T32" fmla="*/ 1 w 86"/>
                  <a:gd name="T33" fmla="*/ 37 h 86"/>
                  <a:gd name="T34" fmla="*/ 7 w 86"/>
                  <a:gd name="T35" fmla="*/ 42 h 86"/>
                  <a:gd name="T36" fmla="*/ 12 w 86"/>
                  <a:gd name="T37" fmla="*/ 53 h 86"/>
                  <a:gd name="T38" fmla="*/ 7 w 86"/>
                  <a:gd name="T39" fmla="*/ 59 h 86"/>
                  <a:gd name="T40" fmla="*/ 9 w 86"/>
                  <a:gd name="T41" fmla="*/ 69 h 86"/>
                  <a:gd name="T42" fmla="*/ 17 w 86"/>
                  <a:gd name="T43" fmla="*/ 68 h 86"/>
                  <a:gd name="T44" fmla="*/ 28 w 86"/>
                  <a:gd name="T45" fmla="*/ 72 h 86"/>
                  <a:gd name="T46" fmla="*/ 29 w 86"/>
                  <a:gd name="T47" fmla="*/ 80 h 86"/>
                  <a:gd name="T48" fmla="*/ 38 w 86"/>
                  <a:gd name="T49" fmla="*/ 85 h 86"/>
                  <a:gd name="T50" fmla="*/ 43 w 86"/>
                  <a:gd name="T51" fmla="*/ 79 h 86"/>
                  <a:gd name="T52" fmla="*/ 53 w 86"/>
                  <a:gd name="T53" fmla="*/ 74 h 86"/>
                  <a:gd name="T54" fmla="*/ 60 w 86"/>
                  <a:gd name="T55" fmla="*/ 79 h 86"/>
                  <a:gd name="T56" fmla="*/ 70 w 86"/>
                  <a:gd name="T57" fmla="*/ 76 h 86"/>
                  <a:gd name="T58" fmla="*/ 68 w 86"/>
                  <a:gd name="T59" fmla="*/ 69 h 86"/>
                  <a:gd name="T60" fmla="*/ 73 w 86"/>
                  <a:gd name="T61" fmla="*/ 58 h 86"/>
                  <a:gd name="T62" fmla="*/ 80 w 86"/>
                  <a:gd name="T63" fmla="*/ 57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6" h="86">
                    <a:moveTo>
                      <a:pt x="85" y="54"/>
                    </a:moveTo>
                    <a:cubicBezTo>
                      <a:pt x="86" y="48"/>
                      <a:pt x="86" y="48"/>
                      <a:pt x="86" y="48"/>
                    </a:cubicBezTo>
                    <a:cubicBezTo>
                      <a:pt x="86" y="46"/>
                      <a:pt x="85" y="45"/>
                      <a:pt x="83" y="44"/>
                    </a:cubicBezTo>
                    <a:cubicBezTo>
                      <a:pt x="80" y="43"/>
                      <a:pt x="80" y="43"/>
                      <a:pt x="80" y="43"/>
                    </a:cubicBezTo>
                    <a:cubicBezTo>
                      <a:pt x="78" y="43"/>
                      <a:pt x="77" y="42"/>
                      <a:pt x="76" y="40"/>
                    </a:cubicBezTo>
                    <a:cubicBezTo>
                      <a:pt x="76" y="37"/>
                      <a:pt x="76" y="35"/>
                      <a:pt x="75" y="33"/>
                    </a:cubicBezTo>
                    <a:cubicBezTo>
                      <a:pt x="74" y="31"/>
                      <a:pt x="75" y="29"/>
                      <a:pt x="77" y="28"/>
                    </a:cubicBezTo>
                    <a:cubicBezTo>
                      <a:pt x="79" y="26"/>
                      <a:pt x="79" y="26"/>
                      <a:pt x="79" y="26"/>
                    </a:cubicBezTo>
                    <a:cubicBezTo>
                      <a:pt x="81" y="25"/>
                      <a:pt x="82" y="23"/>
                      <a:pt x="81" y="22"/>
                    </a:cubicBezTo>
                    <a:cubicBezTo>
                      <a:pt x="77" y="16"/>
                      <a:pt x="77" y="16"/>
                      <a:pt x="77" y="16"/>
                    </a:cubicBezTo>
                    <a:cubicBezTo>
                      <a:pt x="76" y="15"/>
                      <a:pt x="74" y="14"/>
                      <a:pt x="73" y="15"/>
                    </a:cubicBezTo>
                    <a:cubicBezTo>
                      <a:pt x="69" y="18"/>
                      <a:pt x="69" y="18"/>
                      <a:pt x="69" y="18"/>
                    </a:cubicBezTo>
                    <a:cubicBezTo>
                      <a:pt x="68" y="19"/>
                      <a:pt x="66" y="18"/>
                      <a:pt x="65" y="17"/>
                    </a:cubicBezTo>
                    <a:cubicBezTo>
                      <a:pt x="63" y="16"/>
                      <a:pt x="61" y="14"/>
                      <a:pt x="59" y="13"/>
                    </a:cubicBezTo>
                    <a:cubicBezTo>
                      <a:pt x="57" y="12"/>
                      <a:pt x="56" y="11"/>
                      <a:pt x="57" y="9"/>
                    </a:cubicBezTo>
                    <a:cubicBezTo>
                      <a:pt x="57" y="6"/>
                      <a:pt x="57" y="6"/>
                      <a:pt x="57" y="6"/>
                    </a:cubicBezTo>
                    <a:cubicBezTo>
                      <a:pt x="58" y="3"/>
                      <a:pt x="57" y="2"/>
                      <a:pt x="55" y="1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7" y="0"/>
                      <a:pt x="45" y="1"/>
                      <a:pt x="45" y="3"/>
                    </a:cubicBezTo>
                    <a:cubicBezTo>
                      <a:pt x="44" y="6"/>
                      <a:pt x="44" y="6"/>
                      <a:pt x="44" y="6"/>
                    </a:cubicBezTo>
                    <a:cubicBezTo>
                      <a:pt x="44" y="8"/>
                      <a:pt x="42" y="9"/>
                      <a:pt x="41" y="10"/>
                    </a:cubicBezTo>
                    <a:cubicBezTo>
                      <a:pt x="38" y="10"/>
                      <a:pt x="36" y="10"/>
                      <a:pt x="33" y="11"/>
                    </a:cubicBezTo>
                    <a:cubicBezTo>
                      <a:pt x="32" y="12"/>
                      <a:pt x="30" y="11"/>
                      <a:pt x="29" y="9"/>
                    </a:cubicBezTo>
                    <a:cubicBezTo>
                      <a:pt x="27" y="6"/>
                      <a:pt x="27" y="6"/>
                      <a:pt x="27" y="6"/>
                    </a:cubicBezTo>
                    <a:cubicBezTo>
                      <a:pt x="26" y="5"/>
                      <a:pt x="24" y="4"/>
                      <a:pt x="22" y="5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6" y="10"/>
                      <a:pt x="15" y="12"/>
                      <a:pt x="16" y="13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19" y="18"/>
                      <a:pt x="19" y="20"/>
                      <a:pt x="18" y="21"/>
                    </a:cubicBezTo>
                    <a:cubicBezTo>
                      <a:pt x="16" y="23"/>
                      <a:pt x="15" y="25"/>
                      <a:pt x="14" y="27"/>
                    </a:cubicBezTo>
                    <a:cubicBezTo>
                      <a:pt x="13" y="29"/>
                      <a:pt x="11" y="30"/>
                      <a:pt x="10" y="29"/>
                    </a:cubicBezTo>
                    <a:cubicBezTo>
                      <a:pt x="8" y="29"/>
                      <a:pt x="6" y="29"/>
                      <a:pt x="6" y="29"/>
                    </a:cubicBezTo>
                    <a:cubicBezTo>
                      <a:pt x="4" y="28"/>
                      <a:pt x="2" y="29"/>
                      <a:pt x="2" y="31"/>
                    </a:cubicBezTo>
                    <a:cubicBezTo>
                      <a:pt x="1" y="37"/>
                      <a:pt x="1" y="37"/>
                      <a:pt x="1" y="37"/>
                    </a:cubicBezTo>
                    <a:cubicBezTo>
                      <a:pt x="0" y="39"/>
                      <a:pt x="2" y="41"/>
                      <a:pt x="3" y="41"/>
                    </a:cubicBezTo>
                    <a:cubicBezTo>
                      <a:pt x="7" y="42"/>
                      <a:pt x="7" y="42"/>
                      <a:pt x="7" y="42"/>
                    </a:cubicBezTo>
                    <a:cubicBezTo>
                      <a:pt x="9" y="42"/>
                      <a:pt x="10" y="44"/>
                      <a:pt x="10" y="45"/>
                    </a:cubicBezTo>
                    <a:cubicBezTo>
                      <a:pt x="11" y="48"/>
                      <a:pt x="11" y="50"/>
                      <a:pt x="12" y="53"/>
                    </a:cubicBezTo>
                    <a:cubicBezTo>
                      <a:pt x="12" y="54"/>
                      <a:pt x="12" y="56"/>
                      <a:pt x="10" y="57"/>
                    </a:cubicBezTo>
                    <a:cubicBezTo>
                      <a:pt x="7" y="59"/>
                      <a:pt x="7" y="59"/>
                      <a:pt x="7" y="59"/>
                    </a:cubicBezTo>
                    <a:cubicBezTo>
                      <a:pt x="5" y="60"/>
                      <a:pt x="5" y="62"/>
                      <a:pt x="6" y="64"/>
                    </a:cubicBezTo>
                    <a:cubicBezTo>
                      <a:pt x="9" y="69"/>
                      <a:pt x="9" y="69"/>
                      <a:pt x="9" y="69"/>
                    </a:cubicBezTo>
                    <a:cubicBezTo>
                      <a:pt x="10" y="70"/>
                      <a:pt x="12" y="71"/>
                      <a:pt x="14" y="70"/>
                    </a:cubicBezTo>
                    <a:cubicBezTo>
                      <a:pt x="17" y="68"/>
                      <a:pt x="17" y="68"/>
                      <a:pt x="17" y="68"/>
                    </a:cubicBezTo>
                    <a:cubicBezTo>
                      <a:pt x="19" y="67"/>
                      <a:pt x="21" y="67"/>
                      <a:pt x="22" y="68"/>
                    </a:cubicBezTo>
                    <a:cubicBezTo>
                      <a:pt x="24" y="69"/>
                      <a:pt x="26" y="71"/>
                      <a:pt x="28" y="72"/>
                    </a:cubicBezTo>
                    <a:cubicBezTo>
                      <a:pt x="30" y="73"/>
                      <a:pt x="30" y="75"/>
                      <a:pt x="30" y="76"/>
                    </a:cubicBezTo>
                    <a:cubicBezTo>
                      <a:pt x="29" y="80"/>
                      <a:pt x="29" y="80"/>
                      <a:pt x="29" y="80"/>
                    </a:cubicBezTo>
                    <a:cubicBezTo>
                      <a:pt x="29" y="82"/>
                      <a:pt x="30" y="84"/>
                      <a:pt x="32" y="84"/>
                    </a:cubicBezTo>
                    <a:cubicBezTo>
                      <a:pt x="38" y="85"/>
                      <a:pt x="38" y="85"/>
                      <a:pt x="38" y="85"/>
                    </a:cubicBezTo>
                    <a:cubicBezTo>
                      <a:pt x="40" y="86"/>
                      <a:pt x="41" y="84"/>
                      <a:pt x="42" y="83"/>
                    </a:cubicBezTo>
                    <a:cubicBezTo>
                      <a:pt x="43" y="79"/>
                      <a:pt x="43" y="79"/>
                      <a:pt x="43" y="79"/>
                    </a:cubicBezTo>
                    <a:cubicBezTo>
                      <a:pt x="43" y="77"/>
                      <a:pt x="44" y="76"/>
                      <a:pt x="46" y="76"/>
                    </a:cubicBezTo>
                    <a:cubicBezTo>
                      <a:pt x="49" y="75"/>
                      <a:pt x="51" y="75"/>
                      <a:pt x="53" y="74"/>
                    </a:cubicBezTo>
                    <a:cubicBezTo>
                      <a:pt x="55" y="74"/>
                      <a:pt x="57" y="74"/>
                      <a:pt x="58" y="76"/>
                    </a:cubicBezTo>
                    <a:cubicBezTo>
                      <a:pt x="60" y="79"/>
                      <a:pt x="60" y="79"/>
                      <a:pt x="60" y="79"/>
                    </a:cubicBezTo>
                    <a:cubicBezTo>
                      <a:pt x="61" y="81"/>
                      <a:pt x="63" y="81"/>
                      <a:pt x="64" y="80"/>
                    </a:cubicBezTo>
                    <a:cubicBezTo>
                      <a:pt x="70" y="76"/>
                      <a:pt x="70" y="76"/>
                      <a:pt x="70" y="76"/>
                    </a:cubicBezTo>
                    <a:cubicBezTo>
                      <a:pt x="71" y="75"/>
                      <a:pt x="72" y="74"/>
                      <a:pt x="71" y="72"/>
                    </a:cubicBezTo>
                    <a:cubicBezTo>
                      <a:pt x="68" y="69"/>
                      <a:pt x="68" y="69"/>
                      <a:pt x="68" y="69"/>
                    </a:cubicBezTo>
                    <a:cubicBezTo>
                      <a:pt x="67" y="67"/>
                      <a:pt x="67" y="65"/>
                      <a:pt x="69" y="64"/>
                    </a:cubicBezTo>
                    <a:cubicBezTo>
                      <a:pt x="70" y="62"/>
                      <a:pt x="72" y="60"/>
                      <a:pt x="73" y="58"/>
                    </a:cubicBezTo>
                    <a:cubicBezTo>
                      <a:pt x="74" y="56"/>
                      <a:pt x="75" y="56"/>
                      <a:pt x="77" y="56"/>
                    </a:cubicBezTo>
                    <a:cubicBezTo>
                      <a:pt x="79" y="56"/>
                      <a:pt x="80" y="57"/>
                      <a:pt x="80" y="57"/>
                    </a:cubicBezTo>
                    <a:cubicBezTo>
                      <a:pt x="83" y="57"/>
                      <a:pt x="84" y="56"/>
                      <a:pt x="85" y="54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81" name="Freeform 276">
                <a:extLst>
                  <a:ext uri="{FF2B5EF4-FFF2-40B4-BE49-F238E27FC236}">
                    <a16:creationId xmlns:a16="http://schemas.microsoft.com/office/drawing/2014/main" id="{1C20E6E7-0763-4A05-ACF0-0D09916BF0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9" y="2599"/>
                <a:ext cx="79" cy="73"/>
              </a:xfrm>
              <a:custGeom>
                <a:avLst/>
                <a:gdLst>
                  <a:gd name="T0" fmla="*/ 14 w 28"/>
                  <a:gd name="T1" fmla="*/ 26 h 26"/>
                  <a:gd name="T2" fmla="*/ 12 w 28"/>
                  <a:gd name="T3" fmla="*/ 25 h 26"/>
                  <a:gd name="T4" fmla="*/ 2 w 28"/>
                  <a:gd name="T5" fmla="*/ 10 h 26"/>
                  <a:gd name="T6" fmla="*/ 14 w 28"/>
                  <a:gd name="T7" fmla="*/ 0 h 26"/>
                  <a:gd name="T8" fmla="*/ 17 w 28"/>
                  <a:gd name="T9" fmla="*/ 0 h 26"/>
                  <a:gd name="T10" fmla="*/ 25 w 28"/>
                  <a:gd name="T11" fmla="*/ 5 h 26"/>
                  <a:gd name="T12" fmla="*/ 27 w 28"/>
                  <a:gd name="T13" fmla="*/ 15 h 26"/>
                  <a:gd name="T14" fmla="*/ 14 w 28"/>
                  <a:gd name="T1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26">
                    <a:moveTo>
                      <a:pt x="14" y="26"/>
                    </a:moveTo>
                    <a:cubicBezTo>
                      <a:pt x="13" y="26"/>
                      <a:pt x="13" y="26"/>
                      <a:pt x="12" y="25"/>
                    </a:cubicBezTo>
                    <a:cubicBezTo>
                      <a:pt x="5" y="24"/>
                      <a:pt x="0" y="17"/>
                      <a:pt x="2" y="10"/>
                    </a:cubicBezTo>
                    <a:cubicBezTo>
                      <a:pt x="3" y="4"/>
                      <a:pt x="8" y="0"/>
                      <a:pt x="14" y="0"/>
                    </a:cubicBezTo>
                    <a:cubicBezTo>
                      <a:pt x="15" y="0"/>
                      <a:pt x="16" y="0"/>
                      <a:pt x="17" y="0"/>
                    </a:cubicBezTo>
                    <a:cubicBezTo>
                      <a:pt x="20" y="1"/>
                      <a:pt x="23" y="3"/>
                      <a:pt x="25" y="5"/>
                    </a:cubicBezTo>
                    <a:cubicBezTo>
                      <a:pt x="27" y="8"/>
                      <a:pt x="28" y="12"/>
                      <a:pt x="27" y="15"/>
                    </a:cubicBezTo>
                    <a:cubicBezTo>
                      <a:pt x="26" y="21"/>
                      <a:pt x="21" y="26"/>
                      <a:pt x="14" y="26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82" name="Freeform 277">
                <a:extLst>
                  <a:ext uri="{FF2B5EF4-FFF2-40B4-BE49-F238E27FC236}">
                    <a16:creationId xmlns:a16="http://schemas.microsoft.com/office/drawing/2014/main" id="{E17B4E14-9637-4C2E-B759-97280722AF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51" y="2590"/>
                <a:ext cx="98" cy="90"/>
              </a:xfrm>
              <a:custGeom>
                <a:avLst/>
                <a:gdLst>
                  <a:gd name="T0" fmla="*/ 17 w 35"/>
                  <a:gd name="T1" fmla="*/ 6 h 32"/>
                  <a:gd name="T2" fmla="*/ 17 w 35"/>
                  <a:gd name="T3" fmla="*/ 6 h 32"/>
                  <a:gd name="T4" fmla="*/ 19 w 35"/>
                  <a:gd name="T5" fmla="*/ 6 h 32"/>
                  <a:gd name="T6" fmla="*/ 26 w 35"/>
                  <a:gd name="T7" fmla="*/ 10 h 32"/>
                  <a:gd name="T8" fmla="*/ 27 w 35"/>
                  <a:gd name="T9" fmla="*/ 18 h 32"/>
                  <a:gd name="T10" fmla="*/ 17 w 35"/>
                  <a:gd name="T11" fmla="*/ 26 h 32"/>
                  <a:gd name="T12" fmla="*/ 15 w 35"/>
                  <a:gd name="T13" fmla="*/ 25 h 32"/>
                  <a:gd name="T14" fmla="*/ 9 w 35"/>
                  <a:gd name="T15" fmla="*/ 21 h 32"/>
                  <a:gd name="T16" fmla="*/ 8 w 35"/>
                  <a:gd name="T17" fmla="*/ 14 h 32"/>
                  <a:gd name="T18" fmla="*/ 17 w 35"/>
                  <a:gd name="T19" fmla="*/ 6 h 32"/>
                  <a:gd name="T20" fmla="*/ 17 w 35"/>
                  <a:gd name="T21" fmla="*/ 0 h 32"/>
                  <a:gd name="T22" fmla="*/ 2 w 35"/>
                  <a:gd name="T23" fmla="*/ 12 h 32"/>
                  <a:gd name="T24" fmla="*/ 14 w 35"/>
                  <a:gd name="T25" fmla="*/ 31 h 32"/>
                  <a:gd name="T26" fmla="*/ 17 w 35"/>
                  <a:gd name="T27" fmla="*/ 32 h 32"/>
                  <a:gd name="T28" fmla="*/ 33 w 35"/>
                  <a:gd name="T29" fmla="*/ 19 h 32"/>
                  <a:gd name="T30" fmla="*/ 21 w 35"/>
                  <a:gd name="T31" fmla="*/ 0 h 32"/>
                  <a:gd name="T32" fmla="*/ 17 w 35"/>
                  <a:gd name="T3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5" h="32">
                    <a:moveTo>
                      <a:pt x="17" y="6"/>
                    </a:moveTo>
                    <a:cubicBezTo>
                      <a:pt x="17" y="6"/>
                      <a:pt x="17" y="6"/>
                      <a:pt x="17" y="6"/>
                    </a:cubicBezTo>
                    <a:cubicBezTo>
                      <a:pt x="18" y="6"/>
                      <a:pt x="19" y="6"/>
                      <a:pt x="19" y="6"/>
                    </a:cubicBezTo>
                    <a:cubicBezTo>
                      <a:pt x="22" y="6"/>
                      <a:pt x="24" y="8"/>
                      <a:pt x="26" y="10"/>
                    </a:cubicBezTo>
                    <a:cubicBezTo>
                      <a:pt x="27" y="12"/>
                      <a:pt x="28" y="15"/>
                      <a:pt x="27" y="18"/>
                    </a:cubicBezTo>
                    <a:cubicBezTo>
                      <a:pt x="26" y="22"/>
                      <a:pt x="22" y="26"/>
                      <a:pt x="17" y="26"/>
                    </a:cubicBezTo>
                    <a:cubicBezTo>
                      <a:pt x="17" y="26"/>
                      <a:pt x="16" y="26"/>
                      <a:pt x="15" y="25"/>
                    </a:cubicBezTo>
                    <a:cubicBezTo>
                      <a:pt x="13" y="25"/>
                      <a:pt x="10" y="23"/>
                      <a:pt x="9" y="21"/>
                    </a:cubicBezTo>
                    <a:cubicBezTo>
                      <a:pt x="8" y="19"/>
                      <a:pt x="7" y="16"/>
                      <a:pt x="8" y="14"/>
                    </a:cubicBezTo>
                    <a:cubicBezTo>
                      <a:pt x="8" y="9"/>
                      <a:pt x="13" y="6"/>
                      <a:pt x="17" y="6"/>
                    </a:cubicBezTo>
                    <a:moveTo>
                      <a:pt x="17" y="0"/>
                    </a:moveTo>
                    <a:cubicBezTo>
                      <a:pt x="10" y="0"/>
                      <a:pt x="3" y="5"/>
                      <a:pt x="2" y="12"/>
                    </a:cubicBezTo>
                    <a:cubicBezTo>
                      <a:pt x="0" y="21"/>
                      <a:pt x="6" y="30"/>
                      <a:pt x="14" y="31"/>
                    </a:cubicBezTo>
                    <a:cubicBezTo>
                      <a:pt x="15" y="32"/>
                      <a:pt x="16" y="32"/>
                      <a:pt x="17" y="32"/>
                    </a:cubicBezTo>
                    <a:cubicBezTo>
                      <a:pt x="25" y="32"/>
                      <a:pt x="31" y="26"/>
                      <a:pt x="33" y="19"/>
                    </a:cubicBezTo>
                    <a:cubicBezTo>
                      <a:pt x="35" y="10"/>
                      <a:pt x="29" y="2"/>
                      <a:pt x="21" y="0"/>
                    </a:cubicBezTo>
                    <a:cubicBezTo>
                      <a:pt x="19" y="0"/>
                      <a:pt x="18" y="0"/>
                      <a:pt x="1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83" name="Freeform 278">
                <a:extLst>
                  <a:ext uri="{FF2B5EF4-FFF2-40B4-BE49-F238E27FC236}">
                    <a16:creationId xmlns:a16="http://schemas.microsoft.com/office/drawing/2014/main" id="{2AD8D888-C475-461F-B898-953612556E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0" y="2678"/>
                <a:ext cx="196" cy="197"/>
              </a:xfrm>
              <a:custGeom>
                <a:avLst/>
                <a:gdLst>
                  <a:gd name="T0" fmla="*/ 37 w 70"/>
                  <a:gd name="T1" fmla="*/ 3 h 70"/>
                  <a:gd name="T2" fmla="*/ 33 w 70"/>
                  <a:gd name="T3" fmla="*/ 10 h 70"/>
                  <a:gd name="T4" fmla="*/ 26 w 70"/>
                  <a:gd name="T5" fmla="*/ 11 h 70"/>
                  <a:gd name="T6" fmla="*/ 21 w 70"/>
                  <a:gd name="T7" fmla="*/ 6 h 70"/>
                  <a:gd name="T8" fmla="*/ 16 w 70"/>
                  <a:gd name="T9" fmla="*/ 5 h 70"/>
                  <a:gd name="T10" fmla="*/ 14 w 70"/>
                  <a:gd name="T11" fmla="*/ 11 h 70"/>
                  <a:gd name="T12" fmla="*/ 16 w 70"/>
                  <a:gd name="T13" fmla="*/ 18 h 70"/>
                  <a:gd name="T14" fmla="*/ 9 w 70"/>
                  <a:gd name="T15" fmla="*/ 25 h 70"/>
                  <a:gd name="T16" fmla="*/ 4 w 70"/>
                  <a:gd name="T17" fmla="*/ 25 h 70"/>
                  <a:gd name="T18" fmla="*/ 0 w 70"/>
                  <a:gd name="T19" fmla="*/ 27 h 70"/>
                  <a:gd name="T20" fmla="*/ 3 w 70"/>
                  <a:gd name="T21" fmla="*/ 33 h 70"/>
                  <a:gd name="T22" fmla="*/ 9 w 70"/>
                  <a:gd name="T23" fmla="*/ 37 h 70"/>
                  <a:gd name="T24" fmla="*/ 9 w 70"/>
                  <a:gd name="T25" fmla="*/ 47 h 70"/>
                  <a:gd name="T26" fmla="*/ 5 w 70"/>
                  <a:gd name="T27" fmla="*/ 54 h 70"/>
                  <a:gd name="T28" fmla="*/ 9 w 70"/>
                  <a:gd name="T29" fmla="*/ 57 h 70"/>
                  <a:gd name="T30" fmla="*/ 14 w 70"/>
                  <a:gd name="T31" fmla="*/ 54 h 70"/>
                  <a:gd name="T32" fmla="*/ 18 w 70"/>
                  <a:gd name="T33" fmla="*/ 54 h 70"/>
                  <a:gd name="T34" fmla="*/ 25 w 70"/>
                  <a:gd name="T35" fmla="*/ 62 h 70"/>
                  <a:gd name="T36" fmla="*/ 27 w 70"/>
                  <a:gd name="T37" fmla="*/ 70 h 70"/>
                  <a:gd name="T38" fmla="*/ 30 w 70"/>
                  <a:gd name="T39" fmla="*/ 70 h 70"/>
                  <a:gd name="T40" fmla="*/ 33 w 70"/>
                  <a:gd name="T41" fmla="*/ 63 h 70"/>
                  <a:gd name="T42" fmla="*/ 43 w 70"/>
                  <a:gd name="T43" fmla="*/ 59 h 70"/>
                  <a:gd name="T44" fmla="*/ 47 w 70"/>
                  <a:gd name="T45" fmla="*/ 61 h 70"/>
                  <a:gd name="T46" fmla="*/ 52 w 70"/>
                  <a:gd name="T47" fmla="*/ 66 h 70"/>
                  <a:gd name="T48" fmla="*/ 55 w 70"/>
                  <a:gd name="T49" fmla="*/ 64 h 70"/>
                  <a:gd name="T50" fmla="*/ 54 w 70"/>
                  <a:gd name="T51" fmla="*/ 56 h 70"/>
                  <a:gd name="T52" fmla="*/ 58 w 70"/>
                  <a:gd name="T53" fmla="*/ 46 h 70"/>
                  <a:gd name="T54" fmla="*/ 61 w 70"/>
                  <a:gd name="T55" fmla="*/ 45 h 70"/>
                  <a:gd name="T56" fmla="*/ 66 w 70"/>
                  <a:gd name="T57" fmla="*/ 46 h 70"/>
                  <a:gd name="T58" fmla="*/ 70 w 70"/>
                  <a:gd name="T59" fmla="*/ 41 h 70"/>
                  <a:gd name="T60" fmla="*/ 63 w 70"/>
                  <a:gd name="T61" fmla="*/ 36 h 70"/>
                  <a:gd name="T62" fmla="*/ 59 w 70"/>
                  <a:gd name="T63" fmla="*/ 27 h 70"/>
                  <a:gd name="T64" fmla="*/ 64 w 70"/>
                  <a:gd name="T65" fmla="*/ 21 h 70"/>
                  <a:gd name="T66" fmla="*/ 64 w 70"/>
                  <a:gd name="T67" fmla="*/ 15 h 70"/>
                  <a:gd name="T68" fmla="*/ 59 w 70"/>
                  <a:gd name="T69" fmla="*/ 14 h 70"/>
                  <a:gd name="T70" fmla="*/ 54 w 70"/>
                  <a:gd name="T71" fmla="*/ 17 h 70"/>
                  <a:gd name="T72" fmla="*/ 46 w 70"/>
                  <a:gd name="T73" fmla="*/ 12 h 70"/>
                  <a:gd name="T74" fmla="*/ 45 w 70"/>
                  <a:gd name="T75" fmla="*/ 5 h 70"/>
                  <a:gd name="T76" fmla="*/ 41 w 70"/>
                  <a:gd name="T77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70" h="70">
                    <a:moveTo>
                      <a:pt x="40" y="0"/>
                    </a:moveTo>
                    <a:cubicBezTo>
                      <a:pt x="39" y="0"/>
                      <a:pt x="37" y="1"/>
                      <a:pt x="37" y="3"/>
                    </a:cubicBezTo>
                    <a:cubicBezTo>
                      <a:pt x="36" y="7"/>
                      <a:pt x="36" y="7"/>
                      <a:pt x="36" y="7"/>
                    </a:cubicBezTo>
                    <a:cubicBezTo>
                      <a:pt x="36" y="8"/>
                      <a:pt x="35" y="9"/>
                      <a:pt x="33" y="10"/>
                    </a:cubicBezTo>
                    <a:cubicBezTo>
                      <a:pt x="31" y="10"/>
                      <a:pt x="29" y="10"/>
                      <a:pt x="27" y="11"/>
                    </a:cubicBezTo>
                    <a:cubicBezTo>
                      <a:pt x="26" y="11"/>
                      <a:pt x="26" y="11"/>
                      <a:pt x="26" y="11"/>
                    </a:cubicBezTo>
                    <a:cubicBezTo>
                      <a:pt x="25" y="11"/>
                      <a:pt x="24" y="10"/>
                      <a:pt x="23" y="10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20" y="5"/>
                      <a:pt x="19" y="5"/>
                      <a:pt x="18" y="5"/>
                    </a:cubicBezTo>
                    <a:cubicBezTo>
                      <a:pt x="17" y="5"/>
                      <a:pt x="17" y="5"/>
                      <a:pt x="16" y="5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7"/>
                      <a:pt x="13" y="9"/>
                      <a:pt x="14" y="11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7" y="15"/>
                      <a:pt x="17" y="17"/>
                      <a:pt x="16" y="18"/>
                    </a:cubicBezTo>
                    <a:cubicBezTo>
                      <a:pt x="14" y="20"/>
                      <a:pt x="13" y="22"/>
                      <a:pt x="12" y="24"/>
                    </a:cubicBezTo>
                    <a:cubicBezTo>
                      <a:pt x="11" y="25"/>
                      <a:pt x="10" y="25"/>
                      <a:pt x="9" y="25"/>
                    </a:cubicBezTo>
                    <a:cubicBezTo>
                      <a:pt x="9" y="25"/>
                      <a:pt x="9" y="25"/>
                      <a:pt x="8" y="25"/>
                    </a:cubicBezTo>
                    <a:cubicBezTo>
                      <a:pt x="4" y="25"/>
                      <a:pt x="4" y="25"/>
                      <a:pt x="4" y="25"/>
                    </a:cubicBezTo>
                    <a:cubicBezTo>
                      <a:pt x="4" y="25"/>
                      <a:pt x="4" y="25"/>
                      <a:pt x="4" y="25"/>
                    </a:cubicBezTo>
                    <a:cubicBezTo>
                      <a:pt x="2" y="25"/>
                      <a:pt x="1" y="26"/>
                      <a:pt x="0" y="27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31"/>
                      <a:pt x="1" y="33"/>
                      <a:pt x="3" y="33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8" y="34"/>
                      <a:pt x="9" y="35"/>
                      <a:pt x="9" y="37"/>
                    </a:cubicBezTo>
                    <a:cubicBezTo>
                      <a:pt x="9" y="39"/>
                      <a:pt x="10" y="41"/>
                      <a:pt x="11" y="43"/>
                    </a:cubicBezTo>
                    <a:cubicBezTo>
                      <a:pt x="11" y="45"/>
                      <a:pt x="10" y="46"/>
                      <a:pt x="9" y="47"/>
                    </a:cubicBezTo>
                    <a:cubicBezTo>
                      <a:pt x="6" y="49"/>
                      <a:pt x="6" y="49"/>
                      <a:pt x="6" y="49"/>
                    </a:cubicBezTo>
                    <a:cubicBezTo>
                      <a:pt x="4" y="50"/>
                      <a:pt x="4" y="52"/>
                      <a:pt x="5" y="54"/>
                    </a:cubicBezTo>
                    <a:cubicBezTo>
                      <a:pt x="6" y="56"/>
                      <a:pt x="6" y="56"/>
                      <a:pt x="6" y="56"/>
                    </a:cubicBezTo>
                    <a:cubicBezTo>
                      <a:pt x="7" y="56"/>
                      <a:pt x="8" y="57"/>
                      <a:pt x="9" y="57"/>
                    </a:cubicBezTo>
                    <a:cubicBezTo>
                      <a:pt x="9" y="57"/>
                      <a:pt x="10" y="57"/>
                      <a:pt x="10" y="56"/>
                    </a:cubicBezTo>
                    <a:cubicBezTo>
                      <a:pt x="14" y="54"/>
                      <a:pt x="14" y="54"/>
                      <a:pt x="14" y="54"/>
                    </a:cubicBezTo>
                    <a:cubicBezTo>
                      <a:pt x="15" y="54"/>
                      <a:pt x="15" y="54"/>
                      <a:pt x="16" y="54"/>
                    </a:cubicBezTo>
                    <a:cubicBezTo>
                      <a:pt x="16" y="54"/>
                      <a:pt x="17" y="54"/>
                      <a:pt x="18" y="54"/>
                    </a:cubicBezTo>
                    <a:cubicBezTo>
                      <a:pt x="19" y="56"/>
                      <a:pt x="21" y="57"/>
                      <a:pt x="23" y="58"/>
                    </a:cubicBezTo>
                    <a:cubicBezTo>
                      <a:pt x="25" y="59"/>
                      <a:pt x="25" y="60"/>
                      <a:pt x="25" y="62"/>
                    </a:cubicBezTo>
                    <a:cubicBezTo>
                      <a:pt x="24" y="66"/>
                      <a:pt x="24" y="66"/>
                      <a:pt x="24" y="66"/>
                    </a:cubicBezTo>
                    <a:cubicBezTo>
                      <a:pt x="24" y="67"/>
                      <a:pt x="25" y="69"/>
                      <a:pt x="27" y="70"/>
                    </a:cubicBezTo>
                    <a:cubicBezTo>
                      <a:pt x="29" y="70"/>
                      <a:pt x="29" y="70"/>
                      <a:pt x="29" y="70"/>
                    </a:cubicBezTo>
                    <a:cubicBezTo>
                      <a:pt x="29" y="70"/>
                      <a:pt x="29" y="70"/>
                      <a:pt x="30" y="70"/>
                    </a:cubicBezTo>
                    <a:cubicBezTo>
                      <a:pt x="31" y="70"/>
                      <a:pt x="32" y="69"/>
                      <a:pt x="33" y="67"/>
                    </a:cubicBezTo>
                    <a:cubicBezTo>
                      <a:pt x="33" y="63"/>
                      <a:pt x="33" y="63"/>
                      <a:pt x="33" y="63"/>
                    </a:cubicBezTo>
                    <a:cubicBezTo>
                      <a:pt x="34" y="62"/>
                      <a:pt x="35" y="61"/>
                      <a:pt x="36" y="61"/>
                    </a:cubicBezTo>
                    <a:cubicBezTo>
                      <a:pt x="39" y="61"/>
                      <a:pt x="41" y="60"/>
                      <a:pt x="43" y="59"/>
                    </a:cubicBezTo>
                    <a:cubicBezTo>
                      <a:pt x="43" y="59"/>
                      <a:pt x="44" y="59"/>
                      <a:pt x="44" y="59"/>
                    </a:cubicBezTo>
                    <a:cubicBezTo>
                      <a:pt x="45" y="59"/>
                      <a:pt x="46" y="60"/>
                      <a:pt x="47" y="61"/>
                    </a:cubicBezTo>
                    <a:cubicBezTo>
                      <a:pt x="49" y="64"/>
                      <a:pt x="49" y="64"/>
                      <a:pt x="49" y="64"/>
                    </a:cubicBezTo>
                    <a:cubicBezTo>
                      <a:pt x="50" y="65"/>
                      <a:pt x="51" y="66"/>
                      <a:pt x="52" y="66"/>
                    </a:cubicBezTo>
                    <a:cubicBezTo>
                      <a:pt x="52" y="66"/>
                      <a:pt x="53" y="65"/>
                      <a:pt x="53" y="65"/>
                    </a:cubicBezTo>
                    <a:cubicBezTo>
                      <a:pt x="55" y="64"/>
                      <a:pt x="55" y="64"/>
                      <a:pt x="55" y="64"/>
                    </a:cubicBezTo>
                    <a:cubicBezTo>
                      <a:pt x="57" y="63"/>
                      <a:pt x="57" y="61"/>
                      <a:pt x="56" y="60"/>
                    </a:cubicBezTo>
                    <a:cubicBezTo>
                      <a:pt x="54" y="56"/>
                      <a:pt x="54" y="56"/>
                      <a:pt x="54" y="56"/>
                    </a:cubicBezTo>
                    <a:cubicBezTo>
                      <a:pt x="53" y="55"/>
                      <a:pt x="53" y="53"/>
                      <a:pt x="54" y="52"/>
                    </a:cubicBezTo>
                    <a:cubicBezTo>
                      <a:pt x="55" y="50"/>
                      <a:pt x="57" y="49"/>
                      <a:pt x="58" y="46"/>
                    </a:cubicBezTo>
                    <a:cubicBezTo>
                      <a:pt x="58" y="45"/>
                      <a:pt x="59" y="45"/>
                      <a:pt x="61" y="45"/>
                    </a:cubicBezTo>
                    <a:cubicBezTo>
                      <a:pt x="61" y="45"/>
                      <a:pt x="61" y="45"/>
                      <a:pt x="61" y="45"/>
                    </a:cubicBezTo>
                    <a:cubicBezTo>
                      <a:pt x="65" y="46"/>
                      <a:pt x="65" y="46"/>
                      <a:pt x="65" y="46"/>
                    </a:cubicBezTo>
                    <a:cubicBezTo>
                      <a:pt x="66" y="46"/>
                      <a:pt x="66" y="46"/>
                      <a:pt x="66" y="46"/>
                    </a:cubicBezTo>
                    <a:cubicBezTo>
                      <a:pt x="68" y="46"/>
                      <a:pt x="69" y="45"/>
                      <a:pt x="69" y="43"/>
                    </a:cubicBezTo>
                    <a:cubicBezTo>
                      <a:pt x="70" y="41"/>
                      <a:pt x="70" y="41"/>
                      <a:pt x="70" y="41"/>
                    </a:cubicBezTo>
                    <a:cubicBezTo>
                      <a:pt x="70" y="39"/>
                      <a:pt x="69" y="38"/>
                      <a:pt x="67" y="37"/>
                    </a:cubicBezTo>
                    <a:cubicBezTo>
                      <a:pt x="63" y="36"/>
                      <a:pt x="63" y="36"/>
                      <a:pt x="63" y="36"/>
                    </a:cubicBezTo>
                    <a:cubicBezTo>
                      <a:pt x="62" y="36"/>
                      <a:pt x="60" y="35"/>
                      <a:pt x="60" y="34"/>
                    </a:cubicBezTo>
                    <a:cubicBezTo>
                      <a:pt x="60" y="31"/>
                      <a:pt x="60" y="29"/>
                      <a:pt x="59" y="27"/>
                    </a:cubicBezTo>
                    <a:cubicBezTo>
                      <a:pt x="59" y="26"/>
                      <a:pt x="59" y="24"/>
                      <a:pt x="60" y="23"/>
                    </a:cubicBezTo>
                    <a:cubicBezTo>
                      <a:pt x="64" y="21"/>
                      <a:pt x="64" y="21"/>
                      <a:pt x="64" y="21"/>
                    </a:cubicBezTo>
                    <a:cubicBezTo>
                      <a:pt x="65" y="20"/>
                      <a:pt x="66" y="18"/>
                      <a:pt x="65" y="17"/>
                    </a:cubicBezTo>
                    <a:cubicBezTo>
                      <a:pt x="64" y="15"/>
                      <a:pt x="64" y="15"/>
                      <a:pt x="64" y="15"/>
                    </a:cubicBezTo>
                    <a:cubicBezTo>
                      <a:pt x="63" y="14"/>
                      <a:pt x="62" y="13"/>
                      <a:pt x="61" y="13"/>
                    </a:cubicBezTo>
                    <a:cubicBezTo>
                      <a:pt x="60" y="13"/>
                      <a:pt x="60" y="13"/>
                      <a:pt x="59" y="14"/>
                    </a:cubicBezTo>
                    <a:cubicBezTo>
                      <a:pt x="56" y="16"/>
                      <a:pt x="56" y="16"/>
                      <a:pt x="56" y="16"/>
                    </a:cubicBezTo>
                    <a:cubicBezTo>
                      <a:pt x="55" y="17"/>
                      <a:pt x="54" y="17"/>
                      <a:pt x="54" y="17"/>
                    </a:cubicBezTo>
                    <a:cubicBezTo>
                      <a:pt x="53" y="17"/>
                      <a:pt x="52" y="16"/>
                      <a:pt x="52" y="16"/>
                    </a:cubicBezTo>
                    <a:cubicBezTo>
                      <a:pt x="50" y="14"/>
                      <a:pt x="48" y="13"/>
                      <a:pt x="46" y="12"/>
                    </a:cubicBezTo>
                    <a:cubicBezTo>
                      <a:pt x="45" y="12"/>
                      <a:pt x="44" y="10"/>
                      <a:pt x="45" y="9"/>
                    </a:cubicBezTo>
                    <a:cubicBezTo>
                      <a:pt x="45" y="5"/>
                      <a:pt x="45" y="5"/>
                      <a:pt x="45" y="5"/>
                    </a:cubicBezTo>
                    <a:cubicBezTo>
                      <a:pt x="46" y="3"/>
                      <a:pt x="45" y="1"/>
                      <a:pt x="43" y="1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41" y="0"/>
                      <a:pt x="40" y="0"/>
                      <a:pt x="40" y="0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84" name="Freeform 279">
                <a:extLst>
                  <a:ext uri="{FF2B5EF4-FFF2-40B4-BE49-F238E27FC236}">
                    <a16:creationId xmlns:a16="http://schemas.microsoft.com/office/drawing/2014/main" id="{2DE972C5-C8D6-4A89-9E45-D9DB3DF42A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6" y="2757"/>
                <a:ext cx="45" cy="39"/>
              </a:xfrm>
              <a:custGeom>
                <a:avLst/>
                <a:gdLst>
                  <a:gd name="T0" fmla="*/ 8 w 16"/>
                  <a:gd name="T1" fmla="*/ 14 h 14"/>
                  <a:gd name="T2" fmla="*/ 6 w 16"/>
                  <a:gd name="T3" fmla="*/ 14 h 14"/>
                  <a:gd name="T4" fmla="*/ 1 w 16"/>
                  <a:gd name="T5" fmla="*/ 6 h 14"/>
                  <a:gd name="T6" fmla="*/ 8 w 16"/>
                  <a:gd name="T7" fmla="*/ 0 h 14"/>
                  <a:gd name="T8" fmla="*/ 9 w 16"/>
                  <a:gd name="T9" fmla="*/ 0 h 14"/>
                  <a:gd name="T10" fmla="*/ 15 w 16"/>
                  <a:gd name="T11" fmla="*/ 9 h 14"/>
                  <a:gd name="T12" fmla="*/ 8 w 16"/>
                  <a:gd name="T13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14">
                    <a:moveTo>
                      <a:pt x="8" y="14"/>
                    </a:moveTo>
                    <a:cubicBezTo>
                      <a:pt x="7" y="14"/>
                      <a:pt x="7" y="14"/>
                      <a:pt x="6" y="14"/>
                    </a:cubicBezTo>
                    <a:cubicBezTo>
                      <a:pt x="2" y="14"/>
                      <a:pt x="0" y="10"/>
                      <a:pt x="1" y="6"/>
                    </a:cubicBezTo>
                    <a:cubicBezTo>
                      <a:pt x="1" y="2"/>
                      <a:pt x="4" y="0"/>
                      <a:pt x="8" y="0"/>
                    </a:cubicBezTo>
                    <a:cubicBezTo>
                      <a:pt x="8" y="0"/>
                      <a:pt x="9" y="0"/>
                      <a:pt x="9" y="0"/>
                    </a:cubicBezTo>
                    <a:cubicBezTo>
                      <a:pt x="13" y="1"/>
                      <a:pt x="16" y="5"/>
                      <a:pt x="15" y="9"/>
                    </a:cubicBezTo>
                    <a:cubicBezTo>
                      <a:pt x="14" y="12"/>
                      <a:pt x="11" y="14"/>
                      <a:pt x="8" y="14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85" name="Freeform 280">
                <a:extLst>
                  <a:ext uri="{FF2B5EF4-FFF2-40B4-BE49-F238E27FC236}">
                    <a16:creationId xmlns:a16="http://schemas.microsoft.com/office/drawing/2014/main" id="{F840371A-4B01-4ED8-917C-8D05574AAA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30" y="2751"/>
                <a:ext cx="56" cy="51"/>
              </a:xfrm>
              <a:custGeom>
                <a:avLst/>
                <a:gdLst>
                  <a:gd name="T0" fmla="*/ 10 w 20"/>
                  <a:gd name="T1" fmla="*/ 4 h 18"/>
                  <a:gd name="T2" fmla="*/ 10 w 20"/>
                  <a:gd name="T3" fmla="*/ 4 h 18"/>
                  <a:gd name="T4" fmla="*/ 11 w 20"/>
                  <a:gd name="T5" fmla="*/ 4 h 18"/>
                  <a:gd name="T6" fmla="*/ 15 w 20"/>
                  <a:gd name="T7" fmla="*/ 10 h 18"/>
                  <a:gd name="T8" fmla="*/ 10 w 20"/>
                  <a:gd name="T9" fmla="*/ 15 h 18"/>
                  <a:gd name="T10" fmla="*/ 9 w 20"/>
                  <a:gd name="T11" fmla="*/ 15 h 18"/>
                  <a:gd name="T12" fmla="*/ 4 w 20"/>
                  <a:gd name="T13" fmla="*/ 8 h 18"/>
                  <a:gd name="T14" fmla="*/ 10 w 20"/>
                  <a:gd name="T15" fmla="*/ 4 h 18"/>
                  <a:gd name="T16" fmla="*/ 10 w 20"/>
                  <a:gd name="T17" fmla="*/ 0 h 18"/>
                  <a:gd name="T18" fmla="*/ 1 w 20"/>
                  <a:gd name="T19" fmla="*/ 7 h 18"/>
                  <a:gd name="T20" fmla="*/ 8 w 20"/>
                  <a:gd name="T21" fmla="*/ 18 h 18"/>
                  <a:gd name="T22" fmla="*/ 10 w 20"/>
                  <a:gd name="T23" fmla="*/ 18 h 18"/>
                  <a:gd name="T24" fmla="*/ 19 w 20"/>
                  <a:gd name="T25" fmla="*/ 11 h 18"/>
                  <a:gd name="T26" fmla="*/ 12 w 20"/>
                  <a:gd name="T27" fmla="*/ 0 h 18"/>
                  <a:gd name="T28" fmla="*/ 10 w 20"/>
                  <a:gd name="T2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" h="18">
                    <a:moveTo>
                      <a:pt x="10" y="4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1" y="4"/>
                      <a:pt x="11" y="4"/>
                    </a:cubicBezTo>
                    <a:cubicBezTo>
                      <a:pt x="14" y="4"/>
                      <a:pt x="16" y="7"/>
                      <a:pt x="15" y="10"/>
                    </a:cubicBezTo>
                    <a:cubicBezTo>
                      <a:pt x="15" y="13"/>
                      <a:pt x="12" y="15"/>
                      <a:pt x="10" y="15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6" y="14"/>
                      <a:pt x="4" y="11"/>
                      <a:pt x="4" y="8"/>
                    </a:cubicBezTo>
                    <a:cubicBezTo>
                      <a:pt x="5" y="5"/>
                      <a:pt x="7" y="4"/>
                      <a:pt x="10" y="4"/>
                    </a:cubicBezTo>
                    <a:moveTo>
                      <a:pt x="10" y="0"/>
                    </a:moveTo>
                    <a:cubicBezTo>
                      <a:pt x="6" y="0"/>
                      <a:pt x="2" y="3"/>
                      <a:pt x="1" y="7"/>
                    </a:cubicBezTo>
                    <a:cubicBezTo>
                      <a:pt x="0" y="12"/>
                      <a:pt x="3" y="17"/>
                      <a:pt x="8" y="18"/>
                    </a:cubicBezTo>
                    <a:cubicBezTo>
                      <a:pt x="9" y="18"/>
                      <a:pt x="9" y="18"/>
                      <a:pt x="10" y="18"/>
                    </a:cubicBezTo>
                    <a:cubicBezTo>
                      <a:pt x="14" y="18"/>
                      <a:pt x="18" y="15"/>
                      <a:pt x="19" y="11"/>
                    </a:cubicBezTo>
                    <a:cubicBezTo>
                      <a:pt x="20" y="6"/>
                      <a:pt x="16" y="1"/>
                      <a:pt x="12" y="0"/>
                    </a:cubicBezTo>
                    <a:cubicBezTo>
                      <a:pt x="11" y="0"/>
                      <a:pt x="10" y="0"/>
                      <a:pt x="1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92" name="Groupe 491">
            <a:extLst>
              <a:ext uri="{FF2B5EF4-FFF2-40B4-BE49-F238E27FC236}">
                <a16:creationId xmlns:a16="http://schemas.microsoft.com/office/drawing/2014/main" id="{B857B299-F937-4FAF-A46E-1897E1000DFA}"/>
              </a:ext>
            </a:extLst>
          </p:cNvPr>
          <p:cNvGrpSpPr/>
          <p:nvPr/>
        </p:nvGrpSpPr>
        <p:grpSpPr>
          <a:xfrm>
            <a:off x="400738" y="4246747"/>
            <a:ext cx="865004" cy="865444"/>
            <a:chOff x="302418" y="3935887"/>
            <a:chExt cx="648743" cy="649073"/>
          </a:xfrm>
        </p:grpSpPr>
        <p:sp>
          <p:nvSpPr>
            <p:cNvPr id="564" name="Oval 5">
              <a:extLst>
                <a:ext uri="{FF2B5EF4-FFF2-40B4-BE49-F238E27FC236}">
                  <a16:creationId xmlns:a16="http://schemas.microsoft.com/office/drawing/2014/main" id="{58D79A32-4459-4D1C-BA43-30CEC38861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418" y="3935887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565" name="Group 283">
              <a:extLst>
                <a:ext uri="{FF2B5EF4-FFF2-40B4-BE49-F238E27FC236}">
                  <a16:creationId xmlns:a16="http://schemas.microsoft.com/office/drawing/2014/main" id="{85B2CB3A-A1E8-4A9F-A48B-FEC9F1ADE55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08096" y="4040981"/>
              <a:ext cx="437386" cy="415934"/>
              <a:chOff x="222" y="2502"/>
              <a:chExt cx="367" cy="349"/>
            </a:xfrm>
          </p:grpSpPr>
          <p:sp>
            <p:nvSpPr>
              <p:cNvPr id="566" name="Freeform 284">
                <a:extLst>
                  <a:ext uri="{FF2B5EF4-FFF2-40B4-BE49-F238E27FC236}">
                    <a16:creationId xmlns:a16="http://schemas.microsoft.com/office/drawing/2014/main" id="{6B496B23-B4B5-47F0-8337-362D72B512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" y="2587"/>
                <a:ext cx="50" cy="70"/>
              </a:xfrm>
              <a:custGeom>
                <a:avLst/>
                <a:gdLst>
                  <a:gd name="T0" fmla="*/ 0 w 18"/>
                  <a:gd name="T1" fmla="*/ 2 h 25"/>
                  <a:gd name="T2" fmla="*/ 16 w 18"/>
                  <a:gd name="T3" fmla="*/ 9 h 25"/>
                  <a:gd name="T4" fmla="*/ 8 w 18"/>
                  <a:gd name="T5" fmla="*/ 25 h 25"/>
                  <a:gd name="T6" fmla="*/ 0 w 18"/>
                  <a:gd name="T7" fmla="*/ 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25">
                    <a:moveTo>
                      <a:pt x="0" y="2"/>
                    </a:moveTo>
                    <a:cubicBezTo>
                      <a:pt x="6" y="0"/>
                      <a:pt x="13" y="3"/>
                      <a:pt x="16" y="9"/>
                    </a:cubicBezTo>
                    <a:cubicBezTo>
                      <a:pt x="18" y="15"/>
                      <a:pt x="15" y="22"/>
                      <a:pt x="8" y="25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67" name="Freeform 285">
                <a:extLst>
                  <a:ext uri="{FF2B5EF4-FFF2-40B4-BE49-F238E27FC236}">
                    <a16:creationId xmlns:a16="http://schemas.microsoft.com/office/drawing/2014/main" id="{6A6BA09B-337A-45BB-AE89-7E787F294A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" y="2598"/>
                <a:ext cx="163" cy="171"/>
              </a:xfrm>
              <a:custGeom>
                <a:avLst/>
                <a:gdLst>
                  <a:gd name="T0" fmla="*/ 163 w 163"/>
                  <a:gd name="T1" fmla="*/ 129 h 171"/>
                  <a:gd name="T2" fmla="*/ 47 w 163"/>
                  <a:gd name="T3" fmla="*/ 171 h 171"/>
                  <a:gd name="T4" fmla="*/ 0 w 163"/>
                  <a:gd name="T5" fmla="*/ 45 h 171"/>
                  <a:gd name="T6" fmla="*/ 118 w 163"/>
                  <a:gd name="T7" fmla="*/ 0 h 171"/>
                  <a:gd name="T8" fmla="*/ 163 w 163"/>
                  <a:gd name="T9" fmla="*/ 129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3" h="171">
                    <a:moveTo>
                      <a:pt x="163" y="129"/>
                    </a:moveTo>
                    <a:lnTo>
                      <a:pt x="47" y="171"/>
                    </a:lnTo>
                    <a:lnTo>
                      <a:pt x="0" y="45"/>
                    </a:lnTo>
                    <a:lnTo>
                      <a:pt x="118" y="0"/>
                    </a:lnTo>
                    <a:lnTo>
                      <a:pt x="163" y="129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68" name="Freeform 286">
                <a:extLst>
                  <a:ext uri="{FF2B5EF4-FFF2-40B4-BE49-F238E27FC236}">
                    <a16:creationId xmlns:a16="http://schemas.microsoft.com/office/drawing/2014/main" id="{843F011C-CB4D-48DF-84B7-034A8E55F9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" y="2502"/>
                <a:ext cx="180" cy="242"/>
              </a:xfrm>
              <a:custGeom>
                <a:avLst/>
                <a:gdLst>
                  <a:gd name="T0" fmla="*/ 59 w 64"/>
                  <a:gd name="T1" fmla="*/ 86 h 86"/>
                  <a:gd name="T2" fmla="*/ 16 w 64"/>
                  <a:gd name="T3" fmla="*/ 80 h 86"/>
                  <a:gd name="T4" fmla="*/ 0 w 64"/>
                  <a:gd name="T5" fmla="*/ 34 h 86"/>
                  <a:gd name="T6" fmla="*/ 28 w 64"/>
                  <a:gd name="T7" fmla="*/ 2 h 86"/>
                  <a:gd name="T8" fmla="*/ 35 w 64"/>
                  <a:gd name="T9" fmla="*/ 3 h 86"/>
                  <a:gd name="T10" fmla="*/ 63 w 64"/>
                  <a:gd name="T11" fmla="*/ 81 h 86"/>
                  <a:gd name="T12" fmla="*/ 59 w 64"/>
                  <a:gd name="T13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86">
                    <a:moveTo>
                      <a:pt x="59" y="86"/>
                    </a:moveTo>
                    <a:cubicBezTo>
                      <a:pt x="16" y="80"/>
                      <a:pt x="16" y="80"/>
                      <a:pt x="16" y="80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28" y="2"/>
                      <a:pt x="28" y="2"/>
                      <a:pt x="28" y="2"/>
                    </a:cubicBezTo>
                    <a:cubicBezTo>
                      <a:pt x="30" y="0"/>
                      <a:pt x="34" y="0"/>
                      <a:pt x="35" y="3"/>
                    </a:cubicBezTo>
                    <a:cubicBezTo>
                      <a:pt x="63" y="81"/>
                      <a:pt x="63" y="81"/>
                      <a:pt x="63" y="81"/>
                    </a:cubicBezTo>
                    <a:cubicBezTo>
                      <a:pt x="64" y="84"/>
                      <a:pt x="62" y="86"/>
                      <a:pt x="59" y="86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69" name="Freeform 287">
                <a:extLst>
                  <a:ext uri="{FF2B5EF4-FFF2-40B4-BE49-F238E27FC236}">
                    <a16:creationId xmlns:a16="http://schemas.microsoft.com/office/drawing/2014/main" id="{3D11520F-0D2C-4FC3-9232-D3C8170F7C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" y="2643"/>
                <a:ext cx="93" cy="138"/>
              </a:xfrm>
              <a:custGeom>
                <a:avLst/>
                <a:gdLst>
                  <a:gd name="T0" fmla="*/ 33 w 33"/>
                  <a:gd name="T1" fmla="*/ 45 h 49"/>
                  <a:gd name="T2" fmla="*/ 29 w 33"/>
                  <a:gd name="T3" fmla="*/ 46 h 49"/>
                  <a:gd name="T4" fmla="*/ 8 w 33"/>
                  <a:gd name="T5" fmla="*/ 36 h 49"/>
                  <a:gd name="T6" fmla="*/ 3 w 33"/>
                  <a:gd name="T7" fmla="*/ 21 h 49"/>
                  <a:gd name="T8" fmla="*/ 13 w 33"/>
                  <a:gd name="T9" fmla="*/ 1 h 49"/>
                  <a:gd name="T10" fmla="*/ 16 w 33"/>
                  <a:gd name="T11" fmla="*/ 0 h 49"/>
                  <a:gd name="T12" fmla="*/ 33 w 33"/>
                  <a:gd name="T13" fmla="*/ 45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" h="49">
                    <a:moveTo>
                      <a:pt x="33" y="45"/>
                    </a:moveTo>
                    <a:cubicBezTo>
                      <a:pt x="29" y="46"/>
                      <a:pt x="29" y="46"/>
                      <a:pt x="29" y="46"/>
                    </a:cubicBezTo>
                    <a:cubicBezTo>
                      <a:pt x="21" y="49"/>
                      <a:pt x="11" y="45"/>
                      <a:pt x="8" y="36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0" y="13"/>
                      <a:pt x="4" y="4"/>
                      <a:pt x="13" y="1"/>
                    </a:cubicBezTo>
                    <a:cubicBezTo>
                      <a:pt x="16" y="0"/>
                      <a:pt x="16" y="0"/>
                      <a:pt x="16" y="0"/>
                    </a:cubicBezTo>
                    <a:lnTo>
                      <a:pt x="33" y="45"/>
                    </a:ln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70" name="Freeform 288">
                <a:extLst>
                  <a:ext uri="{FF2B5EF4-FFF2-40B4-BE49-F238E27FC236}">
                    <a16:creationId xmlns:a16="http://schemas.microsoft.com/office/drawing/2014/main" id="{5BCD3ECB-2A82-460A-95A8-975063013E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" y="2637"/>
                <a:ext cx="31" cy="17"/>
              </a:xfrm>
              <a:custGeom>
                <a:avLst/>
                <a:gdLst>
                  <a:gd name="T0" fmla="*/ 2 w 11"/>
                  <a:gd name="T1" fmla="*/ 6 h 6"/>
                  <a:gd name="T2" fmla="*/ 0 w 11"/>
                  <a:gd name="T3" fmla="*/ 5 h 6"/>
                  <a:gd name="T4" fmla="*/ 1 w 11"/>
                  <a:gd name="T5" fmla="*/ 3 h 6"/>
                  <a:gd name="T6" fmla="*/ 9 w 11"/>
                  <a:gd name="T7" fmla="*/ 0 h 6"/>
                  <a:gd name="T8" fmla="*/ 11 w 11"/>
                  <a:gd name="T9" fmla="*/ 1 h 6"/>
                  <a:gd name="T10" fmla="*/ 10 w 11"/>
                  <a:gd name="T11" fmla="*/ 3 h 6"/>
                  <a:gd name="T12" fmla="*/ 2 w 11"/>
                  <a:gd name="T13" fmla="*/ 6 h 6"/>
                  <a:gd name="T14" fmla="*/ 2 w 11"/>
                  <a:gd name="T1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6">
                    <a:moveTo>
                      <a:pt x="2" y="6"/>
                    </a:moveTo>
                    <a:cubicBezTo>
                      <a:pt x="1" y="6"/>
                      <a:pt x="0" y="5"/>
                      <a:pt x="0" y="5"/>
                    </a:cubicBezTo>
                    <a:cubicBezTo>
                      <a:pt x="0" y="4"/>
                      <a:pt x="0" y="3"/>
                      <a:pt x="1" y="3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1" y="0"/>
                      <a:pt x="11" y="1"/>
                    </a:cubicBezTo>
                    <a:cubicBezTo>
                      <a:pt x="11" y="2"/>
                      <a:pt x="11" y="3"/>
                      <a:pt x="10" y="3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6"/>
                      <a:pt x="2" y="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71" name="Freeform 289">
                <a:extLst>
                  <a:ext uri="{FF2B5EF4-FFF2-40B4-BE49-F238E27FC236}">
                    <a16:creationId xmlns:a16="http://schemas.microsoft.com/office/drawing/2014/main" id="{48779D28-EFD3-4EED-9EFE-1B114F1A81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" y="2657"/>
                <a:ext cx="31" cy="20"/>
              </a:xfrm>
              <a:custGeom>
                <a:avLst/>
                <a:gdLst>
                  <a:gd name="T0" fmla="*/ 2 w 11"/>
                  <a:gd name="T1" fmla="*/ 7 h 7"/>
                  <a:gd name="T2" fmla="*/ 0 w 11"/>
                  <a:gd name="T3" fmla="*/ 6 h 7"/>
                  <a:gd name="T4" fmla="*/ 1 w 11"/>
                  <a:gd name="T5" fmla="*/ 3 h 7"/>
                  <a:gd name="T6" fmla="*/ 9 w 11"/>
                  <a:gd name="T7" fmla="*/ 1 h 7"/>
                  <a:gd name="T8" fmla="*/ 11 w 11"/>
                  <a:gd name="T9" fmla="*/ 2 h 7"/>
                  <a:gd name="T10" fmla="*/ 10 w 11"/>
                  <a:gd name="T11" fmla="*/ 4 h 7"/>
                  <a:gd name="T12" fmla="*/ 2 w 11"/>
                  <a:gd name="T13" fmla="*/ 7 h 7"/>
                  <a:gd name="T14" fmla="*/ 2 w 11"/>
                  <a:gd name="T1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7">
                    <a:moveTo>
                      <a:pt x="2" y="7"/>
                    </a:moveTo>
                    <a:cubicBezTo>
                      <a:pt x="1" y="7"/>
                      <a:pt x="0" y="6"/>
                      <a:pt x="0" y="6"/>
                    </a:cubicBezTo>
                    <a:cubicBezTo>
                      <a:pt x="0" y="5"/>
                      <a:pt x="0" y="4"/>
                      <a:pt x="1" y="3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0"/>
                      <a:pt x="10" y="1"/>
                      <a:pt x="11" y="2"/>
                    </a:cubicBezTo>
                    <a:cubicBezTo>
                      <a:pt x="11" y="3"/>
                      <a:pt x="11" y="4"/>
                      <a:pt x="10" y="4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72" name="Freeform 290">
                <a:extLst>
                  <a:ext uri="{FF2B5EF4-FFF2-40B4-BE49-F238E27FC236}">
                    <a16:creationId xmlns:a16="http://schemas.microsoft.com/office/drawing/2014/main" id="{C444C27F-6C3C-4A3B-AAEA-E51824884D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" y="2679"/>
                <a:ext cx="31" cy="20"/>
              </a:xfrm>
              <a:custGeom>
                <a:avLst/>
                <a:gdLst>
                  <a:gd name="T0" fmla="*/ 2 w 11"/>
                  <a:gd name="T1" fmla="*/ 7 h 7"/>
                  <a:gd name="T2" fmla="*/ 0 w 11"/>
                  <a:gd name="T3" fmla="*/ 6 h 7"/>
                  <a:gd name="T4" fmla="*/ 1 w 11"/>
                  <a:gd name="T5" fmla="*/ 3 h 7"/>
                  <a:gd name="T6" fmla="*/ 8 w 11"/>
                  <a:gd name="T7" fmla="*/ 1 h 7"/>
                  <a:gd name="T8" fmla="*/ 11 w 11"/>
                  <a:gd name="T9" fmla="*/ 2 h 7"/>
                  <a:gd name="T10" fmla="*/ 10 w 11"/>
                  <a:gd name="T11" fmla="*/ 4 h 7"/>
                  <a:gd name="T12" fmla="*/ 2 w 11"/>
                  <a:gd name="T13" fmla="*/ 7 h 7"/>
                  <a:gd name="T14" fmla="*/ 2 w 11"/>
                  <a:gd name="T1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7">
                    <a:moveTo>
                      <a:pt x="2" y="7"/>
                    </a:moveTo>
                    <a:cubicBezTo>
                      <a:pt x="1" y="7"/>
                      <a:pt x="0" y="6"/>
                      <a:pt x="0" y="6"/>
                    </a:cubicBezTo>
                    <a:cubicBezTo>
                      <a:pt x="0" y="5"/>
                      <a:pt x="0" y="4"/>
                      <a:pt x="1" y="3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9" y="0"/>
                      <a:pt x="10" y="1"/>
                      <a:pt x="11" y="2"/>
                    </a:cubicBezTo>
                    <a:cubicBezTo>
                      <a:pt x="11" y="3"/>
                      <a:pt x="10" y="4"/>
                      <a:pt x="10" y="4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73" name="Freeform 291">
                <a:extLst>
                  <a:ext uri="{FF2B5EF4-FFF2-40B4-BE49-F238E27FC236}">
                    <a16:creationId xmlns:a16="http://schemas.microsoft.com/office/drawing/2014/main" id="{61DEA5C1-A6AC-41C2-9C22-AE6E0055BC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" y="2702"/>
                <a:ext cx="33" cy="17"/>
              </a:xfrm>
              <a:custGeom>
                <a:avLst/>
                <a:gdLst>
                  <a:gd name="T0" fmla="*/ 2 w 12"/>
                  <a:gd name="T1" fmla="*/ 6 h 6"/>
                  <a:gd name="T2" fmla="*/ 1 w 12"/>
                  <a:gd name="T3" fmla="*/ 5 h 6"/>
                  <a:gd name="T4" fmla="*/ 2 w 12"/>
                  <a:gd name="T5" fmla="*/ 3 h 6"/>
                  <a:gd name="T6" fmla="*/ 9 w 12"/>
                  <a:gd name="T7" fmla="*/ 0 h 6"/>
                  <a:gd name="T8" fmla="*/ 11 w 12"/>
                  <a:gd name="T9" fmla="*/ 1 h 6"/>
                  <a:gd name="T10" fmla="*/ 10 w 12"/>
                  <a:gd name="T11" fmla="*/ 3 h 6"/>
                  <a:gd name="T12" fmla="*/ 3 w 12"/>
                  <a:gd name="T13" fmla="*/ 6 h 6"/>
                  <a:gd name="T14" fmla="*/ 2 w 12"/>
                  <a:gd name="T1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6">
                    <a:moveTo>
                      <a:pt x="2" y="6"/>
                    </a:moveTo>
                    <a:cubicBezTo>
                      <a:pt x="2" y="6"/>
                      <a:pt x="1" y="6"/>
                      <a:pt x="1" y="5"/>
                    </a:cubicBezTo>
                    <a:cubicBezTo>
                      <a:pt x="0" y="4"/>
                      <a:pt x="1" y="3"/>
                      <a:pt x="2" y="3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1" y="0"/>
                      <a:pt x="11" y="1"/>
                    </a:cubicBezTo>
                    <a:cubicBezTo>
                      <a:pt x="12" y="2"/>
                      <a:pt x="11" y="3"/>
                      <a:pt x="10" y="3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6"/>
                      <a:pt x="2" y="6"/>
                      <a:pt x="2" y="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74" name="Freeform 292">
                <a:extLst>
                  <a:ext uri="{FF2B5EF4-FFF2-40B4-BE49-F238E27FC236}">
                    <a16:creationId xmlns:a16="http://schemas.microsoft.com/office/drawing/2014/main" id="{8FFDFFA4-1F2F-43EF-B1EA-BC33974743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" y="2744"/>
                <a:ext cx="104" cy="107"/>
              </a:xfrm>
              <a:custGeom>
                <a:avLst/>
                <a:gdLst>
                  <a:gd name="T0" fmla="*/ 35 w 37"/>
                  <a:gd name="T1" fmla="*/ 33 h 38"/>
                  <a:gd name="T2" fmla="*/ 22 w 37"/>
                  <a:gd name="T3" fmla="*/ 37 h 38"/>
                  <a:gd name="T4" fmla="*/ 18 w 37"/>
                  <a:gd name="T5" fmla="*/ 36 h 38"/>
                  <a:gd name="T6" fmla="*/ 0 w 37"/>
                  <a:gd name="T7" fmla="*/ 7 h 38"/>
                  <a:gd name="T8" fmla="*/ 18 w 37"/>
                  <a:gd name="T9" fmla="*/ 0 h 38"/>
                  <a:gd name="T10" fmla="*/ 36 w 37"/>
                  <a:gd name="T11" fmla="*/ 28 h 38"/>
                  <a:gd name="T12" fmla="*/ 35 w 37"/>
                  <a:gd name="T13" fmla="*/ 3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" h="38">
                    <a:moveTo>
                      <a:pt x="35" y="33"/>
                    </a:moveTo>
                    <a:cubicBezTo>
                      <a:pt x="22" y="37"/>
                      <a:pt x="22" y="37"/>
                      <a:pt x="22" y="37"/>
                    </a:cubicBezTo>
                    <a:cubicBezTo>
                      <a:pt x="21" y="38"/>
                      <a:pt x="19" y="37"/>
                      <a:pt x="18" y="3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36" y="28"/>
                      <a:pt x="36" y="28"/>
                      <a:pt x="36" y="28"/>
                    </a:cubicBezTo>
                    <a:cubicBezTo>
                      <a:pt x="37" y="30"/>
                      <a:pt x="36" y="32"/>
                      <a:pt x="35" y="33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75" name="Freeform 293">
                <a:extLst>
                  <a:ext uri="{FF2B5EF4-FFF2-40B4-BE49-F238E27FC236}">
                    <a16:creationId xmlns:a16="http://schemas.microsoft.com/office/drawing/2014/main" id="{10D16F21-AE6D-4197-AEA2-4BADC6F9FF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" y="2595"/>
                <a:ext cx="28" cy="14"/>
              </a:xfrm>
              <a:custGeom>
                <a:avLst/>
                <a:gdLst>
                  <a:gd name="T0" fmla="*/ 2 w 10"/>
                  <a:gd name="T1" fmla="*/ 5 h 5"/>
                  <a:gd name="T2" fmla="*/ 0 w 10"/>
                  <a:gd name="T3" fmla="*/ 4 h 5"/>
                  <a:gd name="T4" fmla="*/ 1 w 10"/>
                  <a:gd name="T5" fmla="*/ 2 h 5"/>
                  <a:gd name="T6" fmla="*/ 8 w 10"/>
                  <a:gd name="T7" fmla="*/ 0 h 5"/>
                  <a:gd name="T8" fmla="*/ 10 w 10"/>
                  <a:gd name="T9" fmla="*/ 1 h 5"/>
                  <a:gd name="T10" fmla="*/ 9 w 10"/>
                  <a:gd name="T11" fmla="*/ 3 h 5"/>
                  <a:gd name="T12" fmla="*/ 2 w 10"/>
                  <a:gd name="T13" fmla="*/ 5 h 5"/>
                  <a:gd name="T14" fmla="*/ 2 w 10"/>
                  <a:gd name="T1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5">
                    <a:moveTo>
                      <a:pt x="2" y="5"/>
                    </a:moveTo>
                    <a:cubicBezTo>
                      <a:pt x="1" y="5"/>
                      <a:pt x="1" y="5"/>
                      <a:pt x="0" y="4"/>
                    </a:cubicBezTo>
                    <a:cubicBezTo>
                      <a:pt x="0" y="3"/>
                      <a:pt x="0" y="2"/>
                      <a:pt x="1" y="2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9" y="0"/>
                      <a:pt x="10" y="1"/>
                    </a:cubicBezTo>
                    <a:cubicBezTo>
                      <a:pt x="10" y="2"/>
                      <a:pt x="10" y="3"/>
                      <a:pt x="9" y="3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76" name="Freeform 294">
                <a:extLst>
                  <a:ext uri="{FF2B5EF4-FFF2-40B4-BE49-F238E27FC236}">
                    <a16:creationId xmlns:a16="http://schemas.microsoft.com/office/drawing/2014/main" id="{8BBDE7D3-DB5A-4C20-BA54-CD505C4DCC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" y="2547"/>
                <a:ext cx="19" cy="28"/>
              </a:xfrm>
              <a:custGeom>
                <a:avLst/>
                <a:gdLst>
                  <a:gd name="T0" fmla="*/ 2 w 7"/>
                  <a:gd name="T1" fmla="*/ 10 h 10"/>
                  <a:gd name="T2" fmla="*/ 2 w 7"/>
                  <a:gd name="T3" fmla="*/ 9 h 10"/>
                  <a:gd name="T4" fmla="*/ 1 w 7"/>
                  <a:gd name="T5" fmla="*/ 7 h 10"/>
                  <a:gd name="T6" fmla="*/ 4 w 7"/>
                  <a:gd name="T7" fmla="*/ 1 h 10"/>
                  <a:gd name="T8" fmla="*/ 6 w 7"/>
                  <a:gd name="T9" fmla="*/ 0 h 10"/>
                  <a:gd name="T10" fmla="*/ 7 w 7"/>
                  <a:gd name="T11" fmla="*/ 2 h 10"/>
                  <a:gd name="T12" fmla="*/ 4 w 7"/>
                  <a:gd name="T13" fmla="*/ 9 h 10"/>
                  <a:gd name="T14" fmla="*/ 2 w 7"/>
                  <a:gd name="T1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10">
                    <a:moveTo>
                      <a:pt x="2" y="10"/>
                    </a:moveTo>
                    <a:cubicBezTo>
                      <a:pt x="2" y="10"/>
                      <a:pt x="2" y="10"/>
                      <a:pt x="2" y="9"/>
                    </a:cubicBezTo>
                    <a:cubicBezTo>
                      <a:pt x="1" y="9"/>
                      <a:pt x="0" y="8"/>
                      <a:pt x="1" y="7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0"/>
                      <a:pt x="5" y="0"/>
                      <a:pt x="6" y="0"/>
                    </a:cubicBezTo>
                    <a:cubicBezTo>
                      <a:pt x="7" y="0"/>
                      <a:pt x="7" y="1"/>
                      <a:pt x="7" y="2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9"/>
                      <a:pt x="3" y="10"/>
                      <a:pt x="2" y="10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77" name="Freeform 295">
                <a:extLst>
                  <a:ext uri="{FF2B5EF4-FFF2-40B4-BE49-F238E27FC236}">
                    <a16:creationId xmlns:a16="http://schemas.microsoft.com/office/drawing/2014/main" id="{E66993F0-2E58-46FA-94DC-5DE87391F9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" y="2646"/>
                <a:ext cx="28" cy="19"/>
              </a:xfrm>
              <a:custGeom>
                <a:avLst/>
                <a:gdLst>
                  <a:gd name="T0" fmla="*/ 8 w 10"/>
                  <a:gd name="T1" fmla="*/ 7 h 7"/>
                  <a:gd name="T2" fmla="*/ 8 w 10"/>
                  <a:gd name="T3" fmla="*/ 7 h 7"/>
                  <a:gd name="T4" fmla="*/ 1 w 10"/>
                  <a:gd name="T5" fmla="*/ 4 h 7"/>
                  <a:gd name="T6" fmla="*/ 0 w 10"/>
                  <a:gd name="T7" fmla="*/ 2 h 7"/>
                  <a:gd name="T8" fmla="*/ 3 w 10"/>
                  <a:gd name="T9" fmla="*/ 1 h 7"/>
                  <a:gd name="T10" fmla="*/ 9 w 10"/>
                  <a:gd name="T11" fmla="*/ 4 h 7"/>
                  <a:gd name="T12" fmla="*/ 10 w 10"/>
                  <a:gd name="T13" fmla="*/ 6 h 7"/>
                  <a:gd name="T14" fmla="*/ 8 w 10"/>
                  <a:gd name="T1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7">
                    <a:moveTo>
                      <a:pt x="8" y="7"/>
                    </a:moveTo>
                    <a:cubicBezTo>
                      <a:pt x="8" y="7"/>
                      <a:pt x="8" y="7"/>
                      <a:pt x="8" y="7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1" y="1"/>
                      <a:pt x="2" y="0"/>
                      <a:pt x="3" y="1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0" y="5"/>
                      <a:pt x="10" y="6"/>
                    </a:cubicBezTo>
                    <a:cubicBezTo>
                      <a:pt x="10" y="7"/>
                      <a:pt x="9" y="7"/>
                      <a:pt x="8" y="7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93" name="Groupe 492">
            <a:extLst>
              <a:ext uri="{FF2B5EF4-FFF2-40B4-BE49-F238E27FC236}">
                <a16:creationId xmlns:a16="http://schemas.microsoft.com/office/drawing/2014/main" id="{686716F8-410D-42A8-8531-C289039BFA2C}"/>
              </a:ext>
            </a:extLst>
          </p:cNvPr>
          <p:cNvGrpSpPr/>
          <p:nvPr/>
        </p:nvGrpSpPr>
        <p:grpSpPr>
          <a:xfrm>
            <a:off x="5859097" y="1960229"/>
            <a:ext cx="865004" cy="865444"/>
            <a:chOff x="4396124" y="1988559"/>
            <a:chExt cx="648743" cy="649073"/>
          </a:xfrm>
        </p:grpSpPr>
        <p:sp>
          <p:nvSpPr>
            <p:cNvPr id="557" name="Oval 5">
              <a:extLst>
                <a:ext uri="{FF2B5EF4-FFF2-40B4-BE49-F238E27FC236}">
                  <a16:creationId xmlns:a16="http://schemas.microsoft.com/office/drawing/2014/main" id="{27FC6600-BA85-4684-8396-1DF777EC8D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6124" y="1988559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558" name="Group 298">
              <a:extLst>
                <a:ext uri="{FF2B5EF4-FFF2-40B4-BE49-F238E27FC236}">
                  <a16:creationId xmlns:a16="http://schemas.microsoft.com/office/drawing/2014/main" id="{B1C5236F-0BFA-4561-84D8-80C72857E5E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519191" y="2114550"/>
              <a:ext cx="402608" cy="397090"/>
              <a:chOff x="2785" y="1229"/>
              <a:chExt cx="365" cy="360"/>
            </a:xfrm>
          </p:grpSpPr>
          <p:sp>
            <p:nvSpPr>
              <p:cNvPr id="559" name="Freeform 299">
                <a:extLst>
                  <a:ext uri="{FF2B5EF4-FFF2-40B4-BE49-F238E27FC236}">
                    <a16:creationId xmlns:a16="http://schemas.microsoft.com/office/drawing/2014/main" id="{49B3D4AE-F5A8-44E5-83F8-95DB91FE8B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5" y="1283"/>
                <a:ext cx="245" cy="306"/>
              </a:xfrm>
              <a:custGeom>
                <a:avLst/>
                <a:gdLst>
                  <a:gd name="T0" fmla="*/ 85 w 87"/>
                  <a:gd name="T1" fmla="*/ 43 h 109"/>
                  <a:gd name="T2" fmla="*/ 73 w 87"/>
                  <a:gd name="T3" fmla="*/ 36 h 109"/>
                  <a:gd name="T4" fmla="*/ 63 w 87"/>
                  <a:gd name="T5" fmla="*/ 22 h 109"/>
                  <a:gd name="T6" fmla="*/ 66 w 87"/>
                  <a:gd name="T7" fmla="*/ 0 h 109"/>
                  <a:gd name="T8" fmla="*/ 46 w 87"/>
                  <a:gd name="T9" fmla="*/ 12 h 109"/>
                  <a:gd name="T10" fmla="*/ 34 w 87"/>
                  <a:gd name="T11" fmla="*/ 10 h 109"/>
                  <a:gd name="T12" fmla="*/ 0 w 87"/>
                  <a:gd name="T13" fmla="*/ 10 h 109"/>
                  <a:gd name="T14" fmla="*/ 1 w 87"/>
                  <a:gd name="T15" fmla="*/ 93 h 109"/>
                  <a:gd name="T16" fmla="*/ 25 w 87"/>
                  <a:gd name="T17" fmla="*/ 93 h 109"/>
                  <a:gd name="T18" fmla="*/ 25 w 87"/>
                  <a:gd name="T19" fmla="*/ 95 h 109"/>
                  <a:gd name="T20" fmla="*/ 25 w 87"/>
                  <a:gd name="T21" fmla="*/ 97 h 109"/>
                  <a:gd name="T22" fmla="*/ 35 w 87"/>
                  <a:gd name="T23" fmla="*/ 107 h 109"/>
                  <a:gd name="T24" fmla="*/ 51 w 87"/>
                  <a:gd name="T25" fmla="*/ 95 h 109"/>
                  <a:gd name="T26" fmla="*/ 51 w 87"/>
                  <a:gd name="T27" fmla="*/ 95 h 109"/>
                  <a:gd name="T28" fmla="*/ 51 w 87"/>
                  <a:gd name="T29" fmla="*/ 95 h 109"/>
                  <a:gd name="T30" fmla="*/ 51 w 87"/>
                  <a:gd name="T31" fmla="*/ 90 h 109"/>
                  <a:gd name="T32" fmla="*/ 69 w 87"/>
                  <a:gd name="T33" fmla="*/ 74 h 109"/>
                  <a:gd name="T34" fmla="*/ 85 w 87"/>
                  <a:gd name="T35" fmla="*/ 64 h 109"/>
                  <a:gd name="T36" fmla="*/ 87 w 87"/>
                  <a:gd name="T37" fmla="*/ 60 h 109"/>
                  <a:gd name="T38" fmla="*/ 87 w 87"/>
                  <a:gd name="T39" fmla="*/ 47 h 109"/>
                  <a:gd name="T40" fmla="*/ 85 w 87"/>
                  <a:gd name="T41" fmla="*/ 43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7" h="109">
                    <a:moveTo>
                      <a:pt x="85" y="43"/>
                    </a:moveTo>
                    <a:cubicBezTo>
                      <a:pt x="73" y="36"/>
                      <a:pt x="73" y="36"/>
                      <a:pt x="73" y="36"/>
                    </a:cubicBezTo>
                    <a:cubicBezTo>
                      <a:pt x="71" y="31"/>
                      <a:pt x="67" y="26"/>
                      <a:pt x="63" y="22"/>
                    </a:cubicBezTo>
                    <a:cubicBezTo>
                      <a:pt x="62" y="17"/>
                      <a:pt x="60" y="5"/>
                      <a:pt x="66" y="0"/>
                    </a:cubicBezTo>
                    <a:cubicBezTo>
                      <a:pt x="66" y="0"/>
                      <a:pt x="51" y="1"/>
                      <a:pt x="46" y="12"/>
                    </a:cubicBezTo>
                    <a:cubicBezTo>
                      <a:pt x="42" y="11"/>
                      <a:pt x="38" y="10"/>
                      <a:pt x="34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93"/>
                      <a:pt x="1" y="93"/>
                      <a:pt x="1" y="93"/>
                    </a:cubicBezTo>
                    <a:cubicBezTo>
                      <a:pt x="25" y="93"/>
                      <a:pt x="25" y="93"/>
                      <a:pt x="25" y="93"/>
                    </a:cubicBezTo>
                    <a:cubicBezTo>
                      <a:pt x="25" y="95"/>
                      <a:pt x="25" y="95"/>
                      <a:pt x="25" y="95"/>
                    </a:cubicBezTo>
                    <a:cubicBezTo>
                      <a:pt x="25" y="95"/>
                      <a:pt x="25" y="96"/>
                      <a:pt x="25" y="97"/>
                    </a:cubicBezTo>
                    <a:cubicBezTo>
                      <a:pt x="26" y="102"/>
                      <a:pt x="30" y="106"/>
                      <a:pt x="35" y="107"/>
                    </a:cubicBezTo>
                    <a:cubicBezTo>
                      <a:pt x="44" y="109"/>
                      <a:pt x="51" y="102"/>
                      <a:pt x="51" y="95"/>
                    </a:cubicBezTo>
                    <a:cubicBezTo>
                      <a:pt x="51" y="95"/>
                      <a:pt x="51" y="95"/>
                      <a:pt x="51" y="95"/>
                    </a:cubicBezTo>
                    <a:cubicBezTo>
                      <a:pt x="51" y="95"/>
                      <a:pt x="51" y="95"/>
                      <a:pt x="51" y="95"/>
                    </a:cubicBezTo>
                    <a:cubicBezTo>
                      <a:pt x="51" y="90"/>
                      <a:pt x="51" y="90"/>
                      <a:pt x="51" y="90"/>
                    </a:cubicBezTo>
                    <a:cubicBezTo>
                      <a:pt x="58" y="86"/>
                      <a:pt x="65" y="81"/>
                      <a:pt x="69" y="74"/>
                    </a:cubicBezTo>
                    <a:cubicBezTo>
                      <a:pt x="85" y="64"/>
                      <a:pt x="85" y="64"/>
                      <a:pt x="85" y="64"/>
                    </a:cubicBezTo>
                    <a:cubicBezTo>
                      <a:pt x="86" y="63"/>
                      <a:pt x="87" y="62"/>
                      <a:pt x="87" y="60"/>
                    </a:cubicBezTo>
                    <a:cubicBezTo>
                      <a:pt x="87" y="47"/>
                      <a:pt x="87" y="47"/>
                      <a:pt x="87" y="47"/>
                    </a:cubicBezTo>
                    <a:cubicBezTo>
                      <a:pt x="87" y="46"/>
                      <a:pt x="86" y="44"/>
                      <a:pt x="85" y="43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60" name="Freeform 300">
                <a:extLst>
                  <a:ext uri="{FF2B5EF4-FFF2-40B4-BE49-F238E27FC236}">
                    <a16:creationId xmlns:a16="http://schemas.microsoft.com/office/drawing/2014/main" id="{0D218F28-0F82-48F5-896D-0EE3FACE1F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5" y="1291"/>
                <a:ext cx="165" cy="298"/>
              </a:xfrm>
              <a:custGeom>
                <a:avLst/>
                <a:gdLst>
                  <a:gd name="T0" fmla="*/ 59 w 59"/>
                  <a:gd name="T1" fmla="*/ 14 h 106"/>
                  <a:gd name="T2" fmla="*/ 53 w 59"/>
                  <a:gd name="T3" fmla="*/ 7 h 106"/>
                  <a:gd name="T4" fmla="*/ 44 w 59"/>
                  <a:gd name="T5" fmla="*/ 7 h 106"/>
                  <a:gd name="T6" fmla="*/ 13 w 59"/>
                  <a:gd name="T7" fmla="*/ 21 h 106"/>
                  <a:gd name="T8" fmla="*/ 10 w 59"/>
                  <a:gd name="T9" fmla="*/ 15 h 106"/>
                  <a:gd name="T10" fmla="*/ 17 w 59"/>
                  <a:gd name="T11" fmla="*/ 8 h 106"/>
                  <a:gd name="T12" fmla="*/ 21 w 59"/>
                  <a:gd name="T13" fmla="*/ 4 h 106"/>
                  <a:gd name="T14" fmla="*/ 17 w 59"/>
                  <a:gd name="T15" fmla="*/ 0 h 106"/>
                  <a:gd name="T16" fmla="*/ 2 w 59"/>
                  <a:gd name="T17" fmla="*/ 15 h 106"/>
                  <a:gd name="T18" fmla="*/ 8 w 59"/>
                  <a:gd name="T19" fmla="*/ 27 h 106"/>
                  <a:gd name="T20" fmla="*/ 3 w 59"/>
                  <a:gd name="T21" fmla="*/ 41 h 106"/>
                  <a:gd name="T22" fmla="*/ 23 w 59"/>
                  <a:gd name="T23" fmla="*/ 84 h 106"/>
                  <a:gd name="T24" fmla="*/ 23 w 59"/>
                  <a:gd name="T25" fmla="*/ 92 h 106"/>
                  <a:gd name="T26" fmla="*/ 23 w 59"/>
                  <a:gd name="T27" fmla="*/ 92 h 106"/>
                  <a:gd name="T28" fmla="*/ 23 w 59"/>
                  <a:gd name="T29" fmla="*/ 94 h 106"/>
                  <a:gd name="T30" fmla="*/ 33 w 59"/>
                  <a:gd name="T31" fmla="*/ 104 h 106"/>
                  <a:gd name="T32" fmla="*/ 49 w 59"/>
                  <a:gd name="T33" fmla="*/ 92 h 106"/>
                  <a:gd name="T34" fmla="*/ 49 w 59"/>
                  <a:gd name="T35" fmla="*/ 92 h 106"/>
                  <a:gd name="T36" fmla="*/ 49 w 59"/>
                  <a:gd name="T37" fmla="*/ 92 h 106"/>
                  <a:gd name="T38" fmla="*/ 49 w 59"/>
                  <a:gd name="T39" fmla="*/ 90 h 106"/>
                  <a:gd name="T40" fmla="*/ 59 w 59"/>
                  <a:gd name="T41" fmla="*/ 90 h 106"/>
                  <a:gd name="T42" fmla="*/ 59 w 59"/>
                  <a:gd name="T43" fmla="*/ 1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9" h="106">
                    <a:moveTo>
                      <a:pt x="59" y="14"/>
                    </a:moveTo>
                    <a:cubicBezTo>
                      <a:pt x="59" y="10"/>
                      <a:pt x="56" y="7"/>
                      <a:pt x="53" y="7"/>
                    </a:cubicBezTo>
                    <a:cubicBezTo>
                      <a:pt x="44" y="7"/>
                      <a:pt x="44" y="7"/>
                      <a:pt x="44" y="7"/>
                    </a:cubicBezTo>
                    <a:cubicBezTo>
                      <a:pt x="32" y="7"/>
                      <a:pt x="21" y="12"/>
                      <a:pt x="13" y="21"/>
                    </a:cubicBezTo>
                    <a:cubicBezTo>
                      <a:pt x="11" y="20"/>
                      <a:pt x="10" y="17"/>
                      <a:pt x="10" y="15"/>
                    </a:cubicBezTo>
                    <a:cubicBezTo>
                      <a:pt x="10" y="11"/>
                      <a:pt x="13" y="8"/>
                      <a:pt x="17" y="8"/>
                    </a:cubicBezTo>
                    <a:cubicBezTo>
                      <a:pt x="19" y="8"/>
                      <a:pt x="21" y="6"/>
                      <a:pt x="21" y="4"/>
                    </a:cubicBezTo>
                    <a:cubicBezTo>
                      <a:pt x="21" y="2"/>
                      <a:pt x="19" y="0"/>
                      <a:pt x="17" y="0"/>
                    </a:cubicBezTo>
                    <a:cubicBezTo>
                      <a:pt x="9" y="0"/>
                      <a:pt x="2" y="7"/>
                      <a:pt x="2" y="15"/>
                    </a:cubicBezTo>
                    <a:cubicBezTo>
                      <a:pt x="2" y="20"/>
                      <a:pt x="4" y="24"/>
                      <a:pt x="8" y="27"/>
                    </a:cubicBezTo>
                    <a:cubicBezTo>
                      <a:pt x="5" y="31"/>
                      <a:pt x="4" y="36"/>
                      <a:pt x="3" y="41"/>
                    </a:cubicBezTo>
                    <a:cubicBezTo>
                      <a:pt x="0" y="60"/>
                      <a:pt x="9" y="76"/>
                      <a:pt x="23" y="84"/>
                    </a:cubicBezTo>
                    <a:cubicBezTo>
                      <a:pt x="23" y="92"/>
                      <a:pt x="23" y="92"/>
                      <a:pt x="23" y="92"/>
                    </a:cubicBezTo>
                    <a:cubicBezTo>
                      <a:pt x="23" y="92"/>
                      <a:pt x="23" y="92"/>
                      <a:pt x="23" y="92"/>
                    </a:cubicBezTo>
                    <a:cubicBezTo>
                      <a:pt x="23" y="92"/>
                      <a:pt x="23" y="93"/>
                      <a:pt x="23" y="94"/>
                    </a:cubicBezTo>
                    <a:cubicBezTo>
                      <a:pt x="24" y="99"/>
                      <a:pt x="28" y="103"/>
                      <a:pt x="33" y="104"/>
                    </a:cubicBezTo>
                    <a:cubicBezTo>
                      <a:pt x="41" y="106"/>
                      <a:pt x="49" y="99"/>
                      <a:pt x="49" y="92"/>
                    </a:cubicBezTo>
                    <a:cubicBezTo>
                      <a:pt x="49" y="92"/>
                      <a:pt x="49" y="92"/>
                      <a:pt x="49" y="92"/>
                    </a:cubicBezTo>
                    <a:cubicBezTo>
                      <a:pt x="49" y="92"/>
                      <a:pt x="49" y="92"/>
                      <a:pt x="49" y="92"/>
                    </a:cubicBezTo>
                    <a:cubicBezTo>
                      <a:pt x="49" y="90"/>
                      <a:pt x="49" y="90"/>
                      <a:pt x="49" y="90"/>
                    </a:cubicBezTo>
                    <a:cubicBezTo>
                      <a:pt x="59" y="90"/>
                      <a:pt x="59" y="90"/>
                      <a:pt x="59" y="90"/>
                    </a:cubicBezTo>
                    <a:lnTo>
                      <a:pt x="59" y="14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61" name="Freeform 301">
                <a:extLst>
                  <a:ext uri="{FF2B5EF4-FFF2-40B4-BE49-F238E27FC236}">
                    <a16:creationId xmlns:a16="http://schemas.microsoft.com/office/drawing/2014/main" id="{401ED3CE-0A84-4A3A-8393-562C1F98FD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7" y="1381"/>
                <a:ext cx="20" cy="20"/>
              </a:xfrm>
              <a:custGeom>
                <a:avLst/>
                <a:gdLst>
                  <a:gd name="T0" fmla="*/ 3 w 7"/>
                  <a:gd name="T1" fmla="*/ 0 h 7"/>
                  <a:gd name="T2" fmla="*/ 3 w 7"/>
                  <a:gd name="T3" fmla="*/ 0 h 7"/>
                  <a:gd name="T4" fmla="*/ 0 w 7"/>
                  <a:gd name="T5" fmla="*/ 4 h 7"/>
                  <a:gd name="T6" fmla="*/ 3 w 7"/>
                  <a:gd name="T7" fmla="*/ 7 h 7"/>
                  <a:gd name="T8" fmla="*/ 7 w 7"/>
                  <a:gd name="T9" fmla="*/ 4 h 7"/>
                  <a:gd name="T10" fmla="*/ 3 w 7"/>
                  <a:gd name="T1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7"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6"/>
                      <a:pt x="1" y="7"/>
                      <a:pt x="3" y="7"/>
                    </a:cubicBezTo>
                    <a:cubicBezTo>
                      <a:pt x="5" y="7"/>
                      <a:pt x="7" y="6"/>
                      <a:pt x="7" y="4"/>
                    </a:cubicBezTo>
                    <a:cubicBezTo>
                      <a:pt x="7" y="2"/>
                      <a:pt x="5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62" name="Freeform 302">
                <a:extLst>
                  <a:ext uri="{FF2B5EF4-FFF2-40B4-BE49-F238E27FC236}">
                    <a16:creationId xmlns:a16="http://schemas.microsoft.com/office/drawing/2014/main" id="{81DCF512-9BDB-4331-827D-3AABF308AE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4" y="1325"/>
                <a:ext cx="110" cy="31"/>
              </a:xfrm>
              <a:custGeom>
                <a:avLst/>
                <a:gdLst>
                  <a:gd name="T0" fmla="*/ 36 w 39"/>
                  <a:gd name="T1" fmla="*/ 11 h 11"/>
                  <a:gd name="T2" fmla="*/ 34 w 39"/>
                  <a:gd name="T3" fmla="*/ 10 h 11"/>
                  <a:gd name="T4" fmla="*/ 20 w 39"/>
                  <a:gd name="T5" fmla="*/ 6 h 11"/>
                  <a:gd name="T6" fmla="*/ 6 w 39"/>
                  <a:gd name="T7" fmla="*/ 10 h 11"/>
                  <a:gd name="T8" fmla="*/ 1 w 39"/>
                  <a:gd name="T9" fmla="*/ 10 h 11"/>
                  <a:gd name="T10" fmla="*/ 2 w 39"/>
                  <a:gd name="T11" fmla="*/ 5 h 11"/>
                  <a:gd name="T12" fmla="*/ 20 w 39"/>
                  <a:gd name="T13" fmla="*/ 0 h 11"/>
                  <a:gd name="T14" fmla="*/ 37 w 39"/>
                  <a:gd name="T15" fmla="*/ 5 h 11"/>
                  <a:gd name="T16" fmla="*/ 38 w 39"/>
                  <a:gd name="T17" fmla="*/ 9 h 11"/>
                  <a:gd name="T18" fmla="*/ 36 w 39"/>
                  <a:gd name="T1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9" h="11">
                    <a:moveTo>
                      <a:pt x="36" y="11"/>
                    </a:moveTo>
                    <a:cubicBezTo>
                      <a:pt x="35" y="11"/>
                      <a:pt x="34" y="11"/>
                      <a:pt x="34" y="10"/>
                    </a:cubicBezTo>
                    <a:cubicBezTo>
                      <a:pt x="30" y="8"/>
                      <a:pt x="27" y="6"/>
                      <a:pt x="20" y="6"/>
                    </a:cubicBezTo>
                    <a:cubicBezTo>
                      <a:pt x="13" y="6"/>
                      <a:pt x="7" y="9"/>
                      <a:pt x="6" y="10"/>
                    </a:cubicBezTo>
                    <a:cubicBezTo>
                      <a:pt x="5" y="11"/>
                      <a:pt x="3" y="11"/>
                      <a:pt x="1" y="10"/>
                    </a:cubicBezTo>
                    <a:cubicBezTo>
                      <a:pt x="0" y="8"/>
                      <a:pt x="1" y="6"/>
                      <a:pt x="2" y="5"/>
                    </a:cubicBezTo>
                    <a:cubicBezTo>
                      <a:pt x="5" y="3"/>
                      <a:pt x="11" y="0"/>
                      <a:pt x="20" y="0"/>
                    </a:cubicBezTo>
                    <a:cubicBezTo>
                      <a:pt x="27" y="0"/>
                      <a:pt x="32" y="1"/>
                      <a:pt x="37" y="5"/>
                    </a:cubicBezTo>
                    <a:cubicBezTo>
                      <a:pt x="39" y="6"/>
                      <a:pt x="39" y="8"/>
                      <a:pt x="38" y="9"/>
                    </a:cubicBezTo>
                    <a:cubicBezTo>
                      <a:pt x="38" y="10"/>
                      <a:pt x="37" y="11"/>
                      <a:pt x="36" y="1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63" name="Freeform 303">
                <a:extLst>
                  <a:ext uri="{FF2B5EF4-FFF2-40B4-BE49-F238E27FC236}">
                    <a16:creationId xmlns:a16="http://schemas.microsoft.com/office/drawing/2014/main" id="{845576E8-06AC-4823-9942-F63125FF5C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7" y="1229"/>
                <a:ext cx="112" cy="113"/>
              </a:xfrm>
              <a:custGeom>
                <a:avLst/>
                <a:gdLst>
                  <a:gd name="T0" fmla="*/ 0 w 40"/>
                  <a:gd name="T1" fmla="*/ 19 h 40"/>
                  <a:gd name="T2" fmla="*/ 23 w 40"/>
                  <a:gd name="T3" fmla="*/ 38 h 40"/>
                  <a:gd name="T4" fmla="*/ 38 w 40"/>
                  <a:gd name="T5" fmla="*/ 23 h 40"/>
                  <a:gd name="T6" fmla="*/ 19 w 40"/>
                  <a:gd name="T7" fmla="*/ 0 h 40"/>
                  <a:gd name="T8" fmla="*/ 0 w 40"/>
                  <a:gd name="T9" fmla="*/ 1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40">
                    <a:moveTo>
                      <a:pt x="0" y="19"/>
                    </a:moveTo>
                    <a:cubicBezTo>
                      <a:pt x="0" y="31"/>
                      <a:pt x="11" y="40"/>
                      <a:pt x="23" y="38"/>
                    </a:cubicBezTo>
                    <a:cubicBezTo>
                      <a:pt x="30" y="36"/>
                      <a:pt x="36" y="30"/>
                      <a:pt x="38" y="23"/>
                    </a:cubicBezTo>
                    <a:cubicBezTo>
                      <a:pt x="40" y="11"/>
                      <a:pt x="31" y="0"/>
                      <a:pt x="19" y="0"/>
                    </a:cubicBezTo>
                    <a:cubicBezTo>
                      <a:pt x="9" y="0"/>
                      <a:pt x="0" y="9"/>
                      <a:pt x="0" y="19"/>
                    </a:cubicBezTo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94" name="Groupe 493">
            <a:extLst>
              <a:ext uri="{FF2B5EF4-FFF2-40B4-BE49-F238E27FC236}">
                <a16:creationId xmlns:a16="http://schemas.microsoft.com/office/drawing/2014/main" id="{383A37FF-994F-481B-AB4C-5551E3A8A34B}"/>
              </a:ext>
            </a:extLst>
          </p:cNvPr>
          <p:cNvGrpSpPr/>
          <p:nvPr/>
        </p:nvGrpSpPr>
        <p:grpSpPr>
          <a:xfrm>
            <a:off x="400738" y="3103488"/>
            <a:ext cx="865004" cy="865444"/>
            <a:chOff x="302418" y="2962223"/>
            <a:chExt cx="648743" cy="649073"/>
          </a:xfrm>
        </p:grpSpPr>
        <p:sp>
          <p:nvSpPr>
            <p:cNvPr id="546" name="Oval 5">
              <a:extLst>
                <a:ext uri="{FF2B5EF4-FFF2-40B4-BE49-F238E27FC236}">
                  <a16:creationId xmlns:a16="http://schemas.microsoft.com/office/drawing/2014/main" id="{A70109D4-BA00-45F9-B8BC-BB57B22D58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418" y="2962223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547" name="Group 306">
              <a:extLst>
                <a:ext uri="{FF2B5EF4-FFF2-40B4-BE49-F238E27FC236}">
                  <a16:creationId xmlns:a16="http://schemas.microsoft.com/office/drawing/2014/main" id="{CE1CCCE5-AD81-4D33-816F-1ABF6FFEA5A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79945" y="3106950"/>
              <a:ext cx="293688" cy="359618"/>
              <a:chOff x="248" y="1860"/>
              <a:chExt cx="294" cy="360"/>
            </a:xfrm>
          </p:grpSpPr>
          <p:sp>
            <p:nvSpPr>
              <p:cNvPr id="548" name="Freeform 307">
                <a:extLst>
                  <a:ext uri="{FF2B5EF4-FFF2-40B4-BE49-F238E27FC236}">
                    <a16:creationId xmlns:a16="http://schemas.microsoft.com/office/drawing/2014/main" id="{E20DC85D-F0F6-429B-BE56-867C0FD691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" y="2062"/>
                <a:ext cx="42" cy="43"/>
              </a:xfrm>
              <a:custGeom>
                <a:avLst/>
                <a:gdLst>
                  <a:gd name="T0" fmla="*/ 15 w 15"/>
                  <a:gd name="T1" fmla="*/ 0 h 15"/>
                  <a:gd name="T2" fmla="*/ 15 w 15"/>
                  <a:gd name="T3" fmla="*/ 0 h 15"/>
                  <a:gd name="T4" fmla="*/ 0 w 15"/>
                  <a:gd name="T5" fmla="*/ 7 h 15"/>
                  <a:gd name="T6" fmla="*/ 15 w 15"/>
                  <a:gd name="T7" fmla="*/ 15 h 15"/>
                  <a:gd name="T8" fmla="*/ 15 w 15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11" y="3"/>
                      <a:pt x="6" y="6"/>
                      <a:pt x="0" y="7"/>
                    </a:cubicBezTo>
                    <a:cubicBezTo>
                      <a:pt x="15" y="15"/>
                      <a:pt x="15" y="15"/>
                      <a:pt x="15" y="15"/>
                    </a:cubicBez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49" name="Freeform 308">
                <a:extLst>
                  <a:ext uri="{FF2B5EF4-FFF2-40B4-BE49-F238E27FC236}">
                    <a16:creationId xmlns:a16="http://schemas.microsoft.com/office/drawing/2014/main" id="{E8B0C6C0-9450-49F9-8420-60D75F48C7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" y="2062"/>
                <a:ext cx="42" cy="43"/>
              </a:xfrm>
              <a:custGeom>
                <a:avLst/>
                <a:gdLst>
                  <a:gd name="T0" fmla="*/ 15 w 15"/>
                  <a:gd name="T1" fmla="*/ 7 h 15"/>
                  <a:gd name="T2" fmla="*/ 0 w 15"/>
                  <a:gd name="T3" fmla="*/ 0 h 15"/>
                  <a:gd name="T4" fmla="*/ 0 w 15"/>
                  <a:gd name="T5" fmla="*/ 0 h 15"/>
                  <a:gd name="T6" fmla="*/ 0 w 15"/>
                  <a:gd name="T7" fmla="*/ 15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9" y="6"/>
                      <a:pt x="4" y="3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5"/>
                      <a:pt x="0" y="15"/>
                      <a:pt x="0" y="15"/>
                    </a:cubicBezTo>
                    <a:lnTo>
                      <a:pt x="15" y="7"/>
                    </a:ln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50" name="Freeform 309">
                <a:extLst>
                  <a:ext uri="{FF2B5EF4-FFF2-40B4-BE49-F238E27FC236}">
                    <a16:creationId xmlns:a16="http://schemas.microsoft.com/office/drawing/2014/main" id="{DC90E5E6-2106-4A95-BC74-A8890395FB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" y="2065"/>
                <a:ext cx="294" cy="155"/>
              </a:xfrm>
              <a:custGeom>
                <a:avLst/>
                <a:gdLst>
                  <a:gd name="T0" fmla="*/ 77 w 104"/>
                  <a:gd name="T1" fmla="*/ 0 h 55"/>
                  <a:gd name="T2" fmla="*/ 77 w 104"/>
                  <a:gd name="T3" fmla="*/ 18 h 55"/>
                  <a:gd name="T4" fmla="*/ 75 w 104"/>
                  <a:gd name="T5" fmla="*/ 19 h 55"/>
                  <a:gd name="T6" fmla="*/ 59 w 104"/>
                  <a:gd name="T7" fmla="*/ 10 h 55"/>
                  <a:gd name="T8" fmla="*/ 57 w 104"/>
                  <a:gd name="T9" fmla="*/ 18 h 55"/>
                  <a:gd name="T10" fmla="*/ 47 w 104"/>
                  <a:gd name="T11" fmla="*/ 18 h 55"/>
                  <a:gd name="T12" fmla="*/ 45 w 104"/>
                  <a:gd name="T13" fmla="*/ 10 h 55"/>
                  <a:gd name="T14" fmla="*/ 29 w 104"/>
                  <a:gd name="T15" fmla="*/ 19 h 55"/>
                  <a:gd name="T16" fmla="*/ 27 w 104"/>
                  <a:gd name="T17" fmla="*/ 18 h 55"/>
                  <a:gd name="T18" fmla="*/ 27 w 104"/>
                  <a:gd name="T19" fmla="*/ 0 h 55"/>
                  <a:gd name="T20" fmla="*/ 0 w 104"/>
                  <a:gd name="T21" fmla="*/ 28 h 55"/>
                  <a:gd name="T22" fmla="*/ 0 w 104"/>
                  <a:gd name="T23" fmla="*/ 47 h 55"/>
                  <a:gd name="T24" fmla="*/ 8 w 104"/>
                  <a:gd name="T25" fmla="*/ 55 h 55"/>
                  <a:gd name="T26" fmla="*/ 96 w 104"/>
                  <a:gd name="T27" fmla="*/ 55 h 55"/>
                  <a:gd name="T28" fmla="*/ 104 w 104"/>
                  <a:gd name="T29" fmla="*/ 47 h 55"/>
                  <a:gd name="T30" fmla="*/ 104 w 104"/>
                  <a:gd name="T31" fmla="*/ 28 h 55"/>
                  <a:gd name="T32" fmla="*/ 77 w 104"/>
                  <a:gd name="T33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4" h="55">
                    <a:moveTo>
                      <a:pt x="77" y="0"/>
                    </a:moveTo>
                    <a:cubicBezTo>
                      <a:pt x="77" y="18"/>
                      <a:pt x="77" y="18"/>
                      <a:pt x="77" y="18"/>
                    </a:cubicBezTo>
                    <a:cubicBezTo>
                      <a:pt x="77" y="19"/>
                      <a:pt x="76" y="19"/>
                      <a:pt x="75" y="19"/>
                    </a:cubicBezTo>
                    <a:cubicBezTo>
                      <a:pt x="59" y="10"/>
                      <a:pt x="59" y="10"/>
                      <a:pt x="59" y="10"/>
                    </a:cubicBezTo>
                    <a:cubicBezTo>
                      <a:pt x="57" y="18"/>
                      <a:pt x="57" y="18"/>
                      <a:pt x="57" y="18"/>
                    </a:cubicBezTo>
                    <a:cubicBezTo>
                      <a:pt x="47" y="18"/>
                      <a:pt x="47" y="18"/>
                      <a:pt x="47" y="18"/>
                    </a:cubicBezTo>
                    <a:cubicBezTo>
                      <a:pt x="45" y="10"/>
                      <a:pt x="45" y="10"/>
                      <a:pt x="45" y="10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8" y="19"/>
                      <a:pt x="27" y="19"/>
                      <a:pt x="27" y="18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15" y="4"/>
                      <a:pt x="0" y="15"/>
                      <a:pt x="0" y="28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51"/>
                      <a:pt x="4" y="55"/>
                      <a:pt x="8" y="55"/>
                    </a:cubicBezTo>
                    <a:cubicBezTo>
                      <a:pt x="96" y="55"/>
                      <a:pt x="96" y="55"/>
                      <a:pt x="96" y="55"/>
                    </a:cubicBezTo>
                    <a:cubicBezTo>
                      <a:pt x="100" y="55"/>
                      <a:pt x="104" y="51"/>
                      <a:pt x="104" y="47"/>
                    </a:cubicBezTo>
                    <a:cubicBezTo>
                      <a:pt x="104" y="28"/>
                      <a:pt x="104" y="28"/>
                      <a:pt x="104" y="28"/>
                    </a:cubicBezTo>
                    <a:cubicBezTo>
                      <a:pt x="104" y="15"/>
                      <a:pt x="89" y="4"/>
                      <a:pt x="77" y="0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51" name="Freeform 310">
                <a:extLst>
                  <a:ext uri="{FF2B5EF4-FFF2-40B4-BE49-F238E27FC236}">
                    <a16:creationId xmlns:a16="http://schemas.microsoft.com/office/drawing/2014/main" id="{B99ABB92-DD38-4604-A692-0552CB3E95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" y="2082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2B45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52" name="Freeform 311">
                <a:extLst>
                  <a:ext uri="{FF2B5EF4-FFF2-40B4-BE49-F238E27FC236}">
                    <a16:creationId xmlns:a16="http://schemas.microsoft.com/office/drawing/2014/main" id="{7A020743-F493-4E5D-8C3F-BA5DACFB8F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" y="2082"/>
                <a:ext cx="40" cy="34"/>
              </a:xfrm>
              <a:custGeom>
                <a:avLst/>
                <a:gdLst>
                  <a:gd name="T0" fmla="*/ 7 w 14"/>
                  <a:gd name="T1" fmla="*/ 0 h 12"/>
                  <a:gd name="T2" fmla="*/ 7 w 14"/>
                  <a:gd name="T3" fmla="*/ 0 h 12"/>
                  <a:gd name="T4" fmla="*/ 7 w 14"/>
                  <a:gd name="T5" fmla="*/ 0 h 12"/>
                  <a:gd name="T6" fmla="*/ 6 w 14"/>
                  <a:gd name="T7" fmla="*/ 1 h 12"/>
                  <a:gd name="T8" fmla="*/ 0 w 14"/>
                  <a:gd name="T9" fmla="*/ 4 h 12"/>
                  <a:gd name="T10" fmla="*/ 2 w 14"/>
                  <a:gd name="T11" fmla="*/ 12 h 12"/>
                  <a:gd name="T12" fmla="*/ 12 w 14"/>
                  <a:gd name="T13" fmla="*/ 12 h 12"/>
                  <a:gd name="T14" fmla="*/ 14 w 14"/>
                  <a:gd name="T15" fmla="*/ 4 h 12"/>
                  <a:gd name="T16" fmla="*/ 8 w 14"/>
                  <a:gd name="T17" fmla="*/ 1 h 12"/>
                  <a:gd name="T18" fmla="*/ 7 w 14"/>
                  <a:gd name="T1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" h="12">
                    <a:moveTo>
                      <a:pt x="7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7" y="0"/>
                      <a:pt x="6" y="0"/>
                      <a:pt x="6" y="1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0"/>
                      <a:pt x="7" y="0"/>
                      <a:pt x="7" y="0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53" name="Freeform 312">
                <a:extLst>
                  <a:ext uri="{FF2B5EF4-FFF2-40B4-BE49-F238E27FC236}">
                    <a16:creationId xmlns:a16="http://schemas.microsoft.com/office/drawing/2014/main" id="{15468695-4CF3-4EEC-BF7E-F911F27832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" y="2062"/>
                <a:ext cx="71" cy="57"/>
              </a:xfrm>
              <a:custGeom>
                <a:avLst/>
                <a:gdLst>
                  <a:gd name="T0" fmla="*/ 21 w 25"/>
                  <a:gd name="T1" fmla="*/ 0 h 20"/>
                  <a:gd name="T2" fmla="*/ 21 w 25"/>
                  <a:gd name="T3" fmla="*/ 15 h 20"/>
                  <a:gd name="T4" fmla="*/ 6 w 25"/>
                  <a:gd name="T5" fmla="*/ 7 h 20"/>
                  <a:gd name="T6" fmla="*/ 5 w 25"/>
                  <a:gd name="T7" fmla="*/ 7 h 20"/>
                  <a:gd name="T8" fmla="*/ 0 w 25"/>
                  <a:gd name="T9" fmla="*/ 7 h 20"/>
                  <a:gd name="T10" fmla="*/ 1 w 25"/>
                  <a:gd name="T11" fmla="*/ 8 h 20"/>
                  <a:gd name="T12" fmla="*/ 7 w 25"/>
                  <a:gd name="T13" fmla="*/ 11 h 20"/>
                  <a:gd name="T14" fmla="*/ 23 w 25"/>
                  <a:gd name="T15" fmla="*/ 20 h 20"/>
                  <a:gd name="T16" fmla="*/ 25 w 25"/>
                  <a:gd name="T17" fmla="*/ 19 h 20"/>
                  <a:gd name="T18" fmla="*/ 25 w 25"/>
                  <a:gd name="T19" fmla="*/ 1 h 20"/>
                  <a:gd name="T20" fmla="*/ 21 w 25"/>
                  <a:gd name="T2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20">
                    <a:moveTo>
                      <a:pt x="21" y="0"/>
                    </a:moveTo>
                    <a:cubicBezTo>
                      <a:pt x="21" y="15"/>
                      <a:pt x="21" y="15"/>
                      <a:pt x="21" y="15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6" y="7"/>
                      <a:pt x="5" y="7"/>
                      <a:pt x="5" y="7"/>
                    </a:cubicBezTo>
                    <a:cubicBezTo>
                      <a:pt x="3" y="7"/>
                      <a:pt x="2" y="7"/>
                      <a:pt x="0" y="7"/>
                    </a:cubicBezTo>
                    <a:cubicBezTo>
                      <a:pt x="0" y="7"/>
                      <a:pt x="1" y="7"/>
                      <a:pt x="1" y="8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4" y="20"/>
                      <a:pt x="25" y="20"/>
                      <a:pt x="25" y="19"/>
                    </a:cubicBezTo>
                    <a:cubicBezTo>
                      <a:pt x="25" y="1"/>
                      <a:pt x="25" y="1"/>
                      <a:pt x="25" y="1"/>
                    </a:cubicBezTo>
                    <a:cubicBezTo>
                      <a:pt x="24" y="1"/>
                      <a:pt x="22" y="0"/>
                      <a:pt x="2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54" name="Freeform 313">
                <a:extLst>
                  <a:ext uri="{FF2B5EF4-FFF2-40B4-BE49-F238E27FC236}">
                    <a16:creationId xmlns:a16="http://schemas.microsoft.com/office/drawing/2014/main" id="{8B93D24E-B45A-45B9-979B-A20856679A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" y="2062"/>
                <a:ext cx="71" cy="57"/>
              </a:xfrm>
              <a:custGeom>
                <a:avLst/>
                <a:gdLst>
                  <a:gd name="T0" fmla="*/ 20 w 25"/>
                  <a:gd name="T1" fmla="*/ 7 h 20"/>
                  <a:gd name="T2" fmla="*/ 19 w 25"/>
                  <a:gd name="T3" fmla="*/ 7 h 20"/>
                  <a:gd name="T4" fmla="*/ 4 w 25"/>
                  <a:gd name="T5" fmla="*/ 15 h 20"/>
                  <a:gd name="T6" fmla="*/ 4 w 25"/>
                  <a:gd name="T7" fmla="*/ 0 h 20"/>
                  <a:gd name="T8" fmla="*/ 0 w 25"/>
                  <a:gd name="T9" fmla="*/ 1 h 20"/>
                  <a:gd name="T10" fmla="*/ 0 w 25"/>
                  <a:gd name="T11" fmla="*/ 19 h 20"/>
                  <a:gd name="T12" fmla="*/ 2 w 25"/>
                  <a:gd name="T13" fmla="*/ 20 h 20"/>
                  <a:gd name="T14" fmla="*/ 18 w 25"/>
                  <a:gd name="T15" fmla="*/ 11 h 20"/>
                  <a:gd name="T16" fmla="*/ 24 w 25"/>
                  <a:gd name="T17" fmla="*/ 8 h 20"/>
                  <a:gd name="T18" fmla="*/ 25 w 25"/>
                  <a:gd name="T19" fmla="*/ 7 h 20"/>
                  <a:gd name="T20" fmla="*/ 20 w 25"/>
                  <a:gd name="T21" fmla="*/ 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20">
                    <a:moveTo>
                      <a:pt x="20" y="7"/>
                    </a:moveTo>
                    <a:cubicBezTo>
                      <a:pt x="20" y="7"/>
                      <a:pt x="19" y="7"/>
                      <a:pt x="19" y="7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1" y="1"/>
                      <a:pt x="0" y="1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20"/>
                      <a:pt x="1" y="20"/>
                      <a:pt x="2" y="20"/>
                    </a:cubicBezTo>
                    <a:cubicBezTo>
                      <a:pt x="18" y="11"/>
                      <a:pt x="18" y="11"/>
                      <a:pt x="18" y="11"/>
                    </a:cubicBezTo>
                    <a:cubicBezTo>
                      <a:pt x="24" y="8"/>
                      <a:pt x="24" y="8"/>
                      <a:pt x="24" y="8"/>
                    </a:cubicBezTo>
                    <a:cubicBezTo>
                      <a:pt x="24" y="7"/>
                      <a:pt x="25" y="7"/>
                      <a:pt x="25" y="7"/>
                    </a:cubicBezTo>
                    <a:cubicBezTo>
                      <a:pt x="23" y="7"/>
                      <a:pt x="22" y="7"/>
                      <a:pt x="20" y="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55" name="Freeform 314">
                <a:extLst>
                  <a:ext uri="{FF2B5EF4-FFF2-40B4-BE49-F238E27FC236}">
                    <a16:creationId xmlns:a16="http://schemas.microsoft.com/office/drawing/2014/main" id="{C9BA5D9B-95EB-4134-9CB6-8A7A7E2F6F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" y="1860"/>
                <a:ext cx="158" cy="191"/>
              </a:xfrm>
              <a:custGeom>
                <a:avLst/>
                <a:gdLst>
                  <a:gd name="T0" fmla="*/ 28 w 56"/>
                  <a:gd name="T1" fmla="*/ 68 h 68"/>
                  <a:gd name="T2" fmla="*/ 0 w 56"/>
                  <a:gd name="T3" fmla="*/ 34 h 68"/>
                  <a:gd name="T4" fmla="*/ 28 w 56"/>
                  <a:gd name="T5" fmla="*/ 0 h 68"/>
                  <a:gd name="T6" fmla="*/ 56 w 56"/>
                  <a:gd name="T7" fmla="*/ 34 h 68"/>
                  <a:gd name="T8" fmla="*/ 28 w 56"/>
                  <a:gd name="T9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" h="68">
                    <a:moveTo>
                      <a:pt x="28" y="68"/>
                    </a:moveTo>
                    <a:cubicBezTo>
                      <a:pt x="13" y="68"/>
                      <a:pt x="0" y="53"/>
                      <a:pt x="0" y="34"/>
                    </a:cubicBezTo>
                    <a:cubicBezTo>
                      <a:pt x="0" y="8"/>
                      <a:pt x="13" y="0"/>
                      <a:pt x="28" y="0"/>
                    </a:cubicBezTo>
                    <a:cubicBezTo>
                      <a:pt x="43" y="0"/>
                      <a:pt x="56" y="8"/>
                      <a:pt x="56" y="34"/>
                    </a:cubicBezTo>
                    <a:cubicBezTo>
                      <a:pt x="56" y="53"/>
                      <a:pt x="43" y="68"/>
                      <a:pt x="28" y="68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56" name="Freeform 315">
                <a:extLst>
                  <a:ext uri="{FF2B5EF4-FFF2-40B4-BE49-F238E27FC236}">
                    <a16:creationId xmlns:a16="http://schemas.microsoft.com/office/drawing/2014/main" id="{58B87D1E-F907-474D-B537-3A597F655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" y="2124"/>
                <a:ext cx="46" cy="96"/>
              </a:xfrm>
              <a:custGeom>
                <a:avLst/>
                <a:gdLst>
                  <a:gd name="T0" fmla="*/ 37 w 46"/>
                  <a:gd name="T1" fmla="*/ 0 h 96"/>
                  <a:gd name="T2" fmla="*/ 9 w 46"/>
                  <a:gd name="T3" fmla="*/ 0 h 96"/>
                  <a:gd name="T4" fmla="*/ 0 w 46"/>
                  <a:gd name="T5" fmla="*/ 96 h 96"/>
                  <a:gd name="T6" fmla="*/ 46 w 46"/>
                  <a:gd name="T7" fmla="*/ 96 h 96"/>
                  <a:gd name="T8" fmla="*/ 37 w 46"/>
                  <a:gd name="T9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96">
                    <a:moveTo>
                      <a:pt x="37" y="0"/>
                    </a:moveTo>
                    <a:lnTo>
                      <a:pt x="9" y="0"/>
                    </a:lnTo>
                    <a:lnTo>
                      <a:pt x="0" y="96"/>
                    </a:lnTo>
                    <a:lnTo>
                      <a:pt x="46" y="96"/>
                    </a:lnTo>
                    <a:lnTo>
                      <a:pt x="37" y="0"/>
                    </a:ln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95" name="Groupe 494">
            <a:extLst>
              <a:ext uri="{FF2B5EF4-FFF2-40B4-BE49-F238E27FC236}">
                <a16:creationId xmlns:a16="http://schemas.microsoft.com/office/drawing/2014/main" id="{98C8E29B-2F1A-4657-B244-3204D88E43F6}"/>
              </a:ext>
            </a:extLst>
          </p:cNvPr>
          <p:cNvGrpSpPr/>
          <p:nvPr/>
        </p:nvGrpSpPr>
        <p:grpSpPr>
          <a:xfrm>
            <a:off x="3675754" y="1960229"/>
            <a:ext cx="865004" cy="865444"/>
            <a:chOff x="2758642" y="1988559"/>
            <a:chExt cx="648743" cy="649073"/>
          </a:xfrm>
        </p:grpSpPr>
        <p:sp>
          <p:nvSpPr>
            <p:cNvPr id="538" name="Oval 5">
              <a:extLst>
                <a:ext uri="{FF2B5EF4-FFF2-40B4-BE49-F238E27FC236}">
                  <a16:creationId xmlns:a16="http://schemas.microsoft.com/office/drawing/2014/main" id="{3B29E922-17C2-446A-AF49-8A1624B234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8642" y="1988559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539" name="Group 318">
              <a:extLst>
                <a:ext uri="{FF2B5EF4-FFF2-40B4-BE49-F238E27FC236}">
                  <a16:creationId xmlns:a16="http://schemas.microsoft.com/office/drawing/2014/main" id="{FAACF59E-975E-4A2A-AB3E-64998D37048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891807" y="2103624"/>
              <a:ext cx="382412" cy="388984"/>
              <a:chOff x="1793" y="1234"/>
              <a:chExt cx="349" cy="355"/>
            </a:xfrm>
          </p:grpSpPr>
          <p:sp>
            <p:nvSpPr>
              <p:cNvPr id="540" name="Freeform 319">
                <a:extLst>
                  <a:ext uri="{FF2B5EF4-FFF2-40B4-BE49-F238E27FC236}">
                    <a16:creationId xmlns:a16="http://schemas.microsoft.com/office/drawing/2014/main" id="{81C1CCA8-2D73-42DD-B0F1-AA0103BBCB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4" y="1254"/>
                <a:ext cx="51" cy="45"/>
              </a:xfrm>
              <a:custGeom>
                <a:avLst/>
                <a:gdLst>
                  <a:gd name="T0" fmla="*/ 0 w 51"/>
                  <a:gd name="T1" fmla="*/ 22 h 45"/>
                  <a:gd name="T2" fmla="*/ 51 w 51"/>
                  <a:gd name="T3" fmla="*/ 45 h 45"/>
                  <a:gd name="T4" fmla="*/ 51 w 51"/>
                  <a:gd name="T5" fmla="*/ 0 h 45"/>
                  <a:gd name="T6" fmla="*/ 0 w 51"/>
                  <a:gd name="T7" fmla="*/ 2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1" h="45">
                    <a:moveTo>
                      <a:pt x="0" y="22"/>
                    </a:moveTo>
                    <a:lnTo>
                      <a:pt x="51" y="45"/>
                    </a:lnTo>
                    <a:lnTo>
                      <a:pt x="51" y="0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41" name="Freeform 320">
                <a:extLst>
                  <a:ext uri="{FF2B5EF4-FFF2-40B4-BE49-F238E27FC236}">
                    <a16:creationId xmlns:a16="http://schemas.microsoft.com/office/drawing/2014/main" id="{67A19EB9-6F93-40D3-B697-C33B50EC18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89" y="1248"/>
                <a:ext cx="61" cy="53"/>
              </a:xfrm>
              <a:custGeom>
                <a:avLst/>
                <a:gdLst>
                  <a:gd name="T0" fmla="*/ 20 w 22"/>
                  <a:gd name="T1" fmla="*/ 19 h 19"/>
                  <a:gd name="T2" fmla="*/ 19 w 22"/>
                  <a:gd name="T3" fmla="*/ 19 h 19"/>
                  <a:gd name="T4" fmla="*/ 1 w 22"/>
                  <a:gd name="T5" fmla="*/ 11 h 19"/>
                  <a:gd name="T6" fmla="*/ 0 w 22"/>
                  <a:gd name="T7" fmla="*/ 10 h 19"/>
                  <a:gd name="T8" fmla="*/ 1 w 22"/>
                  <a:gd name="T9" fmla="*/ 8 h 19"/>
                  <a:gd name="T10" fmla="*/ 19 w 22"/>
                  <a:gd name="T11" fmla="*/ 1 h 19"/>
                  <a:gd name="T12" fmla="*/ 21 w 22"/>
                  <a:gd name="T13" fmla="*/ 1 h 19"/>
                  <a:gd name="T14" fmla="*/ 22 w 22"/>
                  <a:gd name="T15" fmla="*/ 2 h 19"/>
                  <a:gd name="T16" fmla="*/ 22 w 22"/>
                  <a:gd name="T17" fmla="*/ 18 h 19"/>
                  <a:gd name="T18" fmla="*/ 21 w 22"/>
                  <a:gd name="T19" fmla="*/ 19 h 19"/>
                  <a:gd name="T20" fmla="*/ 20 w 22"/>
                  <a:gd name="T21" fmla="*/ 19 h 19"/>
                  <a:gd name="T22" fmla="*/ 6 w 22"/>
                  <a:gd name="T23" fmla="*/ 10 h 19"/>
                  <a:gd name="T24" fmla="*/ 18 w 22"/>
                  <a:gd name="T25" fmla="*/ 15 h 19"/>
                  <a:gd name="T26" fmla="*/ 18 w 22"/>
                  <a:gd name="T27" fmla="*/ 5 h 19"/>
                  <a:gd name="T28" fmla="*/ 6 w 22"/>
                  <a:gd name="T29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2" h="19">
                    <a:moveTo>
                      <a:pt x="20" y="19"/>
                    </a:moveTo>
                    <a:cubicBezTo>
                      <a:pt x="20" y="19"/>
                      <a:pt x="20" y="19"/>
                      <a:pt x="19" y="19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1" y="11"/>
                      <a:pt x="0" y="11"/>
                      <a:pt x="0" y="10"/>
                    </a:cubicBezTo>
                    <a:cubicBezTo>
                      <a:pt x="0" y="9"/>
                      <a:pt x="1" y="9"/>
                      <a:pt x="1" y="8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20" y="0"/>
                      <a:pt x="20" y="0"/>
                      <a:pt x="21" y="1"/>
                    </a:cubicBezTo>
                    <a:cubicBezTo>
                      <a:pt x="21" y="1"/>
                      <a:pt x="22" y="2"/>
                      <a:pt x="22" y="2"/>
                    </a:cubicBezTo>
                    <a:cubicBezTo>
                      <a:pt x="22" y="18"/>
                      <a:pt x="22" y="18"/>
                      <a:pt x="22" y="18"/>
                    </a:cubicBezTo>
                    <a:cubicBezTo>
                      <a:pt x="22" y="18"/>
                      <a:pt x="21" y="19"/>
                      <a:pt x="21" y="19"/>
                    </a:cubicBezTo>
                    <a:cubicBezTo>
                      <a:pt x="21" y="19"/>
                      <a:pt x="20" y="19"/>
                      <a:pt x="20" y="19"/>
                    </a:cubicBezTo>
                    <a:close/>
                    <a:moveTo>
                      <a:pt x="6" y="10"/>
                    </a:moveTo>
                    <a:cubicBezTo>
                      <a:pt x="18" y="15"/>
                      <a:pt x="18" y="15"/>
                      <a:pt x="18" y="15"/>
                    </a:cubicBezTo>
                    <a:cubicBezTo>
                      <a:pt x="18" y="5"/>
                      <a:pt x="18" y="5"/>
                      <a:pt x="18" y="5"/>
                    </a:cubicBezTo>
                    <a:lnTo>
                      <a:pt x="6" y="10"/>
                    </a:ln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42" name="Freeform 321">
                <a:extLst>
                  <a:ext uri="{FF2B5EF4-FFF2-40B4-BE49-F238E27FC236}">
                    <a16:creationId xmlns:a16="http://schemas.microsoft.com/office/drawing/2014/main" id="{C243FFB8-D472-4026-ADBC-5B4CB74643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1" y="1335"/>
                <a:ext cx="132" cy="152"/>
              </a:xfrm>
              <a:custGeom>
                <a:avLst/>
                <a:gdLst>
                  <a:gd name="T0" fmla="*/ 45 w 47"/>
                  <a:gd name="T1" fmla="*/ 0 h 54"/>
                  <a:gd name="T2" fmla="*/ 42 w 47"/>
                  <a:gd name="T3" fmla="*/ 1 h 54"/>
                  <a:gd name="T4" fmla="*/ 1 w 47"/>
                  <a:gd name="T5" fmla="*/ 49 h 54"/>
                  <a:gd name="T6" fmla="*/ 1 w 47"/>
                  <a:gd name="T7" fmla="*/ 52 h 54"/>
                  <a:gd name="T8" fmla="*/ 4 w 47"/>
                  <a:gd name="T9" fmla="*/ 54 h 54"/>
                  <a:gd name="T10" fmla="*/ 44 w 47"/>
                  <a:gd name="T11" fmla="*/ 54 h 54"/>
                  <a:gd name="T12" fmla="*/ 47 w 47"/>
                  <a:gd name="T13" fmla="*/ 51 h 54"/>
                  <a:gd name="T14" fmla="*/ 47 w 47"/>
                  <a:gd name="T15" fmla="*/ 3 h 54"/>
                  <a:gd name="T16" fmla="*/ 45 w 47"/>
                  <a:gd name="T1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" h="54">
                    <a:moveTo>
                      <a:pt x="45" y="0"/>
                    </a:moveTo>
                    <a:cubicBezTo>
                      <a:pt x="44" y="0"/>
                      <a:pt x="42" y="0"/>
                      <a:pt x="42" y="1"/>
                    </a:cubicBezTo>
                    <a:cubicBezTo>
                      <a:pt x="1" y="49"/>
                      <a:pt x="1" y="49"/>
                      <a:pt x="1" y="49"/>
                    </a:cubicBezTo>
                    <a:cubicBezTo>
                      <a:pt x="1" y="50"/>
                      <a:pt x="0" y="51"/>
                      <a:pt x="1" y="52"/>
                    </a:cubicBezTo>
                    <a:cubicBezTo>
                      <a:pt x="1" y="53"/>
                      <a:pt x="3" y="54"/>
                      <a:pt x="4" y="54"/>
                    </a:cubicBezTo>
                    <a:cubicBezTo>
                      <a:pt x="44" y="54"/>
                      <a:pt x="44" y="54"/>
                      <a:pt x="44" y="54"/>
                    </a:cubicBezTo>
                    <a:cubicBezTo>
                      <a:pt x="46" y="54"/>
                      <a:pt x="47" y="53"/>
                      <a:pt x="47" y="51"/>
                    </a:cubicBezTo>
                    <a:cubicBezTo>
                      <a:pt x="47" y="3"/>
                      <a:pt x="47" y="3"/>
                      <a:pt x="47" y="3"/>
                    </a:cubicBezTo>
                    <a:cubicBezTo>
                      <a:pt x="47" y="2"/>
                      <a:pt x="46" y="1"/>
                      <a:pt x="45" y="0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43" name="Freeform 322">
                <a:extLst>
                  <a:ext uri="{FF2B5EF4-FFF2-40B4-BE49-F238E27FC236}">
                    <a16:creationId xmlns:a16="http://schemas.microsoft.com/office/drawing/2014/main" id="{A6460301-AD07-4797-996C-37D67CA28F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6" y="1256"/>
                <a:ext cx="189" cy="231"/>
              </a:xfrm>
              <a:custGeom>
                <a:avLst/>
                <a:gdLst>
                  <a:gd name="T0" fmla="*/ 66 w 67"/>
                  <a:gd name="T1" fmla="*/ 77 h 82"/>
                  <a:gd name="T2" fmla="*/ 5 w 67"/>
                  <a:gd name="T3" fmla="*/ 1 h 82"/>
                  <a:gd name="T4" fmla="*/ 2 w 67"/>
                  <a:gd name="T5" fmla="*/ 0 h 82"/>
                  <a:gd name="T6" fmla="*/ 0 w 67"/>
                  <a:gd name="T7" fmla="*/ 3 h 82"/>
                  <a:gd name="T8" fmla="*/ 0 w 67"/>
                  <a:gd name="T9" fmla="*/ 79 h 82"/>
                  <a:gd name="T10" fmla="*/ 3 w 67"/>
                  <a:gd name="T11" fmla="*/ 82 h 82"/>
                  <a:gd name="T12" fmla="*/ 64 w 67"/>
                  <a:gd name="T13" fmla="*/ 82 h 82"/>
                  <a:gd name="T14" fmla="*/ 66 w 67"/>
                  <a:gd name="T15" fmla="*/ 80 h 82"/>
                  <a:gd name="T16" fmla="*/ 66 w 67"/>
                  <a:gd name="T17" fmla="*/ 7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" h="82">
                    <a:moveTo>
                      <a:pt x="66" y="77"/>
                    </a:moveTo>
                    <a:cubicBezTo>
                      <a:pt x="5" y="1"/>
                      <a:pt x="5" y="1"/>
                      <a:pt x="5" y="1"/>
                    </a:cubicBezTo>
                    <a:cubicBezTo>
                      <a:pt x="5" y="0"/>
                      <a:pt x="3" y="0"/>
                      <a:pt x="2" y="0"/>
                    </a:cubicBezTo>
                    <a:cubicBezTo>
                      <a:pt x="1" y="1"/>
                      <a:pt x="0" y="2"/>
                      <a:pt x="0" y="3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0" y="81"/>
                      <a:pt x="1" y="82"/>
                      <a:pt x="3" y="82"/>
                    </a:cubicBezTo>
                    <a:cubicBezTo>
                      <a:pt x="64" y="82"/>
                      <a:pt x="64" y="82"/>
                      <a:pt x="64" y="82"/>
                    </a:cubicBezTo>
                    <a:cubicBezTo>
                      <a:pt x="65" y="82"/>
                      <a:pt x="66" y="81"/>
                      <a:pt x="66" y="80"/>
                    </a:cubicBezTo>
                    <a:cubicBezTo>
                      <a:pt x="67" y="79"/>
                      <a:pt x="67" y="78"/>
                      <a:pt x="66" y="77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44" name="Freeform 323">
                <a:extLst>
                  <a:ext uri="{FF2B5EF4-FFF2-40B4-BE49-F238E27FC236}">
                    <a16:creationId xmlns:a16="http://schemas.microsoft.com/office/drawing/2014/main" id="{9B947970-27D0-4E08-9650-234DF17367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6" y="1234"/>
                <a:ext cx="17" cy="281"/>
              </a:xfrm>
              <a:custGeom>
                <a:avLst/>
                <a:gdLst>
                  <a:gd name="T0" fmla="*/ 6 w 6"/>
                  <a:gd name="T1" fmla="*/ 100 h 100"/>
                  <a:gd name="T2" fmla="*/ 6 w 6"/>
                  <a:gd name="T3" fmla="*/ 3 h 100"/>
                  <a:gd name="T4" fmla="*/ 3 w 6"/>
                  <a:gd name="T5" fmla="*/ 0 h 100"/>
                  <a:gd name="T6" fmla="*/ 0 w 6"/>
                  <a:gd name="T7" fmla="*/ 3 h 100"/>
                  <a:gd name="T8" fmla="*/ 0 w 6"/>
                  <a:gd name="T9" fmla="*/ 100 h 100"/>
                  <a:gd name="T10" fmla="*/ 6 w 6"/>
                  <a:gd name="T11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100">
                    <a:moveTo>
                      <a:pt x="6" y="100"/>
                    </a:moveTo>
                    <a:cubicBezTo>
                      <a:pt x="6" y="3"/>
                      <a:pt x="6" y="3"/>
                      <a:pt x="6" y="3"/>
                    </a:cubicBezTo>
                    <a:cubicBezTo>
                      <a:pt x="6" y="1"/>
                      <a:pt x="5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100"/>
                      <a:pt x="0" y="100"/>
                      <a:pt x="0" y="100"/>
                    </a:cubicBezTo>
                    <a:lnTo>
                      <a:pt x="6" y="100"/>
                    </a:ln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45" name="Freeform 324">
                <a:extLst>
                  <a:ext uri="{FF2B5EF4-FFF2-40B4-BE49-F238E27FC236}">
                    <a16:creationId xmlns:a16="http://schemas.microsoft.com/office/drawing/2014/main" id="{DF8A77C4-9A71-4546-B53D-DF54C5D9DE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3" y="1515"/>
                <a:ext cx="349" cy="74"/>
              </a:xfrm>
              <a:custGeom>
                <a:avLst/>
                <a:gdLst>
                  <a:gd name="T0" fmla="*/ 102 w 124"/>
                  <a:gd name="T1" fmla="*/ 26 h 26"/>
                  <a:gd name="T2" fmla="*/ 22 w 124"/>
                  <a:gd name="T3" fmla="*/ 26 h 26"/>
                  <a:gd name="T4" fmla="*/ 17 w 124"/>
                  <a:gd name="T5" fmla="*/ 24 h 26"/>
                  <a:gd name="T6" fmla="*/ 1 w 124"/>
                  <a:gd name="T7" fmla="*/ 3 h 26"/>
                  <a:gd name="T8" fmla="*/ 2 w 124"/>
                  <a:gd name="T9" fmla="*/ 0 h 26"/>
                  <a:gd name="T10" fmla="*/ 122 w 124"/>
                  <a:gd name="T11" fmla="*/ 0 h 26"/>
                  <a:gd name="T12" fmla="*/ 123 w 124"/>
                  <a:gd name="T13" fmla="*/ 3 h 26"/>
                  <a:gd name="T14" fmla="*/ 107 w 124"/>
                  <a:gd name="T15" fmla="*/ 24 h 26"/>
                  <a:gd name="T16" fmla="*/ 102 w 124"/>
                  <a:gd name="T17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4" h="26">
                    <a:moveTo>
                      <a:pt x="102" y="26"/>
                    </a:moveTo>
                    <a:cubicBezTo>
                      <a:pt x="22" y="26"/>
                      <a:pt x="22" y="26"/>
                      <a:pt x="22" y="26"/>
                    </a:cubicBezTo>
                    <a:cubicBezTo>
                      <a:pt x="20" y="26"/>
                      <a:pt x="18" y="25"/>
                      <a:pt x="17" y="2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2"/>
                      <a:pt x="0" y="0"/>
                      <a:pt x="2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4" y="0"/>
                      <a:pt x="124" y="2"/>
                      <a:pt x="123" y="3"/>
                    </a:cubicBezTo>
                    <a:cubicBezTo>
                      <a:pt x="107" y="24"/>
                      <a:pt x="107" y="24"/>
                      <a:pt x="107" y="24"/>
                    </a:cubicBezTo>
                    <a:cubicBezTo>
                      <a:pt x="106" y="25"/>
                      <a:pt x="104" y="26"/>
                      <a:pt x="102" y="26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96" name="Groupe 495">
            <a:extLst>
              <a:ext uri="{FF2B5EF4-FFF2-40B4-BE49-F238E27FC236}">
                <a16:creationId xmlns:a16="http://schemas.microsoft.com/office/drawing/2014/main" id="{3D72EA39-FA80-447E-B1DD-052764BF09D7}"/>
              </a:ext>
            </a:extLst>
          </p:cNvPr>
          <p:cNvGrpSpPr/>
          <p:nvPr/>
        </p:nvGrpSpPr>
        <p:grpSpPr>
          <a:xfrm>
            <a:off x="8042441" y="1960229"/>
            <a:ext cx="865004" cy="865444"/>
            <a:chOff x="6033607" y="1988559"/>
            <a:chExt cx="648743" cy="649073"/>
          </a:xfrm>
        </p:grpSpPr>
        <p:sp>
          <p:nvSpPr>
            <p:cNvPr id="517" name="Oval 5">
              <a:extLst>
                <a:ext uri="{FF2B5EF4-FFF2-40B4-BE49-F238E27FC236}">
                  <a16:creationId xmlns:a16="http://schemas.microsoft.com/office/drawing/2014/main" id="{010CA4E8-E13F-4DBD-91D9-B2FF3BEB5F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3607" y="1988559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518" name="Group 327">
              <a:extLst>
                <a:ext uri="{FF2B5EF4-FFF2-40B4-BE49-F238E27FC236}">
                  <a16:creationId xmlns:a16="http://schemas.microsoft.com/office/drawing/2014/main" id="{DEB7FEA6-72B1-4849-A780-6EC1C986AFF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146100" y="2130985"/>
              <a:ext cx="423757" cy="364220"/>
              <a:chOff x="3831" y="1278"/>
              <a:chExt cx="363" cy="312"/>
            </a:xfrm>
          </p:grpSpPr>
          <p:sp>
            <p:nvSpPr>
              <p:cNvPr id="519" name="Freeform 328">
                <a:extLst>
                  <a:ext uri="{FF2B5EF4-FFF2-40B4-BE49-F238E27FC236}">
                    <a16:creationId xmlns:a16="http://schemas.microsoft.com/office/drawing/2014/main" id="{FC8A3A7C-A4D6-4156-BAF2-39C9194385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2" y="1278"/>
                <a:ext cx="160" cy="312"/>
              </a:xfrm>
              <a:custGeom>
                <a:avLst/>
                <a:gdLst>
                  <a:gd name="T0" fmla="*/ 53 w 57"/>
                  <a:gd name="T1" fmla="*/ 110 h 110"/>
                  <a:gd name="T2" fmla="*/ 0 w 57"/>
                  <a:gd name="T3" fmla="*/ 110 h 110"/>
                  <a:gd name="T4" fmla="*/ 0 w 57"/>
                  <a:gd name="T5" fmla="*/ 7 h 110"/>
                  <a:gd name="T6" fmla="*/ 8 w 57"/>
                  <a:gd name="T7" fmla="*/ 0 h 110"/>
                  <a:gd name="T8" fmla="*/ 49 w 57"/>
                  <a:gd name="T9" fmla="*/ 0 h 110"/>
                  <a:gd name="T10" fmla="*/ 57 w 57"/>
                  <a:gd name="T11" fmla="*/ 7 h 110"/>
                  <a:gd name="T12" fmla="*/ 57 w 57"/>
                  <a:gd name="T13" fmla="*/ 106 h 110"/>
                  <a:gd name="T14" fmla="*/ 53 w 57"/>
                  <a:gd name="T15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" h="110">
                    <a:moveTo>
                      <a:pt x="53" y="110"/>
                    </a:moveTo>
                    <a:cubicBezTo>
                      <a:pt x="0" y="110"/>
                      <a:pt x="0" y="110"/>
                      <a:pt x="0" y="110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3"/>
                      <a:pt x="4" y="0"/>
                      <a:pt x="8" y="0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53" y="0"/>
                      <a:pt x="57" y="3"/>
                      <a:pt x="57" y="7"/>
                    </a:cubicBezTo>
                    <a:cubicBezTo>
                      <a:pt x="57" y="106"/>
                      <a:pt x="57" y="106"/>
                      <a:pt x="57" y="106"/>
                    </a:cubicBezTo>
                    <a:cubicBezTo>
                      <a:pt x="57" y="108"/>
                      <a:pt x="55" y="110"/>
                      <a:pt x="53" y="110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20" name="Freeform 329">
                <a:extLst>
                  <a:ext uri="{FF2B5EF4-FFF2-40B4-BE49-F238E27FC236}">
                    <a16:creationId xmlns:a16="http://schemas.microsoft.com/office/drawing/2014/main" id="{D14DBBCF-8945-4072-B302-C655DF560A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6" y="1312"/>
                <a:ext cx="31" cy="31"/>
              </a:xfrm>
              <a:custGeom>
                <a:avLst/>
                <a:gdLst>
                  <a:gd name="T0" fmla="*/ 9 w 11"/>
                  <a:gd name="T1" fmla="*/ 11 h 11"/>
                  <a:gd name="T2" fmla="*/ 2 w 11"/>
                  <a:gd name="T3" fmla="*/ 11 h 11"/>
                  <a:gd name="T4" fmla="*/ 0 w 11"/>
                  <a:gd name="T5" fmla="*/ 9 h 11"/>
                  <a:gd name="T6" fmla="*/ 0 w 11"/>
                  <a:gd name="T7" fmla="*/ 2 h 11"/>
                  <a:gd name="T8" fmla="*/ 2 w 11"/>
                  <a:gd name="T9" fmla="*/ 0 h 11"/>
                  <a:gd name="T10" fmla="*/ 9 w 11"/>
                  <a:gd name="T11" fmla="*/ 0 h 11"/>
                  <a:gd name="T12" fmla="*/ 11 w 11"/>
                  <a:gd name="T13" fmla="*/ 2 h 11"/>
                  <a:gd name="T14" fmla="*/ 11 w 11"/>
                  <a:gd name="T15" fmla="*/ 9 h 11"/>
                  <a:gd name="T16" fmla="*/ 9 w 11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11">
                    <a:moveTo>
                      <a:pt x="9" y="11"/>
                    </a:moveTo>
                    <a:cubicBezTo>
                      <a:pt x="2" y="11"/>
                      <a:pt x="2" y="11"/>
                      <a:pt x="2" y="11"/>
                    </a:cubicBezTo>
                    <a:cubicBezTo>
                      <a:pt x="1" y="11"/>
                      <a:pt x="0" y="10"/>
                      <a:pt x="0" y="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1" y="1"/>
                      <a:pt x="11" y="2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11" y="10"/>
                      <a:pt x="10" y="11"/>
                      <a:pt x="9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21" name="Freeform 330">
                <a:extLst>
                  <a:ext uri="{FF2B5EF4-FFF2-40B4-BE49-F238E27FC236}">
                    <a16:creationId xmlns:a16="http://schemas.microsoft.com/office/drawing/2014/main" id="{618FA73E-4D8F-4253-B1F9-4521D1E58D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8" y="1312"/>
                <a:ext cx="31" cy="31"/>
              </a:xfrm>
              <a:custGeom>
                <a:avLst/>
                <a:gdLst>
                  <a:gd name="T0" fmla="*/ 9 w 11"/>
                  <a:gd name="T1" fmla="*/ 11 h 11"/>
                  <a:gd name="T2" fmla="*/ 2 w 11"/>
                  <a:gd name="T3" fmla="*/ 11 h 11"/>
                  <a:gd name="T4" fmla="*/ 0 w 11"/>
                  <a:gd name="T5" fmla="*/ 9 h 11"/>
                  <a:gd name="T6" fmla="*/ 0 w 11"/>
                  <a:gd name="T7" fmla="*/ 2 h 11"/>
                  <a:gd name="T8" fmla="*/ 2 w 11"/>
                  <a:gd name="T9" fmla="*/ 0 h 11"/>
                  <a:gd name="T10" fmla="*/ 9 w 11"/>
                  <a:gd name="T11" fmla="*/ 0 h 11"/>
                  <a:gd name="T12" fmla="*/ 11 w 11"/>
                  <a:gd name="T13" fmla="*/ 2 h 11"/>
                  <a:gd name="T14" fmla="*/ 11 w 11"/>
                  <a:gd name="T15" fmla="*/ 9 h 11"/>
                  <a:gd name="T16" fmla="*/ 9 w 11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11">
                    <a:moveTo>
                      <a:pt x="9" y="11"/>
                    </a:moveTo>
                    <a:cubicBezTo>
                      <a:pt x="2" y="11"/>
                      <a:pt x="2" y="11"/>
                      <a:pt x="2" y="11"/>
                    </a:cubicBezTo>
                    <a:cubicBezTo>
                      <a:pt x="1" y="11"/>
                      <a:pt x="0" y="10"/>
                      <a:pt x="0" y="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1" y="1"/>
                      <a:pt x="11" y="2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11" y="10"/>
                      <a:pt x="10" y="11"/>
                      <a:pt x="9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22" name="Freeform 331">
                <a:extLst>
                  <a:ext uri="{FF2B5EF4-FFF2-40B4-BE49-F238E27FC236}">
                    <a16:creationId xmlns:a16="http://schemas.microsoft.com/office/drawing/2014/main" id="{2FA8E9E3-23F0-40D0-8C94-A141B4DDC7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6" y="1374"/>
                <a:ext cx="31" cy="32"/>
              </a:xfrm>
              <a:custGeom>
                <a:avLst/>
                <a:gdLst>
                  <a:gd name="T0" fmla="*/ 9 w 11"/>
                  <a:gd name="T1" fmla="*/ 11 h 11"/>
                  <a:gd name="T2" fmla="*/ 2 w 11"/>
                  <a:gd name="T3" fmla="*/ 11 h 11"/>
                  <a:gd name="T4" fmla="*/ 0 w 11"/>
                  <a:gd name="T5" fmla="*/ 9 h 11"/>
                  <a:gd name="T6" fmla="*/ 0 w 11"/>
                  <a:gd name="T7" fmla="*/ 2 h 11"/>
                  <a:gd name="T8" fmla="*/ 2 w 11"/>
                  <a:gd name="T9" fmla="*/ 0 h 11"/>
                  <a:gd name="T10" fmla="*/ 9 w 11"/>
                  <a:gd name="T11" fmla="*/ 0 h 11"/>
                  <a:gd name="T12" fmla="*/ 11 w 11"/>
                  <a:gd name="T13" fmla="*/ 2 h 11"/>
                  <a:gd name="T14" fmla="*/ 11 w 11"/>
                  <a:gd name="T15" fmla="*/ 9 h 11"/>
                  <a:gd name="T16" fmla="*/ 9 w 11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11">
                    <a:moveTo>
                      <a:pt x="9" y="11"/>
                    </a:moveTo>
                    <a:cubicBezTo>
                      <a:pt x="2" y="11"/>
                      <a:pt x="2" y="11"/>
                      <a:pt x="2" y="11"/>
                    </a:cubicBezTo>
                    <a:cubicBezTo>
                      <a:pt x="1" y="11"/>
                      <a:pt x="0" y="10"/>
                      <a:pt x="0" y="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1" y="1"/>
                      <a:pt x="11" y="2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11" y="10"/>
                      <a:pt x="10" y="11"/>
                      <a:pt x="9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23" name="Freeform 332">
                <a:extLst>
                  <a:ext uri="{FF2B5EF4-FFF2-40B4-BE49-F238E27FC236}">
                    <a16:creationId xmlns:a16="http://schemas.microsoft.com/office/drawing/2014/main" id="{26942093-32B7-4D73-9C71-15D3EED606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8" y="1374"/>
                <a:ext cx="31" cy="32"/>
              </a:xfrm>
              <a:custGeom>
                <a:avLst/>
                <a:gdLst>
                  <a:gd name="T0" fmla="*/ 9 w 11"/>
                  <a:gd name="T1" fmla="*/ 11 h 11"/>
                  <a:gd name="T2" fmla="*/ 2 w 11"/>
                  <a:gd name="T3" fmla="*/ 11 h 11"/>
                  <a:gd name="T4" fmla="*/ 0 w 11"/>
                  <a:gd name="T5" fmla="*/ 9 h 11"/>
                  <a:gd name="T6" fmla="*/ 0 w 11"/>
                  <a:gd name="T7" fmla="*/ 2 h 11"/>
                  <a:gd name="T8" fmla="*/ 2 w 11"/>
                  <a:gd name="T9" fmla="*/ 0 h 11"/>
                  <a:gd name="T10" fmla="*/ 9 w 11"/>
                  <a:gd name="T11" fmla="*/ 0 h 11"/>
                  <a:gd name="T12" fmla="*/ 11 w 11"/>
                  <a:gd name="T13" fmla="*/ 2 h 11"/>
                  <a:gd name="T14" fmla="*/ 11 w 11"/>
                  <a:gd name="T15" fmla="*/ 9 h 11"/>
                  <a:gd name="T16" fmla="*/ 9 w 11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11">
                    <a:moveTo>
                      <a:pt x="9" y="11"/>
                    </a:moveTo>
                    <a:cubicBezTo>
                      <a:pt x="2" y="11"/>
                      <a:pt x="2" y="11"/>
                      <a:pt x="2" y="11"/>
                    </a:cubicBezTo>
                    <a:cubicBezTo>
                      <a:pt x="1" y="11"/>
                      <a:pt x="0" y="10"/>
                      <a:pt x="0" y="9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1" y="1"/>
                      <a:pt x="11" y="2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11" y="10"/>
                      <a:pt x="10" y="11"/>
                      <a:pt x="9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24" name="Freeform 333">
                <a:extLst>
                  <a:ext uri="{FF2B5EF4-FFF2-40B4-BE49-F238E27FC236}">
                    <a16:creationId xmlns:a16="http://schemas.microsoft.com/office/drawing/2014/main" id="{282B9704-F574-4B00-AE83-5ED390513E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8" y="1434"/>
                <a:ext cx="31" cy="31"/>
              </a:xfrm>
              <a:custGeom>
                <a:avLst/>
                <a:gdLst>
                  <a:gd name="T0" fmla="*/ 9 w 11"/>
                  <a:gd name="T1" fmla="*/ 11 h 11"/>
                  <a:gd name="T2" fmla="*/ 2 w 11"/>
                  <a:gd name="T3" fmla="*/ 11 h 11"/>
                  <a:gd name="T4" fmla="*/ 0 w 11"/>
                  <a:gd name="T5" fmla="*/ 10 h 11"/>
                  <a:gd name="T6" fmla="*/ 0 w 11"/>
                  <a:gd name="T7" fmla="*/ 2 h 11"/>
                  <a:gd name="T8" fmla="*/ 2 w 11"/>
                  <a:gd name="T9" fmla="*/ 0 h 11"/>
                  <a:gd name="T10" fmla="*/ 9 w 11"/>
                  <a:gd name="T11" fmla="*/ 0 h 11"/>
                  <a:gd name="T12" fmla="*/ 11 w 11"/>
                  <a:gd name="T13" fmla="*/ 2 h 11"/>
                  <a:gd name="T14" fmla="*/ 11 w 11"/>
                  <a:gd name="T15" fmla="*/ 10 h 11"/>
                  <a:gd name="T16" fmla="*/ 9 w 11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11">
                    <a:moveTo>
                      <a:pt x="9" y="11"/>
                    </a:moveTo>
                    <a:cubicBezTo>
                      <a:pt x="2" y="11"/>
                      <a:pt x="2" y="11"/>
                      <a:pt x="2" y="11"/>
                    </a:cubicBezTo>
                    <a:cubicBezTo>
                      <a:pt x="1" y="11"/>
                      <a:pt x="0" y="11"/>
                      <a:pt x="0" y="1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1" y="1"/>
                      <a:pt x="11" y="2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1" y="11"/>
                      <a:pt x="10" y="11"/>
                      <a:pt x="9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25" name="Rectangle 334">
                <a:extLst>
                  <a:ext uri="{FF2B5EF4-FFF2-40B4-BE49-F238E27FC236}">
                    <a16:creationId xmlns:a16="http://schemas.microsoft.com/office/drawing/2014/main" id="{10CF9E5B-441A-41CF-8D95-A591AC6527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68" y="1411"/>
                <a:ext cx="34" cy="65"/>
              </a:xfrm>
              <a:prstGeom prst="rect">
                <a:avLst/>
              </a:pr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26" name="Freeform 335">
                <a:extLst>
                  <a:ext uri="{FF2B5EF4-FFF2-40B4-BE49-F238E27FC236}">
                    <a16:creationId xmlns:a16="http://schemas.microsoft.com/office/drawing/2014/main" id="{548FA7C2-4922-45C4-8758-1E6689F8CF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4" y="1397"/>
                <a:ext cx="107" cy="193"/>
              </a:xfrm>
              <a:custGeom>
                <a:avLst/>
                <a:gdLst>
                  <a:gd name="T0" fmla="*/ 37 w 38"/>
                  <a:gd name="T1" fmla="*/ 24 h 68"/>
                  <a:gd name="T2" fmla="*/ 4 w 38"/>
                  <a:gd name="T3" fmla="*/ 0 h 68"/>
                  <a:gd name="T4" fmla="*/ 3 w 38"/>
                  <a:gd name="T5" fmla="*/ 0 h 68"/>
                  <a:gd name="T6" fmla="*/ 2 w 38"/>
                  <a:gd name="T7" fmla="*/ 0 h 68"/>
                  <a:gd name="T8" fmla="*/ 2 w 38"/>
                  <a:gd name="T9" fmla="*/ 0 h 68"/>
                  <a:gd name="T10" fmla="*/ 0 w 38"/>
                  <a:gd name="T11" fmla="*/ 1 h 68"/>
                  <a:gd name="T12" fmla="*/ 1 w 38"/>
                  <a:gd name="T13" fmla="*/ 5 h 68"/>
                  <a:gd name="T14" fmla="*/ 2 w 38"/>
                  <a:gd name="T15" fmla="*/ 6 h 68"/>
                  <a:gd name="T16" fmla="*/ 2 w 38"/>
                  <a:gd name="T17" fmla="*/ 19 h 68"/>
                  <a:gd name="T18" fmla="*/ 2 w 38"/>
                  <a:gd name="T19" fmla="*/ 68 h 68"/>
                  <a:gd name="T20" fmla="*/ 11 w 38"/>
                  <a:gd name="T21" fmla="*/ 68 h 68"/>
                  <a:gd name="T22" fmla="*/ 27 w 38"/>
                  <a:gd name="T23" fmla="*/ 68 h 68"/>
                  <a:gd name="T24" fmla="*/ 32 w 38"/>
                  <a:gd name="T25" fmla="*/ 63 h 68"/>
                  <a:gd name="T26" fmla="*/ 32 w 38"/>
                  <a:gd name="T27" fmla="*/ 28 h 68"/>
                  <a:gd name="T28" fmla="*/ 34 w 38"/>
                  <a:gd name="T29" fmla="*/ 29 h 68"/>
                  <a:gd name="T30" fmla="*/ 35 w 38"/>
                  <a:gd name="T31" fmla="*/ 30 h 68"/>
                  <a:gd name="T32" fmla="*/ 38 w 38"/>
                  <a:gd name="T33" fmla="*/ 28 h 68"/>
                  <a:gd name="T34" fmla="*/ 37 w 38"/>
                  <a:gd name="T35" fmla="*/ 2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8" h="68">
                    <a:moveTo>
                      <a:pt x="37" y="24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1" y="1"/>
                      <a:pt x="0" y="1"/>
                    </a:cubicBezTo>
                    <a:cubicBezTo>
                      <a:pt x="0" y="3"/>
                      <a:pt x="0" y="4"/>
                      <a:pt x="1" y="5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19"/>
                      <a:pt x="2" y="19"/>
                      <a:pt x="2" y="19"/>
                    </a:cubicBezTo>
                    <a:cubicBezTo>
                      <a:pt x="2" y="68"/>
                      <a:pt x="2" y="68"/>
                      <a:pt x="2" y="68"/>
                    </a:cubicBezTo>
                    <a:cubicBezTo>
                      <a:pt x="11" y="68"/>
                      <a:pt x="11" y="68"/>
                      <a:pt x="11" y="68"/>
                    </a:cubicBezTo>
                    <a:cubicBezTo>
                      <a:pt x="27" y="68"/>
                      <a:pt x="27" y="68"/>
                      <a:pt x="27" y="68"/>
                    </a:cubicBezTo>
                    <a:cubicBezTo>
                      <a:pt x="30" y="68"/>
                      <a:pt x="32" y="66"/>
                      <a:pt x="32" y="63"/>
                    </a:cubicBezTo>
                    <a:cubicBezTo>
                      <a:pt x="32" y="28"/>
                      <a:pt x="32" y="28"/>
                      <a:pt x="32" y="28"/>
                    </a:cubicBezTo>
                    <a:cubicBezTo>
                      <a:pt x="34" y="29"/>
                      <a:pt x="34" y="29"/>
                      <a:pt x="34" y="29"/>
                    </a:cubicBezTo>
                    <a:cubicBezTo>
                      <a:pt x="34" y="29"/>
                      <a:pt x="35" y="30"/>
                      <a:pt x="35" y="30"/>
                    </a:cubicBezTo>
                    <a:cubicBezTo>
                      <a:pt x="36" y="30"/>
                      <a:pt x="37" y="29"/>
                      <a:pt x="38" y="28"/>
                    </a:cubicBezTo>
                    <a:cubicBezTo>
                      <a:pt x="38" y="27"/>
                      <a:pt x="38" y="25"/>
                      <a:pt x="37" y="24"/>
                    </a:cubicBezTo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27" name="Freeform 336">
                <a:extLst>
                  <a:ext uri="{FF2B5EF4-FFF2-40B4-BE49-F238E27FC236}">
                    <a16:creationId xmlns:a16="http://schemas.microsoft.com/office/drawing/2014/main" id="{1506AF7D-E679-43A4-BAE5-E84AB9FB4C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1" y="1397"/>
                <a:ext cx="101" cy="193"/>
              </a:xfrm>
              <a:custGeom>
                <a:avLst/>
                <a:gdLst>
                  <a:gd name="T0" fmla="*/ 36 w 36"/>
                  <a:gd name="T1" fmla="*/ 49 h 68"/>
                  <a:gd name="T2" fmla="*/ 36 w 36"/>
                  <a:gd name="T3" fmla="*/ 19 h 68"/>
                  <a:gd name="T4" fmla="*/ 36 w 36"/>
                  <a:gd name="T5" fmla="*/ 6 h 68"/>
                  <a:gd name="T6" fmla="*/ 36 w 36"/>
                  <a:gd name="T7" fmla="*/ 0 h 68"/>
                  <a:gd name="T8" fmla="*/ 36 w 36"/>
                  <a:gd name="T9" fmla="*/ 0 h 68"/>
                  <a:gd name="T10" fmla="*/ 34 w 36"/>
                  <a:gd name="T11" fmla="*/ 1 h 68"/>
                  <a:gd name="T12" fmla="*/ 2 w 36"/>
                  <a:gd name="T13" fmla="*/ 24 h 68"/>
                  <a:gd name="T14" fmla="*/ 1 w 36"/>
                  <a:gd name="T15" fmla="*/ 28 h 68"/>
                  <a:gd name="T16" fmla="*/ 3 w 36"/>
                  <a:gd name="T17" fmla="*/ 30 h 68"/>
                  <a:gd name="T18" fmla="*/ 5 w 36"/>
                  <a:gd name="T19" fmla="*/ 29 h 68"/>
                  <a:gd name="T20" fmla="*/ 6 w 36"/>
                  <a:gd name="T21" fmla="*/ 28 h 68"/>
                  <a:gd name="T22" fmla="*/ 6 w 36"/>
                  <a:gd name="T23" fmla="*/ 62 h 68"/>
                  <a:gd name="T24" fmla="*/ 12 w 36"/>
                  <a:gd name="T25" fmla="*/ 68 h 68"/>
                  <a:gd name="T26" fmla="*/ 28 w 36"/>
                  <a:gd name="T27" fmla="*/ 68 h 68"/>
                  <a:gd name="T28" fmla="*/ 36 w 36"/>
                  <a:gd name="T29" fmla="*/ 68 h 68"/>
                  <a:gd name="T30" fmla="*/ 36 w 36"/>
                  <a:gd name="T31" fmla="*/ 4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6" h="68">
                    <a:moveTo>
                      <a:pt x="36" y="49"/>
                    </a:moveTo>
                    <a:cubicBezTo>
                      <a:pt x="36" y="19"/>
                      <a:pt x="36" y="19"/>
                      <a:pt x="36" y="19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5" y="0"/>
                      <a:pt x="35" y="0"/>
                      <a:pt x="34" y="1"/>
                    </a:cubicBezTo>
                    <a:cubicBezTo>
                      <a:pt x="2" y="24"/>
                      <a:pt x="2" y="24"/>
                      <a:pt x="2" y="24"/>
                    </a:cubicBezTo>
                    <a:cubicBezTo>
                      <a:pt x="1" y="25"/>
                      <a:pt x="0" y="27"/>
                      <a:pt x="1" y="28"/>
                    </a:cubicBezTo>
                    <a:cubicBezTo>
                      <a:pt x="1" y="29"/>
                      <a:pt x="2" y="30"/>
                      <a:pt x="3" y="30"/>
                    </a:cubicBezTo>
                    <a:cubicBezTo>
                      <a:pt x="4" y="30"/>
                      <a:pt x="4" y="29"/>
                      <a:pt x="5" y="29"/>
                    </a:cubicBezTo>
                    <a:cubicBezTo>
                      <a:pt x="6" y="28"/>
                      <a:pt x="6" y="28"/>
                      <a:pt x="6" y="28"/>
                    </a:cubicBezTo>
                    <a:cubicBezTo>
                      <a:pt x="6" y="62"/>
                      <a:pt x="6" y="62"/>
                      <a:pt x="6" y="62"/>
                    </a:cubicBezTo>
                    <a:cubicBezTo>
                      <a:pt x="6" y="65"/>
                      <a:pt x="9" y="68"/>
                      <a:pt x="12" y="68"/>
                    </a:cubicBezTo>
                    <a:cubicBezTo>
                      <a:pt x="28" y="68"/>
                      <a:pt x="28" y="68"/>
                      <a:pt x="28" y="68"/>
                    </a:cubicBezTo>
                    <a:cubicBezTo>
                      <a:pt x="36" y="68"/>
                      <a:pt x="36" y="68"/>
                      <a:pt x="36" y="68"/>
                    </a:cubicBezTo>
                    <a:lnTo>
                      <a:pt x="36" y="49"/>
                    </a:ln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28" name="Freeform 337">
                <a:extLst>
                  <a:ext uri="{FF2B5EF4-FFF2-40B4-BE49-F238E27FC236}">
                    <a16:creationId xmlns:a16="http://schemas.microsoft.com/office/drawing/2014/main" id="{4F34AC72-FCF5-480D-9E4A-29301A8168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7" y="1448"/>
                <a:ext cx="23" cy="23"/>
              </a:xfrm>
              <a:custGeom>
                <a:avLst/>
                <a:gdLst>
                  <a:gd name="T0" fmla="*/ 6 w 8"/>
                  <a:gd name="T1" fmla="*/ 8 h 8"/>
                  <a:gd name="T2" fmla="*/ 1 w 8"/>
                  <a:gd name="T3" fmla="*/ 8 h 8"/>
                  <a:gd name="T4" fmla="*/ 0 w 8"/>
                  <a:gd name="T5" fmla="*/ 6 h 8"/>
                  <a:gd name="T6" fmla="*/ 0 w 8"/>
                  <a:gd name="T7" fmla="*/ 1 h 8"/>
                  <a:gd name="T8" fmla="*/ 1 w 8"/>
                  <a:gd name="T9" fmla="*/ 0 h 8"/>
                  <a:gd name="T10" fmla="*/ 6 w 8"/>
                  <a:gd name="T11" fmla="*/ 0 h 8"/>
                  <a:gd name="T12" fmla="*/ 8 w 8"/>
                  <a:gd name="T13" fmla="*/ 1 h 8"/>
                  <a:gd name="T14" fmla="*/ 8 w 8"/>
                  <a:gd name="T15" fmla="*/ 6 h 8"/>
                  <a:gd name="T16" fmla="*/ 6 w 8"/>
                  <a:gd name="T1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8">
                    <a:moveTo>
                      <a:pt x="6" y="8"/>
                    </a:moveTo>
                    <a:cubicBezTo>
                      <a:pt x="1" y="8"/>
                      <a:pt x="1" y="8"/>
                      <a:pt x="1" y="8"/>
                    </a:cubicBezTo>
                    <a:cubicBezTo>
                      <a:pt x="1" y="8"/>
                      <a:pt x="0" y="7"/>
                      <a:pt x="0" y="6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1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7"/>
                      <a:pt x="7" y="8"/>
                      <a:pt x="6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29" name="Freeform 338">
                <a:extLst>
                  <a:ext uri="{FF2B5EF4-FFF2-40B4-BE49-F238E27FC236}">
                    <a16:creationId xmlns:a16="http://schemas.microsoft.com/office/drawing/2014/main" id="{109F9F91-935F-470E-9CB6-7500FCBDBD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5" y="1448"/>
                <a:ext cx="23" cy="23"/>
              </a:xfrm>
              <a:custGeom>
                <a:avLst/>
                <a:gdLst>
                  <a:gd name="T0" fmla="*/ 6 w 8"/>
                  <a:gd name="T1" fmla="*/ 8 h 8"/>
                  <a:gd name="T2" fmla="*/ 1 w 8"/>
                  <a:gd name="T3" fmla="*/ 8 h 8"/>
                  <a:gd name="T4" fmla="*/ 0 w 8"/>
                  <a:gd name="T5" fmla="*/ 6 h 8"/>
                  <a:gd name="T6" fmla="*/ 0 w 8"/>
                  <a:gd name="T7" fmla="*/ 1 h 8"/>
                  <a:gd name="T8" fmla="*/ 1 w 8"/>
                  <a:gd name="T9" fmla="*/ 0 h 8"/>
                  <a:gd name="T10" fmla="*/ 6 w 8"/>
                  <a:gd name="T11" fmla="*/ 0 h 8"/>
                  <a:gd name="T12" fmla="*/ 8 w 8"/>
                  <a:gd name="T13" fmla="*/ 1 h 8"/>
                  <a:gd name="T14" fmla="*/ 8 w 8"/>
                  <a:gd name="T15" fmla="*/ 6 h 8"/>
                  <a:gd name="T16" fmla="*/ 6 w 8"/>
                  <a:gd name="T1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8">
                    <a:moveTo>
                      <a:pt x="6" y="8"/>
                    </a:moveTo>
                    <a:cubicBezTo>
                      <a:pt x="1" y="8"/>
                      <a:pt x="1" y="8"/>
                      <a:pt x="1" y="8"/>
                    </a:cubicBezTo>
                    <a:cubicBezTo>
                      <a:pt x="1" y="8"/>
                      <a:pt x="0" y="7"/>
                      <a:pt x="0" y="6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0"/>
                      <a:pt x="1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1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7"/>
                      <a:pt x="7" y="8"/>
                      <a:pt x="6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30" name="Freeform 339">
                <a:extLst>
                  <a:ext uri="{FF2B5EF4-FFF2-40B4-BE49-F238E27FC236}">
                    <a16:creationId xmlns:a16="http://schemas.microsoft.com/office/drawing/2014/main" id="{17D61F62-65EA-4738-9D79-9A36A0BCF4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7" y="1476"/>
                <a:ext cx="23" cy="20"/>
              </a:xfrm>
              <a:custGeom>
                <a:avLst/>
                <a:gdLst>
                  <a:gd name="T0" fmla="*/ 6 w 8"/>
                  <a:gd name="T1" fmla="*/ 7 h 7"/>
                  <a:gd name="T2" fmla="*/ 1 w 8"/>
                  <a:gd name="T3" fmla="*/ 7 h 7"/>
                  <a:gd name="T4" fmla="*/ 0 w 8"/>
                  <a:gd name="T5" fmla="*/ 6 h 7"/>
                  <a:gd name="T6" fmla="*/ 0 w 8"/>
                  <a:gd name="T7" fmla="*/ 1 h 7"/>
                  <a:gd name="T8" fmla="*/ 1 w 8"/>
                  <a:gd name="T9" fmla="*/ 0 h 7"/>
                  <a:gd name="T10" fmla="*/ 6 w 8"/>
                  <a:gd name="T11" fmla="*/ 0 h 7"/>
                  <a:gd name="T12" fmla="*/ 8 w 8"/>
                  <a:gd name="T13" fmla="*/ 1 h 7"/>
                  <a:gd name="T14" fmla="*/ 8 w 8"/>
                  <a:gd name="T15" fmla="*/ 6 h 7"/>
                  <a:gd name="T16" fmla="*/ 6 w 8"/>
                  <a:gd name="T17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7">
                    <a:moveTo>
                      <a:pt x="6" y="7"/>
                    </a:move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0" y="7"/>
                      <a:pt x="0" y="6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0"/>
                      <a:pt x="8" y="1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7"/>
                      <a:pt x="7" y="7"/>
                      <a:pt x="6" y="7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31" name="Freeform 340">
                <a:extLst>
                  <a:ext uri="{FF2B5EF4-FFF2-40B4-BE49-F238E27FC236}">
                    <a16:creationId xmlns:a16="http://schemas.microsoft.com/office/drawing/2014/main" id="{782B5993-D7E7-4D73-BD44-4CE3FD21F9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5" y="1476"/>
                <a:ext cx="23" cy="20"/>
              </a:xfrm>
              <a:custGeom>
                <a:avLst/>
                <a:gdLst>
                  <a:gd name="T0" fmla="*/ 6 w 8"/>
                  <a:gd name="T1" fmla="*/ 7 h 7"/>
                  <a:gd name="T2" fmla="*/ 1 w 8"/>
                  <a:gd name="T3" fmla="*/ 7 h 7"/>
                  <a:gd name="T4" fmla="*/ 0 w 8"/>
                  <a:gd name="T5" fmla="*/ 6 h 7"/>
                  <a:gd name="T6" fmla="*/ 0 w 8"/>
                  <a:gd name="T7" fmla="*/ 1 h 7"/>
                  <a:gd name="T8" fmla="*/ 1 w 8"/>
                  <a:gd name="T9" fmla="*/ 0 h 7"/>
                  <a:gd name="T10" fmla="*/ 6 w 8"/>
                  <a:gd name="T11" fmla="*/ 0 h 7"/>
                  <a:gd name="T12" fmla="*/ 8 w 8"/>
                  <a:gd name="T13" fmla="*/ 1 h 7"/>
                  <a:gd name="T14" fmla="*/ 8 w 8"/>
                  <a:gd name="T15" fmla="*/ 6 h 7"/>
                  <a:gd name="T16" fmla="*/ 6 w 8"/>
                  <a:gd name="T17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7">
                    <a:moveTo>
                      <a:pt x="6" y="7"/>
                    </a:move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0" y="7"/>
                      <a:pt x="0" y="6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0"/>
                      <a:pt x="8" y="1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7"/>
                      <a:pt x="7" y="7"/>
                      <a:pt x="6" y="7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32" name="Freeform 341">
                <a:extLst>
                  <a:ext uri="{FF2B5EF4-FFF2-40B4-BE49-F238E27FC236}">
                    <a16:creationId xmlns:a16="http://schemas.microsoft.com/office/drawing/2014/main" id="{C51FC719-A35C-41B0-9105-CADD3DEB38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0" y="1513"/>
                <a:ext cx="12" cy="77"/>
              </a:xfrm>
              <a:custGeom>
                <a:avLst/>
                <a:gdLst>
                  <a:gd name="T0" fmla="*/ 2 w 4"/>
                  <a:gd name="T1" fmla="*/ 27 h 27"/>
                  <a:gd name="T2" fmla="*/ 0 w 4"/>
                  <a:gd name="T3" fmla="*/ 25 h 27"/>
                  <a:gd name="T4" fmla="*/ 0 w 4"/>
                  <a:gd name="T5" fmla="*/ 2 h 27"/>
                  <a:gd name="T6" fmla="*/ 2 w 4"/>
                  <a:gd name="T7" fmla="*/ 0 h 27"/>
                  <a:gd name="T8" fmla="*/ 4 w 4"/>
                  <a:gd name="T9" fmla="*/ 2 h 27"/>
                  <a:gd name="T10" fmla="*/ 4 w 4"/>
                  <a:gd name="T11" fmla="*/ 25 h 27"/>
                  <a:gd name="T12" fmla="*/ 2 w 4"/>
                  <a:gd name="T13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7">
                    <a:moveTo>
                      <a:pt x="2" y="27"/>
                    </a:moveTo>
                    <a:cubicBezTo>
                      <a:pt x="1" y="27"/>
                      <a:pt x="0" y="26"/>
                      <a:pt x="0" y="2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0"/>
                      <a:pt x="1" y="0"/>
                      <a:pt x="2" y="0"/>
                    </a:cubicBezTo>
                    <a:cubicBezTo>
                      <a:pt x="3" y="0"/>
                      <a:pt x="4" y="0"/>
                      <a:pt x="4" y="2"/>
                    </a:cubicBezTo>
                    <a:cubicBezTo>
                      <a:pt x="4" y="25"/>
                      <a:pt x="4" y="25"/>
                      <a:pt x="4" y="25"/>
                    </a:cubicBezTo>
                    <a:cubicBezTo>
                      <a:pt x="4" y="26"/>
                      <a:pt x="3" y="27"/>
                      <a:pt x="2" y="27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33" name="Oval 342">
                <a:extLst>
                  <a:ext uri="{FF2B5EF4-FFF2-40B4-BE49-F238E27FC236}">
                    <a16:creationId xmlns:a16="http://schemas.microsoft.com/office/drawing/2014/main" id="{FDE8D6B8-A76D-4063-BF19-74FC8F18CA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98" y="1459"/>
                <a:ext cx="65" cy="66"/>
              </a:xfrm>
              <a:prstGeom prst="ellipse">
                <a:avLst/>
              </a:pr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34" name="Oval 343">
                <a:extLst>
                  <a:ext uri="{FF2B5EF4-FFF2-40B4-BE49-F238E27FC236}">
                    <a16:creationId xmlns:a16="http://schemas.microsoft.com/office/drawing/2014/main" id="{427CC3D1-C04C-4DB3-8524-0224E7D53D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40" y="1479"/>
                <a:ext cx="54" cy="51"/>
              </a:xfrm>
              <a:prstGeom prst="ellipse">
                <a:avLst/>
              </a:pr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35" name="Oval 344">
                <a:extLst>
                  <a:ext uri="{FF2B5EF4-FFF2-40B4-BE49-F238E27FC236}">
                    <a16:creationId xmlns:a16="http://schemas.microsoft.com/office/drawing/2014/main" id="{89D34BE9-F3C2-452C-A5E5-084F20C127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21" y="1476"/>
                <a:ext cx="53" cy="71"/>
              </a:xfrm>
              <a:prstGeom prst="ellipse">
                <a:avLst/>
              </a:pr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36" name="Oval 345">
                <a:extLst>
                  <a:ext uri="{FF2B5EF4-FFF2-40B4-BE49-F238E27FC236}">
                    <a16:creationId xmlns:a16="http://schemas.microsoft.com/office/drawing/2014/main" id="{2DCB35A4-833C-4D11-B488-3DC0FD7A23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46" y="1442"/>
                <a:ext cx="37" cy="51"/>
              </a:xfrm>
              <a:prstGeom prst="ellipse">
                <a:avLst/>
              </a:pr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37" name="Oval 346">
                <a:extLst>
                  <a:ext uri="{FF2B5EF4-FFF2-40B4-BE49-F238E27FC236}">
                    <a16:creationId xmlns:a16="http://schemas.microsoft.com/office/drawing/2014/main" id="{69ABD3D9-739C-4031-A8BB-BBB237FE2E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24" y="1417"/>
                <a:ext cx="39" cy="71"/>
              </a:xfrm>
              <a:prstGeom prst="ellipse">
                <a:avLst/>
              </a:pr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97" name="Groupe 496">
            <a:extLst>
              <a:ext uri="{FF2B5EF4-FFF2-40B4-BE49-F238E27FC236}">
                <a16:creationId xmlns:a16="http://schemas.microsoft.com/office/drawing/2014/main" id="{5C50BA99-C5D4-4A47-A03C-A346352992A5}"/>
              </a:ext>
            </a:extLst>
          </p:cNvPr>
          <p:cNvGrpSpPr/>
          <p:nvPr/>
        </p:nvGrpSpPr>
        <p:grpSpPr>
          <a:xfrm>
            <a:off x="2584081" y="1960229"/>
            <a:ext cx="865004" cy="865444"/>
            <a:chOff x="1939900" y="1988559"/>
            <a:chExt cx="648743" cy="649073"/>
          </a:xfrm>
        </p:grpSpPr>
        <p:sp>
          <p:nvSpPr>
            <p:cNvPr id="508" name="Oval 5">
              <a:extLst>
                <a:ext uri="{FF2B5EF4-FFF2-40B4-BE49-F238E27FC236}">
                  <a16:creationId xmlns:a16="http://schemas.microsoft.com/office/drawing/2014/main" id="{891EB3DA-6B64-4579-ADA7-7B9BF5FDB9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9900" y="1988559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509" name="Group 349">
              <a:extLst>
                <a:ext uri="{FF2B5EF4-FFF2-40B4-BE49-F238E27FC236}">
                  <a16:creationId xmlns:a16="http://schemas.microsoft.com/office/drawing/2014/main" id="{175EA547-4A9F-4406-8733-5A7BD2A3BEE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043786" y="2159794"/>
              <a:ext cx="440970" cy="306602"/>
              <a:chOff x="1227" y="1329"/>
              <a:chExt cx="361" cy="251"/>
            </a:xfrm>
          </p:grpSpPr>
          <p:sp>
            <p:nvSpPr>
              <p:cNvPr id="510" name="Freeform 350">
                <a:extLst>
                  <a:ext uri="{FF2B5EF4-FFF2-40B4-BE49-F238E27FC236}">
                    <a16:creationId xmlns:a16="http://schemas.microsoft.com/office/drawing/2014/main" id="{9C113E62-3091-47C3-9AA4-B1CAA0ED20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0" y="1380"/>
                <a:ext cx="234" cy="117"/>
              </a:xfrm>
              <a:custGeom>
                <a:avLst/>
                <a:gdLst>
                  <a:gd name="T0" fmla="*/ 40 w 83"/>
                  <a:gd name="T1" fmla="*/ 41 h 41"/>
                  <a:gd name="T2" fmla="*/ 45 w 83"/>
                  <a:gd name="T3" fmla="*/ 40 h 41"/>
                  <a:gd name="T4" fmla="*/ 73 w 83"/>
                  <a:gd name="T5" fmla="*/ 25 h 41"/>
                  <a:gd name="T6" fmla="*/ 83 w 83"/>
                  <a:gd name="T7" fmla="*/ 1 h 41"/>
                  <a:gd name="T8" fmla="*/ 60 w 83"/>
                  <a:gd name="T9" fmla="*/ 4 h 41"/>
                  <a:gd name="T10" fmla="*/ 49 w 83"/>
                  <a:gd name="T11" fmla="*/ 20 h 41"/>
                  <a:gd name="T12" fmla="*/ 41 w 83"/>
                  <a:gd name="T13" fmla="*/ 20 h 41"/>
                  <a:gd name="T14" fmla="*/ 27 w 83"/>
                  <a:gd name="T15" fmla="*/ 11 h 41"/>
                  <a:gd name="T16" fmla="*/ 25 w 83"/>
                  <a:gd name="T17" fmla="*/ 10 h 41"/>
                  <a:gd name="T18" fmla="*/ 3 w 83"/>
                  <a:gd name="T19" fmla="*/ 10 h 41"/>
                  <a:gd name="T20" fmla="*/ 0 w 83"/>
                  <a:gd name="T21" fmla="*/ 12 h 41"/>
                  <a:gd name="T22" fmla="*/ 1 w 83"/>
                  <a:gd name="T23" fmla="*/ 16 h 41"/>
                  <a:gd name="T24" fmla="*/ 9 w 83"/>
                  <a:gd name="T25" fmla="*/ 22 h 41"/>
                  <a:gd name="T26" fmla="*/ 4 w 83"/>
                  <a:gd name="T27" fmla="*/ 24 h 41"/>
                  <a:gd name="T28" fmla="*/ 2 w 83"/>
                  <a:gd name="T29" fmla="*/ 28 h 41"/>
                  <a:gd name="T30" fmla="*/ 6 w 83"/>
                  <a:gd name="T31" fmla="*/ 29 h 41"/>
                  <a:gd name="T32" fmla="*/ 15 w 83"/>
                  <a:gd name="T33" fmla="*/ 27 h 41"/>
                  <a:gd name="T34" fmla="*/ 18 w 83"/>
                  <a:gd name="T35" fmla="*/ 27 h 41"/>
                  <a:gd name="T36" fmla="*/ 40 w 83"/>
                  <a:gd name="T37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3" h="41">
                    <a:moveTo>
                      <a:pt x="40" y="41"/>
                    </a:moveTo>
                    <a:cubicBezTo>
                      <a:pt x="41" y="41"/>
                      <a:pt x="43" y="41"/>
                      <a:pt x="45" y="40"/>
                    </a:cubicBezTo>
                    <a:cubicBezTo>
                      <a:pt x="54" y="37"/>
                      <a:pt x="65" y="33"/>
                      <a:pt x="73" y="25"/>
                    </a:cubicBezTo>
                    <a:cubicBezTo>
                      <a:pt x="81" y="17"/>
                      <a:pt x="83" y="10"/>
                      <a:pt x="83" y="1"/>
                    </a:cubicBezTo>
                    <a:cubicBezTo>
                      <a:pt x="77" y="0"/>
                      <a:pt x="66" y="0"/>
                      <a:pt x="60" y="4"/>
                    </a:cubicBezTo>
                    <a:cubicBezTo>
                      <a:pt x="54" y="8"/>
                      <a:pt x="51" y="16"/>
                      <a:pt x="49" y="20"/>
                    </a:cubicBezTo>
                    <a:cubicBezTo>
                      <a:pt x="41" y="20"/>
                      <a:pt x="41" y="20"/>
                      <a:pt x="41" y="20"/>
                    </a:cubicBezTo>
                    <a:cubicBezTo>
                      <a:pt x="27" y="11"/>
                      <a:pt x="27" y="11"/>
                      <a:pt x="27" y="11"/>
                    </a:cubicBezTo>
                    <a:cubicBezTo>
                      <a:pt x="26" y="10"/>
                      <a:pt x="26" y="10"/>
                      <a:pt x="25" y="10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1" y="10"/>
                      <a:pt x="0" y="11"/>
                      <a:pt x="0" y="12"/>
                    </a:cubicBezTo>
                    <a:cubicBezTo>
                      <a:pt x="0" y="13"/>
                      <a:pt x="0" y="15"/>
                      <a:pt x="1" y="16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7" y="22"/>
                      <a:pt x="6" y="23"/>
                      <a:pt x="4" y="24"/>
                    </a:cubicBezTo>
                    <a:cubicBezTo>
                      <a:pt x="2" y="24"/>
                      <a:pt x="2" y="26"/>
                      <a:pt x="2" y="28"/>
                    </a:cubicBezTo>
                    <a:cubicBezTo>
                      <a:pt x="3" y="29"/>
                      <a:pt x="5" y="30"/>
                      <a:pt x="6" y="29"/>
                    </a:cubicBezTo>
                    <a:cubicBezTo>
                      <a:pt x="9" y="28"/>
                      <a:pt x="12" y="27"/>
                      <a:pt x="15" y="27"/>
                    </a:cubicBezTo>
                    <a:cubicBezTo>
                      <a:pt x="16" y="27"/>
                      <a:pt x="17" y="27"/>
                      <a:pt x="18" y="27"/>
                    </a:cubicBezTo>
                    <a:cubicBezTo>
                      <a:pt x="28" y="27"/>
                      <a:pt x="36" y="33"/>
                      <a:pt x="40" y="41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11" name="Oval 351">
                <a:extLst>
                  <a:ext uri="{FF2B5EF4-FFF2-40B4-BE49-F238E27FC236}">
                    <a16:creationId xmlns:a16="http://schemas.microsoft.com/office/drawing/2014/main" id="{912BCC87-D171-494D-9D1F-D87D9C817C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6" y="1480"/>
                <a:ext cx="90" cy="9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12" name="Freeform 352">
                <a:extLst>
                  <a:ext uri="{FF2B5EF4-FFF2-40B4-BE49-F238E27FC236}">
                    <a16:creationId xmlns:a16="http://schemas.microsoft.com/office/drawing/2014/main" id="{476B965D-41AB-4BCD-BBCB-900125F41D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7" y="1472"/>
                <a:ext cx="107" cy="108"/>
              </a:xfrm>
              <a:custGeom>
                <a:avLst/>
                <a:gdLst>
                  <a:gd name="T0" fmla="*/ 19 w 38"/>
                  <a:gd name="T1" fmla="*/ 6 h 38"/>
                  <a:gd name="T2" fmla="*/ 32 w 38"/>
                  <a:gd name="T3" fmla="*/ 19 h 38"/>
                  <a:gd name="T4" fmla="*/ 19 w 38"/>
                  <a:gd name="T5" fmla="*/ 32 h 38"/>
                  <a:gd name="T6" fmla="*/ 6 w 38"/>
                  <a:gd name="T7" fmla="*/ 19 h 38"/>
                  <a:gd name="T8" fmla="*/ 19 w 38"/>
                  <a:gd name="T9" fmla="*/ 6 h 38"/>
                  <a:gd name="T10" fmla="*/ 19 w 38"/>
                  <a:gd name="T11" fmla="*/ 0 h 38"/>
                  <a:gd name="T12" fmla="*/ 0 w 38"/>
                  <a:gd name="T13" fmla="*/ 19 h 38"/>
                  <a:gd name="T14" fmla="*/ 19 w 38"/>
                  <a:gd name="T15" fmla="*/ 38 h 38"/>
                  <a:gd name="T16" fmla="*/ 38 w 38"/>
                  <a:gd name="T17" fmla="*/ 19 h 38"/>
                  <a:gd name="T18" fmla="*/ 19 w 38"/>
                  <a:gd name="T1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38">
                    <a:moveTo>
                      <a:pt x="19" y="6"/>
                    </a:moveTo>
                    <a:cubicBezTo>
                      <a:pt x="26" y="6"/>
                      <a:pt x="32" y="11"/>
                      <a:pt x="32" y="19"/>
                    </a:cubicBezTo>
                    <a:cubicBezTo>
                      <a:pt x="32" y="26"/>
                      <a:pt x="26" y="32"/>
                      <a:pt x="19" y="32"/>
                    </a:cubicBezTo>
                    <a:cubicBezTo>
                      <a:pt x="12" y="32"/>
                      <a:pt x="6" y="26"/>
                      <a:pt x="6" y="19"/>
                    </a:cubicBezTo>
                    <a:cubicBezTo>
                      <a:pt x="6" y="11"/>
                      <a:pt x="12" y="6"/>
                      <a:pt x="19" y="6"/>
                    </a:cubicBezTo>
                    <a:moveTo>
                      <a:pt x="19" y="0"/>
                    </a:moveTo>
                    <a:cubicBezTo>
                      <a:pt x="9" y="0"/>
                      <a:pt x="0" y="8"/>
                      <a:pt x="0" y="19"/>
                    </a:cubicBezTo>
                    <a:cubicBezTo>
                      <a:pt x="0" y="29"/>
                      <a:pt x="9" y="38"/>
                      <a:pt x="19" y="38"/>
                    </a:cubicBezTo>
                    <a:cubicBezTo>
                      <a:pt x="29" y="38"/>
                      <a:pt x="38" y="29"/>
                      <a:pt x="38" y="19"/>
                    </a:cubicBezTo>
                    <a:cubicBezTo>
                      <a:pt x="38" y="8"/>
                      <a:pt x="29" y="0"/>
                      <a:pt x="19" y="0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13" name="Oval 353">
                <a:extLst>
                  <a:ext uri="{FF2B5EF4-FFF2-40B4-BE49-F238E27FC236}">
                    <a16:creationId xmlns:a16="http://schemas.microsoft.com/office/drawing/2014/main" id="{678C4358-E0E3-4004-953B-08A069F172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9" y="1480"/>
                <a:ext cx="90" cy="91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14" name="Freeform 354">
                <a:extLst>
                  <a:ext uri="{FF2B5EF4-FFF2-40B4-BE49-F238E27FC236}">
                    <a16:creationId xmlns:a16="http://schemas.microsoft.com/office/drawing/2014/main" id="{2757D6F2-186B-4FBB-B74A-72FDEDB49D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81" y="1472"/>
                <a:ext cx="107" cy="108"/>
              </a:xfrm>
              <a:custGeom>
                <a:avLst/>
                <a:gdLst>
                  <a:gd name="T0" fmla="*/ 19 w 38"/>
                  <a:gd name="T1" fmla="*/ 6 h 38"/>
                  <a:gd name="T2" fmla="*/ 32 w 38"/>
                  <a:gd name="T3" fmla="*/ 19 h 38"/>
                  <a:gd name="T4" fmla="*/ 19 w 38"/>
                  <a:gd name="T5" fmla="*/ 32 h 38"/>
                  <a:gd name="T6" fmla="*/ 6 w 38"/>
                  <a:gd name="T7" fmla="*/ 19 h 38"/>
                  <a:gd name="T8" fmla="*/ 19 w 38"/>
                  <a:gd name="T9" fmla="*/ 6 h 38"/>
                  <a:gd name="T10" fmla="*/ 19 w 38"/>
                  <a:gd name="T11" fmla="*/ 0 h 38"/>
                  <a:gd name="T12" fmla="*/ 0 w 38"/>
                  <a:gd name="T13" fmla="*/ 19 h 38"/>
                  <a:gd name="T14" fmla="*/ 19 w 38"/>
                  <a:gd name="T15" fmla="*/ 38 h 38"/>
                  <a:gd name="T16" fmla="*/ 38 w 38"/>
                  <a:gd name="T17" fmla="*/ 19 h 38"/>
                  <a:gd name="T18" fmla="*/ 19 w 38"/>
                  <a:gd name="T1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38">
                    <a:moveTo>
                      <a:pt x="19" y="6"/>
                    </a:moveTo>
                    <a:cubicBezTo>
                      <a:pt x="26" y="6"/>
                      <a:pt x="32" y="11"/>
                      <a:pt x="32" y="19"/>
                    </a:cubicBezTo>
                    <a:cubicBezTo>
                      <a:pt x="32" y="26"/>
                      <a:pt x="26" y="32"/>
                      <a:pt x="19" y="32"/>
                    </a:cubicBezTo>
                    <a:cubicBezTo>
                      <a:pt x="12" y="32"/>
                      <a:pt x="6" y="26"/>
                      <a:pt x="6" y="19"/>
                    </a:cubicBezTo>
                    <a:cubicBezTo>
                      <a:pt x="6" y="11"/>
                      <a:pt x="12" y="6"/>
                      <a:pt x="19" y="6"/>
                    </a:cubicBezTo>
                    <a:moveTo>
                      <a:pt x="19" y="0"/>
                    </a:moveTo>
                    <a:cubicBezTo>
                      <a:pt x="9" y="0"/>
                      <a:pt x="0" y="8"/>
                      <a:pt x="0" y="19"/>
                    </a:cubicBezTo>
                    <a:cubicBezTo>
                      <a:pt x="0" y="29"/>
                      <a:pt x="9" y="38"/>
                      <a:pt x="19" y="38"/>
                    </a:cubicBezTo>
                    <a:cubicBezTo>
                      <a:pt x="29" y="38"/>
                      <a:pt x="38" y="29"/>
                      <a:pt x="38" y="19"/>
                    </a:cubicBezTo>
                    <a:cubicBezTo>
                      <a:pt x="38" y="8"/>
                      <a:pt x="29" y="0"/>
                      <a:pt x="19" y="0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15" name="Freeform 355">
                <a:extLst>
                  <a:ext uri="{FF2B5EF4-FFF2-40B4-BE49-F238E27FC236}">
                    <a16:creationId xmlns:a16="http://schemas.microsoft.com/office/drawing/2014/main" id="{F2CA1897-41D2-44A8-AB9D-27D5122E50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3" y="1329"/>
                <a:ext cx="236" cy="228"/>
              </a:xfrm>
              <a:custGeom>
                <a:avLst/>
                <a:gdLst>
                  <a:gd name="T0" fmla="*/ 82 w 84"/>
                  <a:gd name="T1" fmla="*/ 42 h 80"/>
                  <a:gd name="T2" fmla="*/ 72 w 84"/>
                  <a:gd name="T3" fmla="*/ 39 h 80"/>
                  <a:gd name="T4" fmla="*/ 77 w 84"/>
                  <a:gd name="T5" fmla="*/ 26 h 80"/>
                  <a:gd name="T6" fmla="*/ 77 w 84"/>
                  <a:gd name="T7" fmla="*/ 22 h 80"/>
                  <a:gd name="T8" fmla="*/ 73 w 84"/>
                  <a:gd name="T9" fmla="*/ 13 h 80"/>
                  <a:gd name="T10" fmla="*/ 73 w 84"/>
                  <a:gd name="T11" fmla="*/ 13 h 80"/>
                  <a:gd name="T12" fmla="*/ 70 w 84"/>
                  <a:gd name="T13" fmla="*/ 10 h 80"/>
                  <a:gd name="T14" fmla="*/ 45 w 84"/>
                  <a:gd name="T15" fmla="*/ 0 h 80"/>
                  <a:gd name="T16" fmla="*/ 43 w 84"/>
                  <a:gd name="T17" fmla="*/ 1 h 80"/>
                  <a:gd name="T18" fmla="*/ 42 w 84"/>
                  <a:gd name="T19" fmla="*/ 3 h 80"/>
                  <a:gd name="T20" fmla="*/ 42 w 84"/>
                  <a:gd name="T21" fmla="*/ 14 h 80"/>
                  <a:gd name="T22" fmla="*/ 43 w 84"/>
                  <a:gd name="T23" fmla="*/ 19 h 80"/>
                  <a:gd name="T24" fmla="*/ 33 w 84"/>
                  <a:gd name="T25" fmla="*/ 43 h 80"/>
                  <a:gd name="T26" fmla="*/ 5 w 84"/>
                  <a:gd name="T27" fmla="*/ 58 h 80"/>
                  <a:gd name="T28" fmla="*/ 0 w 84"/>
                  <a:gd name="T29" fmla="*/ 59 h 80"/>
                  <a:gd name="T30" fmla="*/ 1 w 84"/>
                  <a:gd name="T31" fmla="*/ 64 h 80"/>
                  <a:gd name="T32" fmla="*/ 2 w 84"/>
                  <a:gd name="T33" fmla="*/ 69 h 80"/>
                  <a:gd name="T34" fmla="*/ 2 w 84"/>
                  <a:gd name="T35" fmla="*/ 70 h 80"/>
                  <a:gd name="T36" fmla="*/ 2 w 84"/>
                  <a:gd name="T37" fmla="*/ 73 h 80"/>
                  <a:gd name="T38" fmla="*/ 9 w 84"/>
                  <a:gd name="T39" fmla="*/ 80 h 80"/>
                  <a:gd name="T40" fmla="*/ 21 w 84"/>
                  <a:gd name="T41" fmla="*/ 80 h 80"/>
                  <a:gd name="T42" fmla="*/ 46 w 84"/>
                  <a:gd name="T43" fmla="*/ 62 h 80"/>
                  <a:gd name="T44" fmla="*/ 46 w 84"/>
                  <a:gd name="T45" fmla="*/ 61 h 80"/>
                  <a:gd name="T46" fmla="*/ 63 w 84"/>
                  <a:gd name="T47" fmla="*/ 46 h 80"/>
                  <a:gd name="T48" fmla="*/ 79 w 84"/>
                  <a:gd name="T49" fmla="*/ 47 h 80"/>
                  <a:gd name="T50" fmla="*/ 81 w 84"/>
                  <a:gd name="T51" fmla="*/ 47 h 80"/>
                  <a:gd name="T52" fmla="*/ 83 w 84"/>
                  <a:gd name="T53" fmla="*/ 46 h 80"/>
                  <a:gd name="T54" fmla="*/ 82 w 84"/>
                  <a:gd name="T55" fmla="*/ 42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4" h="80">
                    <a:moveTo>
                      <a:pt x="82" y="42"/>
                    </a:moveTo>
                    <a:cubicBezTo>
                      <a:pt x="79" y="40"/>
                      <a:pt x="76" y="40"/>
                      <a:pt x="72" y="39"/>
                    </a:cubicBezTo>
                    <a:cubicBezTo>
                      <a:pt x="75" y="36"/>
                      <a:pt x="77" y="31"/>
                      <a:pt x="77" y="26"/>
                    </a:cubicBezTo>
                    <a:cubicBezTo>
                      <a:pt x="77" y="25"/>
                      <a:pt x="77" y="23"/>
                      <a:pt x="77" y="22"/>
                    </a:cubicBezTo>
                    <a:cubicBezTo>
                      <a:pt x="76" y="18"/>
                      <a:pt x="75" y="16"/>
                      <a:pt x="73" y="13"/>
                    </a:cubicBezTo>
                    <a:cubicBezTo>
                      <a:pt x="73" y="13"/>
                      <a:pt x="73" y="13"/>
                      <a:pt x="73" y="13"/>
                    </a:cubicBezTo>
                    <a:cubicBezTo>
                      <a:pt x="72" y="12"/>
                      <a:pt x="71" y="11"/>
                      <a:pt x="70" y="10"/>
                    </a:cubicBezTo>
                    <a:cubicBezTo>
                      <a:pt x="61" y="3"/>
                      <a:pt x="46" y="0"/>
                      <a:pt x="45" y="0"/>
                    </a:cubicBezTo>
                    <a:cubicBezTo>
                      <a:pt x="44" y="0"/>
                      <a:pt x="43" y="0"/>
                      <a:pt x="43" y="1"/>
                    </a:cubicBezTo>
                    <a:cubicBezTo>
                      <a:pt x="42" y="1"/>
                      <a:pt x="42" y="2"/>
                      <a:pt x="42" y="3"/>
                    </a:cubicBezTo>
                    <a:cubicBezTo>
                      <a:pt x="42" y="3"/>
                      <a:pt x="42" y="12"/>
                      <a:pt x="42" y="14"/>
                    </a:cubicBezTo>
                    <a:cubicBezTo>
                      <a:pt x="43" y="15"/>
                      <a:pt x="43" y="17"/>
                      <a:pt x="43" y="19"/>
                    </a:cubicBezTo>
                    <a:cubicBezTo>
                      <a:pt x="43" y="28"/>
                      <a:pt x="41" y="35"/>
                      <a:pt x="33" y="43"/>
                    </a:cubicBezTo>
                    <a:cubicBezTo>
                      <a:pt x="25" y="51"/>
                      <a:pt x="14" y="55"/>
                      <a:pt x="5" y="58"/>
                    </a:cubicBezTo>
                    <a:cubicBezTo>
                      <a:pt x="3" y="59"/>
                      <a:pt x="1" y="59"/>
                      <a:pt x="0" y="59"/>
                    </a:cubicBezTo>
                    <a:cubicBezTo>
                      <a:pt x="0" y="61"/>
                      <a:pt x="1" y="62"/>
                      <a:pt x="1" y="64"/>
                    </a:cubicBezTo>
                    <a:cubicBezTo>
                      <a:pt x="2" y="65"/>
                      <a:pt x="2" y="67"/>
                      <a:pt x="2" y="69"/>
                    </a:cubicBezTo>
                    <a:cubicBezTo>
                      <a:pt x="2" y="69"/>
                      <a:pt x="2" y="69"/>
                      <a:pt x="2" y="70"/>
                    </a:cubicBezTo>
                    <a:cubicBezTo>
                      <a:pt x="2" y="73"/>
                      <a:pt x="2" y="73"/>
                      <a:pt x="2" y="73"/>
                    </a:cubicBezTo>
                    <a:cubicBezTo>
                      <a:pt x="2" y="77"/>
                      <a:pt x="5" y="80"/>
                      <a:pt x="9" y="80"/>
                    </a:cubicBezTo>
                    <a:cubicBezTo>
                      <a:pt x="13" y="80"/>
                      <a:pt x="19" y="80"/>
                      <a:pt x="21" y="80"/>
                    </a:cubicBezTo>
                    <a:cubicBezTo>
                      <a:pt x="39" y="80"/>
                      <a:pt x="44" y="66"/>
                      <a:pt x="46" y="62"/>
                    </a:cubicBezTo>
                    <a:cubicBezTo>
                      <a:pt x="46" y="61"/>
                      <a:pt x="46" y="61"/>
                      <a:pt x="46" y="61"/>
                    </a:cubicBezTo>
                    <a:cubicBezTo>
                      <a:pt x="49" y="52"/>
                      <a:pt x="55" y="48"/>
                      <a:pt x="63" y="46"/>
                    </a:cubicBezTo>
                    <a:cubicBezTo>
                      <a:pt x="68" y="44"/>
                      <a:pt x="75" y="45"/>
                      <a:pt x="79" y="47"/>
                    </a:cubicBezTo>
                    <a:cubicBezTo>
                      <a:pt x="80" y="47"/>
                      <a:pt x="80" y="47"/>
                      <a:pt x="81" y="47"/>
                    </a:cubicBezTo>
                    <a:cubicBezTo>
                      <a:pt x="82" y="47"/>
                      <a:pt x="83" y="47"/>
                      <a:pt x="83" y="46"/>
                    </a:cubicBezTo>
                    <a:cubicBezTo>
                      <a:pt x="84" y="44"/>
                      <a:pt x="83" y="42"/>
                      <a:pt x="82" y="42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16" name="Freeform 356">
                <a:extLst>
                  <a:ext uri="{FF2B5EF4-FFF2-40B4-BE49-F238E27FC236}">
                    <a16:creationId xmlns:a16="http://schemas.microsoft.com/office/drawing/2014/main" id="{43FFC6C4-9E07-420B-822C-762D02AE27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5" y="1386"/>
                <a:ext cx="31" cy="34"/>
              </a:xfrm>
              <a:custGeom>
                <a:avLst/>
                <a:gdLst>
                  <a:gd name="T0" fmla="*/ 0 w 11"/>
                  <a:gd name="T1" fmla="*/ 6 h 12"/>
                  <a:gd name="T2" fmla="*/ 9 w 11"/>
                  <a:gd name="T3" fmla="*/ 12 h 12"/>
                  <a:gd name="T4" fmla="*/ 10 w 11"/>
                  <a:gd name="T5" fmla="*/ 11 h 12"/>
                  <a:gd name="T6" fmla="*/ 11 w 11"/>
                  <a:gd name="T7" fmla="*/ 6 h 12"/>
                  <a:gd name="T8" fmla="*/ 10 w 11"/>
                  <a:gd name="T9" fmla="*/ 1 h 12"/>
                  <a:gd name="T10" fmla="*/ 9 w 11"/>
                  <a:gd name="T11" fmla="*/ 0 h 12"/>
                  <a:gd name="T12" fmla="*/ 0 w 11"/>
                  <a:gd name="T13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12">
                    <a:moveTo>
                      <a:pt x="0" y="6"/>
                    </a:moveTo>
                    <a:cubicBezTo>
                      <a:pt x="0" y="9"/>
                      <a:pt x="4" y="12"/>
                      <a:pt x="9" y="12"/>
                    </a:cubicBezTo>
                    <a:cubicBezTo>
                      <a:pt x="10" y="12"/>
                      <a:pt x="10" y="12"/>
                      <a:pt x="10" y="11"/>
                    </a:cubicBezTo>
                    <a:cubicBezTo>
                      <a:pt x="11" y="10"/>
                      <a:pt x="11" y="8"/>
                      <a:pt x="11" y="6"/>
                    </a:cubicBezTo>
                    <a:cubicBezTo>
                      <a:pt x="11" y="4"/>
                      <a:pt x="11" y="2"/>
                      <a:pt x="10" y="1"/>
                    </a:cubicBezTo>
                    <a:cubicBezTo>
                      <a:pt x="10" y="0"/>
                      <a:pt x="10" y="0"/>
                      <a:pt x="9" y="0"/>
                    </a:cubicBezTo>
                    <a:cubicBezTo>
                      <a:pt x="4" y="0"/>
                      <a:pt x="0" y="3"/>
                      <a:pt x="0" y="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498" name="Groupe 497">
            <a:extLst>
              <a:ext uri="{FF2B5EF4-FFF2-40B4-BE49-F238E27FC236}">
                <a16:creationId xmlns:a16="http://schemas.microsoft.com/office/drawing/2014/main" id="{61B329B5-1D26-4C28-B04C-C8982CCC0247}"/>
              </a:ext>
            </a:extLst>
          </p:cNvPr>
          <p:cNvGrpSpPr/>
          <p:nvPr/>
        </p:nvGrpSpPr>
        <p:grpSpPr>
          <a:xfrm>
            <a:off x="4767425" y="1960229"/>
            <a:ext cx="865004" cy="865444"/>
            <a:chOff x="3577383" y="1988559"/>
            <a:chExt cx="648743" cy="649073"/>
          </a:xfrm>
        </p:grpSpPr>
        <p:sp>
          <p:nvSpPr>
            <p:cNvPr id="499" name="Oval 5">
              <a:extLst>
                <a:ext uri="{FF2B5EF4-FFF2-40B4-BE49-F238E27FC236}">
                  <a16:creationId xmlns:a16="http://schemas.microsoft.com/office/drawing/2014/main" id="{2803F032-6046-4033-9EBF-EFB9D9E064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7383" y="1988559"/>
              <a:ext cx="648743" cy="649073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500" name="Group 359">
              <a:extLst>
                <a:ext uri="{FF2B5EF4-FFF2-40B4-BE49-F238E27FC236}">
                  <a16:creationId xmlns:a16="http://schemas.microsoft.com/office/drawing/2014/main" id="{16CD19B8-B742-438E-89BA-0B3D82F28FF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711020" y="2131219"/>
              <a:ext cx="381468" cy="363752"/>
              <a:chOff x="2267" y="1273"/>
              <a:chExt cx="366" cy="349"/>
            </a:xfrm>
          </p:grpSpPr>
          <p:sp>
            <p:nvSpPr>
              <p:cNvPr id="501" name="Rectangle 360">
                <a:extLst>
                  <a:ext uri="{FF2B5EF4-FFF2-40B4-BE49-F238E27FC236}">
                    <a16:creationId xmlns:a16="http://schemas.microsoft.com/office/drawing/2014/main" id="{359CB884-3A41-4876-8DF5-F71C6FD7ED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35" y="1301"/>
                <a:ext cx="59" cy="115"/>
              </a:xfrm>
              <a:prstGeom prst="rect">
                <a:avLst/>
              </a:pr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02" name="Freeform 361">
                <a:extLst>
                  <a:ext uri="{FF2B5EF4-FFF2-40B4-BE49-F238E27FC236}">
                    <a16:creationId xmlns:a16="http://schemas.microsoft.com/office/drawing/2014/main" id="{2EDFFAA3-EAF7-44E3-B585-EC626BE830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7" y="1273"/>
                <a:ext cx="183" cy="349"/>
              </a:xfrm>
              <a:custGeom>
                <a:avLst/>
                <a:gdLst>
                  <a:gd name="T0" fmla="*/ 62 w 65"/>
                  <a:gd name="T1" fmla="*/ 1 h 124"/>
                  <a:gd name="T2" fmla="*/ 3 w 65"/>
                  <a:gd name="T3" fmla="*/ 44 h 124"/>
                  <a:gd name="T4" fmla="*/ 2 w 65"/>
                  <a:gd name="T5" fmla="*/ 51 h 124"/>
                  <a:gd name="T6" fmla="*/ 9 w 65"/>
                  <a:gd name="T7" fmla="*/ 53 h 124"/>
                  <a:gd name="T8" fmla="*/ 12 w 65"/>
                  <a:gd name="T9" fmla="*/ 51 h 124"/>
                  <a:gd name="T10" fmla="*/ 12 w 65"/>
                  <a:gd name="T11" fmla="*/ 115 h 124"/>
                  <a:gd name="T12" fmla="*/ 20 w 65"/>
                  <a:gd name="T13" fmla="*/ 124 h 124"/>
                  <a:gd name="T14" fmla="*/ 65 w 65"/>
                  <a:gd name="T15" fmla="*/ 124 h 124"/>
                  <a:gd name="T16" fmla="*/ 65 w 65"/>
                  <a:gd name="T17" fmla="*/ 0 h 124"/>
                  <a:gd name="T18" fmla="*/ 62 w 65"/>
                  <a:gd name="T19" fmla="*/ 1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" h="124">
                    <a:moveTo>
                      <a:pt x="62" y="1"/>
                    </a:moveTo>
                    <a:cubicBezTo>
                      <a:pt x="3" y="44"/>
                      <a:pt x="3" y="44"/>
                      <a:pt x="3" y="44"/>
                    </a:cubicBezTo>
                    <a:cubicBezTo>
                      <a:pt x="1" y="46"/>
                      <a:pt x="0" y="49"/>
                      <a:pt x="2" y="51"/>
                    </a:cubicBezTo>
                    <a:cubicBezTo>
                      <a:pt x="4" y="54"/>
                      <a:pt x="7" y="54"/>
                      <a:pt x="9" y="53"/>
                    </a:cubicBezTo>
                    <a:cubicBezTo>
                      <a:pt x="12" y="51"/>
                      <a:pt x="12" y="51"/>
                      <a:pt x="12" y="51"/>
                    </a:cubicBezTo>
                    <a:cubicBezTo>
                      <a:pt x="12" y="115"/>
                      <a:pt x="12" y="115"/>
                      <a:pt x="12" y="115"/>
                    </a:cubicBezTo>
                    <a:cubicBezTo>
                      <a:pt x="12" y="120"/>
                      <a:pt x="15" y="124"/>
                      <a:pt x="20" y="124"/>
                    </a:cubicBezTo>
                    <a:cubicBezTo>
                      <a:pt x="65" y="124"/>
                      <a:pt x="65" y="124"/>
                      <a:pt x="65" y="124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4" y="0"/>
                      <a:pt x="63" y="0"/>
                      <a:pt x="62" y="1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03" name="Freeform 362">
                <a:extLst>
                  <a:ext uri="{FF2B5EF4-FFF2-40B4-BE49-F238E27FC236}">
                    <a16:creationId xmlns:a16="http://schemas.microsoft.com/office/drawing/2014/main" id="{FB5D30B2-F4EB-4EFC-BF17-7B1D91DE87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0" y="1273"/>
                <a:ext cx="183" cy="349"/>
              </a:xfrm>
              <a:custGeom>
                <a:avLst/>
                <a:gdLst>
                  <a:gd name="T0" fmla="*/ 62 w 65"/>
                  <a:gd name="T1" fmla="*/ 45 h 124"/>
                  <a:gd name="T2" fmla="*/ 3 w 65"/>
                  <a:gd name="T3" fmla="*/ 1 h 124"/>
                  <a:gd name="T4" fmla="*/ 0 w 65"/>
                  <a:gd name="T5" fmla="*/ 0 h 124"/>
                  <a:gd name="T6" fmla="*/ 0 w 65"/>
                  <a:gd name="T7" fmla="*/ 124 h 124"/>
                  <a:gd name="T8" fmla="*/ 45 w 65"/>
                  <a:gd name="T9" fmla="*/ 124 h 124"/>
                  <a:gd name="T10" fmla="*/ 53 w 65"/>
                  <a:gd name="T11" fmla="*/ 115 h 124"/>
                  <a:gd name="T12" fmla="*/ 53 w 65"/>
                  <a:gd name="T13" fmla="*/ 51 h 124"/>
                  <a:gd name="T14" fmla="*/ 56 w 65"/>
                  <a:gd name="T15" fmla="*/ 53 h 124"/>
                  <a:gd name="T16" fmla="*/ 59 w 65"/>
                  <a:gd name="T17" fmla="*/ 54 h 124"/>
                  <a:gd name="T18" fmla="*/ 63 w 65"/>
                  <a:gd name="T19" fmla="*/ 52 h 124"/>
                  <a:gd name="T20" fmla="*/ 62 w 65"/>
                  <a:gd name="T21" fmla="*/ 45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124">
                    <a:moveTo>
                      <a:pt x="62" y="45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1" y="0"/>
                      <a:pt x="0" y="0"/>
                    </a:cubicBezTo>
                    <a:cubicBezTo>
                      <a:pt x="0" y="124"/>
                      <a:pt x="0" y="124"/>
                      <a:pt x="0" y="124"/>
                    </a:cubicBezTo>
                    <a:cubicBezTo>
                      <a:pt x="45" y="124"/>
                      <a:pt x="45" y="124"/>
                      <a:pt x="45" y="124"/>
                    </a:cubicBezTo>
                    <a:cubicBezTo>
                      <a:pt x="50" y="124"/>
                      <a:pt x="53" y="120"/>
                      <a:pt x="53" y="115"/>
                    </a:cubicBezTo>
                    <a:cubicBezTo>
                      <a:pt x="53" y="51"/>
                      <a:pt x="53" y="51"/>
                      <a:pt x="53" y="51"/>
                    </a:cubicBezTo>
                    <a:cubicBezTo>
                      <a:pt x="56" y="53"/>
                      <a:pt x="56" y="53"/>
                      <a:pt x="56" y="53"/>
                    </a:cubicBezTo>
                    <a:cubicBezTo>
                      <a:pt x="57" y="53"/>
                      <a:pt x="58" y="54"/>
                      <a:pt x="59" y="54"/>
                    </a:cubicBezTo>
                    <a:cubicBezTo>
                      <a:pt x="61" y="54"/>
                      <a:pt x="62" y="53"/>
                      <a:pt x="63" y="52"/>
                    </a:cubicBezTo>
                    <a:cubicBezTo>
                      <a:pt x="65" y="49"/>
                      <a:pt x="64" y="46"/>
                      <a:pt x="62" y="45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04" name="Freeform 363">
                <a:extLst>
                  <a:ext uri="{FF2B5EF4-FFF2-40B4-BE49-F238E27FC236}">
                    <a16:creationId xmlns:a16="http://schemas.microsoft.com/office/drawing/2014/main" id="{19A4D00C-F39C-4661-B21C-CC9BDE69E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6" y="1394"/>
                <a:ext cx="47" cy="48"/>
              </a:xfrm>
              <a:custGeom>
                <a:avLst/>
                <a:gdLst>
                  <a:gd name="T0" fmla="*/ 15 w 17"/>
                  <a:gd name="T1" fmla="*/ 17 h 17"/>
                  <a:gd name="T2" fmla="*/ 2 w 17"/>
                  <a:gd name="T3" fmla="*/ 17 h 17"/>
                  <a:gd name="T4" fmla="*/ 0 w 17"/>
                  <a:gd name="T5" fmla="*/ 15 h 17"/>
                  <a:gd name="T6" fmla="*/ 0 w 17"/>
                  <a:gd name="T7" fmla="*/ 2 h 17"/>
                  <a:gd name="T8" fmla="*/ 2 w 17"/>
                  <a:gd name="T9" fmla="*/ 0 h 17"/>
                  <a:gd name="T10" fmla="*/ 15 w 17"/>
                  <a:gd name="T11" fmla="*/ 0 h 17"/>
                  <a:gd name="T12" fmla="*/ 17 w 17"/>
                  <a:gd name="T13" fmla="*/ 2 h 17"/>
                  <a:gd name="T14" fmla="*/ 17 w 17"/>
                  <a:gd name="T15" fmla="*/ 15 h 17"/>
                  <a:gd name="T16" fmla="*/ 15 w 17"/>
                  <a:gd name="T1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17">
                    <a:moveTo>
                      <a:pt x="15" y="17"/>
                    </a:moveTo>
                    <a:cubicBezTo>
                      <a:pt x="2" y="17"/>
                      <a:pt x="2" y="17"/>
                      <a:pt x="2" y="17"/>
                    </a:cubicBezTo>
                    <a:cubicBezTo>
                      <a:pt x="1" y="17"/>
                      <a:pt x="0" y="16"/>
                      <a:pt x="0" y="1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6" y="0"/>
                      <a:pt x="17" y="1"/>
                      <a:pt x="17" y="2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7" y="16"/>
                      <a:pt x="16" y="17"/>
                      <a:pt x="15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05" name="Freeform 364">
                <a:extLst>
                  <a:ext uri="{FF2B5EF4-FFF2-40B4-BE49-F238E27FC236}">
                    <a16:creationId xmlns:a16="http://schemas.microsoft.com/office/drawing/2014/main" id="{D4F5B45F-9203-4DF3-8A21-F14A866D4E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6" y="1394"/>
                <a:ext cx="48" cy="48"/>
              </a:xfrm>
              <a:custGeom>
                <a:avLst/>
                <a:gdLst>
                  <a:gd name="T0" fmla="*/ 15 w 17"/>
                  <a:gd name="T1" fmla="*/ 17 h 17"/>
                  <a:gd name="T2" fmla="*/ 2 w 17"/>
                  <a:gd name="T3" fmla="*/ 17 h 17"/>
                  <a:gd name="T4" fmla="*/ 0 w 17"/>
                  <a:gd name="T5" fmla="*/ 15 h 17"/>
                  <a:gd name="T6" fmla="*/ 0 w 17"/>
                  <a:gd name="T7" fmla="*/ 2 h 17"/>
                  <a:gd name="T8" fmla="*/ 2 w 17"/>
                  <a:gd name="T9" fmla="*/ 0 h 17"/>
                  <a:gd name="T10" fmla="*/ 15 w 17"/>
                  <a:gd name="T11" fmla="*/ 0 h 17"/>
                  <a:gd name="T12" fmla="*/ 17 w 17"/>
                  <a:gd name="T13" fmla="*/ 2 h 17"/>
                  <a:gd name="T14" fmla="*/ 17 w 17"/>
                  <a:gd name="T15" fmla="*/ 15 h 17"/>
                  <a:gd name="T16" fmla="*/ 15 w 17"/>
                  <a:gd name="T1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17">
                    <a:moveTo>
                      <a:pt x="15" y="17"/>
                    </a:moveTo>
                    <a:cubicBezTo>
                      <a:pt x="2" y="17"/>
                      <a:pt x="2" y="17"/>
                      <a:pt x="2" y="17"/>
                    </a:cubicBezTo>
                    <a:cubicBezTo>
                      <a:pt x="1" y="17"/>
                      <a:pt x="0" y="16"/>
                      <a:pt x="0" y="1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6" y="0"/>
                      <a:pt x="17" y="1"/>
                      <a:pt x="17" y="2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7" y="16"/>
                      <a:pt x="16" y="17"/>
                      <a:pt x="15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06" name="Freeform 365">
                <a:extLst>
                  <a:ext uri="{FF2B5EF4-FFF2-40B4-BE49-F238E27FC236}">
                    <a16:creationId xmlns:a16="http://schemas.microsoft.com/office/drawing/2014/main" id="{A383281C-DFCF-4703-8ACB-48BCA386EA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6" y="1453"/>
                <a:ext cx="47" cy="48"/>
              </a:xfrm>
              <a:custGeom>
                <a:avLst/>
                <a:gdLst>
                  <a:gd name="T0" fmla="*/ 15 w 17"/>
                  <a:gd name="T1" fmla="*/ 17 h 17"/>
                  <a:gd name="T2" fmla="*/ 2 w 17"/>
                  <a:gd name="T3" fmla="*/ 17 h 17"/>
                  <a:gd name="T4" fmla="*/ 0 w 17"/>
                  <a:gd name="T5" fmla="*/ 15 h 17"/>
                  <a:gd name="T6" fmla="*/ 0 w 17"/>
                  <a:gd name="T7" fmla="*/ 2 h 17"/>
                  <a:gd name="T8" fmla="*/ 2 w 17"/>
                  <a:gd name="T9" fmla="*/ 0 h 17"/>
                  <a:gd name="T10" fmla="*/ 15 w 17"/>
                  <a:gd name="T11" fmla="*/ 0 h 17"/>
                  <a:gd name="T12" fmla="*/ 17 w 17"/>
                  <a:gd name="T13" fmla="*/ 2 h 17"/>
                  <a:gd name="T14" fmla="*/ 17 w 17"/>
                  <a:gd name="T15" fmla="*/ 15 h 17"/>
                  <a:gd name="T16" fmla="*/ 15 w 17"/>
                  <a:gd name="T1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17">
                    <a:moveTo>
                      <a:pt x="15" y="17"/>
                    </a:moveTo>
                    <a:cubicBezTo>
                      <a:pt x="2" y="17"/>
                      <a:pt x="2" y="17"/>
                      <a:pt x="2" y="17"/>
                    </a:cubicBezTo>
                    <a:cubicBezTo>
                      <a:pt x="1" y="17"/>
                      <a:pt x="0" y="16"/>
                      <a:pt x="0" y="1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6" y="0"/>
                      <a:pt x="17" y="1"/>
                      <a:pt x="17" y="2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7" y="16"/>
                      <a:pt x="16" y="17"/>
                      <a:pt x="15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07" name="Freeform 366">
                <a:extLst>
                  <a:ext uri="{FF2B5EF4-FFF2-40B4-BE49-F238E27FC236}">
                    <a16:creationId xmlns:a16="http://schemas.microsoft.com/office/drawing/2014/main" id="{54560999-184E-45F1-BAEC-CDB2DDEF04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6" y="1453"/>
                <a:ext cx="48" cy="48"/>
              </a:xfrm>
              <a:custGeom>
                <a:avLst/>
                <a:gdLst>
                  <a:gd name="T0" fmla="*/ 15 w 17"/>
                  <a:gd name="T1" fmla="*/ 17 h 17"/>
                  <a:gd name="T2" fmla="*/ 2 w 17"/>
                  <a:gd name="T3" fmla="*/ 17 h 17"/>
                  <a:gd name="T4" fmla="*/ 0 w 17"/>
                  <a:gd name="T5" fmla="*/ 15 h 17"/>
                  <a:gd name="T6" fmla="*/ 0 w 17"/>
                  <a:gd name="T7" fmla="*/ 2 h 17"/>
                  <a:gd name="T8" fmla="*/ 2 w 17"/>
                  <a:gd name="T9" fmla="*/ 0 h 17"/>
                  <a:gd name="T10" fmla="*/ 15 w 17"/>
                  <a:gd name="T11" fmla="*/ 0 h 17"/>
                  <a:gd name="T12" fmla="*/ 17 w 17"/>
                  <a:gd name="T13" fmla="*/ 2 h 17"/>
                  <a:gd name="T14" fmla="*/ 17 w 17"/>
                  <a:gd name="T15" fmla="*/ 15 h 17"/>
                  <a:gd name="T16" fmla="*/ 15 w 17"/>
                  <a:gd name="T1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17">
                    <a:moveTo>
                      <a:pt x="15" y="17"/>
                    </a:moveTo>
                    <a:cubicBezTo>
                      <a:pt x="2" y="17"/>
                      <a:pt x="2" y="17"/>
                      <a:pt x="2" y="17"/>
                    </a:cubicBezTo>
                    <a:cubicBezTo>
                      <a:pt x="1" y="17"/>
                      <a:pt x="0" y="16"/>
                      <a:pt x="0" y="15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6" y="0"/>
                      <a:pt x="17" y="1"/>
                      <a:pt x="17" y="2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7" y="16"/>
                      <a:pt x="16" y="17"/>
                      <a:pt x="15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58D667EC-2C62-47AD-A1EA-6A9D8DF4AF14}"/>
              </a:ext>
            </a:extLst>
          </p:cNvPr>
          <p:cNvSpPr/>
          <p:nvPr/>
        </p:nvSpPr>
        <p:spPr>
          <a:xfrm>
            <a:off x="406401" y="5488716"/>
            <a:ext cx="786085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400"/>
              </a:spcBef>
            </a:pPr>
            <a:r>
              <a:rPr lang="fr-FR" dirty="0">
                <a:solidFill>
                  <a:srgbClr val="FC0D1A"/>
                </a:solidFill>
                <a:latin typeface="MAIF Medium"/>
              </a:rPr>
              <a:t>Banque d’illustrations : </a:t>
            </a:r>
            <a:r>
              <a:rPr lang="fr-FR" u="sng" dirty="0">
                <a:hlinkClick r:id="rId7"/>
              </a:rPr>
              <a:t>https://bo.emedia.maif.fr/tw-MjA1NA</a:t>
            </a:r>
            <a:endParaRPr lang="fr-FR" u="sng" dirty="0"/>
          </a:p>
        </p:txBody>
      </p: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48F6ED29-F0AB-4EA5-A807-ABF3F45E4F0C}"/>
              </a:ext>
            </a:extLst>
          </p:cNvPr>
          <p:cNvGrpSpPr/>
          <p:nvPr/>
        </p:nvGrpSpPr>
        <p:grpSpPr>
          <a:xfrm>
            <a:off x="2584081" y="3103488"/>
            <a:ext cx="865004" cy="865444"/>
            <a:chOff x="2584081" y="3103488"/>
            <a:chExt cx="865004" cy="865444"/>
          </a:xfrm>
        </p:grpSpPr>
        <p:sp>
          <p:nvSpPr>
            <p:cNvPr id="469" name="Oval 5">
              <a:extLst>
                <a:ext uri="{FF2B5EF4-FFF2-40B4-BE49-F238E27FC236}">
                  <a16:creationId xmlns:a16="http://schemas.microsoft.com/office/drawing/2014/main" id="{5A8F8BD9-F534-4377-93FA-26E707B260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4081" y="3103488"/>
              <a:ext cx="865004" cy="865444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 dirty="0">
                <a:solidFill>
                  <a:srgbClr val="314051"/>
                </a:solidFill>
                <a:latin typeface="MAIF"/>
              </a:endParaRPr>
            </a:p>
          </p:txBody>
        </p:sp>
        <p:grpSp>
          <p:nvGrpSpPr>
            <p:cNvPr id="5" name="Group 33">
              <a:extLst>
                <a:ext uri="{FF2B5EF4-FFF2-40B4-BE49-F238E27FC236}">
                  <a16:creationId xmlns:a16="http://schemas.microsoft.com/office/drawing/2014/main" id="{203860A1-0FF6-4BA9-92E6-4732E10EBA7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730833" y="3249667"/>
              <a:ext cx="571500" cy="573087"/>
              <a:chOff x="1739" y="2064"/>
              <a:chExt cx="360" cy="361"/>
            </a:xfrm>
          </p:grpSpPr>
          <p:sp>
            <p:nvSpPr>
              <p:cNvPr id="7" name="Freeform 34">
                <a:extLst>
                  <a:ext uri="{FF2B5EF4-FFF2-40B4-BE49-F238E27FC236}">
                    <a16:creationId xmlns:a16="http://schemas.microsoft.com/office/drawing/2014/main" id="{DF7BCE10-42FD-4E15-8E12-F0B903662A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9" y="2253"/>
                <a:ext cx="101" cy="54"/>
              </a:xfrm>
              <a:custGeom>
                <a:avLst/>
                <a:gdLst>
                  <a:gd name="T0" fmla="*/ 25 w 36"/>
                  <a:gd name="T1" fmla="*/ 0 h 19"/>
                  <a:gd name="T2" fmla="*/ 18 w 36"/>
                  <a:gd name="T3" fmla="*/ 2 h 19"/>
                  <a:gd name="T4" fmla="*/ 11 w 36"/>
                  <a:gd name="T5" fmla="*/ 0 h 19"/>
                  <a:gd name="T6" fmla="*/ 0 w 36"/>
                  <a:gd name="T7" fmla="*/ 10 h 19"/>
                  <a:gd name="T8" fmla="*/ 0 w 36"/>
                  <a:gd name="T9" fmla="*/ 16 h 19"/>
                  <a:gd name="T10" fmla="*/ 3 w 36"/>
                  <a:gd name="T11" fmla="*/ 19 h 19"/>
                  <a:gd name="T12" fmla="*/ 33 w 36"/>
                  <a:gd name="T13" fmla="*/ 19 h 19"/>
                  <a:gd name="T14" fmla="*/ 36 w 36"/>
                  <a:gd name="T15" fmla="*/ 16 h 19"/>
                  <a:gd name="T16" fmla="*/ 36 w 36"/>
                  <a:gd name="T17" fmla="*/ 10 h 19"/>
                  <a:gd name="T18" fmla="*/ 25 w 36"/>
                  <a:gd name="T1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19">
                    <a:moveTo>
                      <a:pt x="25" y="0"/>
                    </a:moveTo>
                    <a:cubicBezTo>
                      <a:pt x="23" y="2"/>
                      <a:pt x="21" y="2"/>
                      <a:pt x="18" y="2"/>
                    </a:cubicBezTo>
                    <a:cubicBezTo>
                      <a:pt x="15" y="2"/>
                      <a:pt x="13" y="2"/>
                      <a:pt x="11" y="0"/>
                    </a:cubicBezTo>
                    <a:cubicBezTo>
                      <a:pt x="6" y="1"/>
                      <a:pt x="0" y="5"/>
                      <a:pt x="0" y="10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8"/>
                      <a:pt x="1" y="19"/>
                      <a:pt x="3" y="19"/>
                    </a:cubicBezTo>
                    <a:cubicBezTo>
                      <a:pt x="33" y="19"/>
                      <a:pt x="33" y="19"/>
                      <a:pt x="33" y="19"/>
                    </a:cubicBezTo>
                    <a:cubicBezTo>
                      <a:pt x="35" y="19"/>
                      <a:pt x="36" y="18"/>
                      <a:pt x="36" y="16"/>
                    </a:cubicBezTo>
                    <a:cubicBezTo>
                      <a:pt x="36" y="10"/>
                      <a:pt x="36" y="10"/>
                      <a:pt x="36" y="10"/>
                    </a:cubicBezTo>
                    <a:cubicBezTo>
                      <a:pt x="36" y="5"/>
                      <a:pt x="30" y="1"/>
                      <a:pt x="25" y="0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" name="Freeform 35">
                <a:extLst>
                  <a:ext uri="{FF2B5EF4-FFF2-40B4-BE49-F238E27FC236}">
                    <a16:creationId xmlns:a16="http://schemas.microsoft.com/office/drawing/2014/main" id="{E89FF351-A107-4202-A73A-7C38CE503E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2" y="2183"/>
                <a:ext cx="56" cy="64"/>
              </a:xfrm>
              <a:custGeom>
                <a:avLst/>
                <a:gdLst>
                  <a:gd name="T0" fmla="*/ 10 w 20"/>
                  <a:gd name="T1" fmla="*/ 23 h 23"/>
                  <a:gd name="T2" fmla="*/ 0 w 20"/>
                  <a:gd name="T3" fmla="*/ 12 h 23"/>
                  <a:gd name="T4" fmla="*/ 10 w 20"/>
                  <a:gd name="T5" fmla="*/ 0 h 23"/>
                  <a:gd name="T6" fmla="*/ 20 w 20"/>
                  <a:gd name="T7" fmla="*/ 12 h 23"/>
                  <a:gd name="T8" fmla="*/ 10 w 20"/>
                  <a:gd name="T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3">
                    <a:moveTo>
                      <a:pt x="10" y="23"/>
                    </a:moveTo>
                    <a:cubicBezTo>
                      <a:pt x="5" y="23"/>
                      <a:pt x="0" y="18"/>
                      <a:pt x="0" y="12"/>
                    </a:cubicBezTo>
                    <a:cubicBezTo>
                      <a:pt x="0" y="3"/>
                      <a:pt x="5" y="0"/>
                      <a:pt x="10" y="0"/>
                    </a:cubicBezTo>
                    <a:cubicBezTo>
                      <a:pt x="15" y="0"/>
                      <a:pt x="20" y="3"/>
                      <a:pt x="20" y="12"/>
                    </a:cubicBezTo>
                    <a:cubicBezTo>
                      <a:pt x="20" y="18"/>
                      <a:pt x="15" y="23"/>
                      <a:pt x="10" y="23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" name="Freeform 36">
                <a:extLst>
                  <a:ext uri="{FF2B5EF4-FFF2-40B4-BE49-F238E27FC236}">
                    <a16:creationId xmlns:a16="http://schemas.microsoft.com/office/drawing/2014/main" id="{0FF3A546-BCB2-4505-9822-EF17008314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8" y="2135"/>
                <a:ext cx="102" cy="53"/>
              </a:xfrm>
              <a:custGeom>
                <a:avLst/>
                <a:gdLst>
                  <a:gd name="T0" fmla="*/ 25 w 36"/>
                  <a:gd name="T1" fmla="*/ 0 h 19"/>
                  <a:gd name="T2" fmla="*/ 18 w 36"/>
                  <a:gd name="T3" fmla="*/ 2 h 19"/>
                  <a:gd name="T4" fmla="*/ 10 w 36"/>
                  <a:gd name="T5" fmla="*/ 0 h 19"/>
                  <a:gd name="T6" fmla="*/ 0 w 36"/>
                  <a:gd name="T7" fmla="*/ 10 h 19"/>
                  <a:gd name="T8" fmla="*/ 0 w 36"/>
                  <a:gd name="T9" fmla="*/ 16 h 19"/>
                  <a:gd name="T10" fmla="*/ 3 w 36"/>
                  <a:gd name="T11" fmla="*/ 19 h 19"/>
                  <a:gd name="T12" fmla="*/ 33 w 36"/>
                  <a:gd name="T13" fmla="*/ 19 h 19"/>
                  <a:gd name="T14" fmla="*/ 36 w 36"/>
                  <a:gd name="T15" fmla="*/ 16 h 19"/>
                  <a:gd name="T16" fmla="*/ 36 w 36"/>
                  <a:gd name="T17" fmla="*/ 10 h 19"/>
                  <a:gd name="T18" fmla="*/ 25 w 36"/>
                  <a:gd name="T1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19">
                    <a:moveTo>
                      <a:pt x="25" y="0"/>
                    </a:moveTo>
                    <a:cubicBezTo>
                      <a:pt x="23" y="2"/>
                      <a:pt x="21" y="2"/>
                      <a:pt x="18" y="2"/>
                    </a:cubicBezTo>
                    <a:cubicBezTo>
                      <a:pt x="15" y="2"/>
                      <a:pt x="13" y="2"/>
                      <a:pt x="10" y="0"/>
                    </a:cubicBezTo>
                    <a:cubicBezTo>
                      <a:pt x="6" y="1"/>
                      <a:pt x="0" y="5"/>
                      <a:pt x="0" y="10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8"/>
                      <a:pt x="1" y="19"/>
                      <a:pt x="3" y="19"/>
                    </a:cubicBezTo>
                    <a:cubicBezTo>
                      <a:pt x="33" y="19"/>
                      <a:pt x="33" y="19"/>
                      <a:pt x="33" y="19"/>
                    </a:cubicBezTo>
                    <a:cubicBezTo>
                      <a:pt x="35" y="19"/>
                      <a:pt x="36" y="18"/>
                      <a:pt x="36" y="16"/>
                    </a:cubicBezTo>
                    <a:cubicBezTo>
                      <a:pt x="36" y="10"/>
                      <a:pt x="36" y="10"/>
                      <a:pt x="36" y="10"/>
                    </a:cubicBezTo>
                    <a:cubicBezTo>
                      <a:pt x="36" y="5"/>
                      <a:pt x="30" y="1"/>
                      <a:pt x="25" y="0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" name="Freeform 37">
                <a:extLst>
                  <a:ext uri="{FF2B5EF4-FFF2-40B4-BE49-F238E27FC236}">
                    <a16:creationId xmlns:a16="http://schemas.microsoft.com/office/drawing/2014/main" id="{73D7A2B8-CAD5-4414-8468-873E5E5F2F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1" y="2064"/>
                <a:ext cx="56" cy="65"/>
              </a:xfrm>
              <a:custGeom>
                <a:avLst/>
                <a:gdLst>
                  <a:gd name="T0" fmla="*/ 10 w 20"/>
                  <a:gd name="T1" fmla="*/ 23 h 23"/>
                  <a:gd name="T2" fmla="*/ 0 w 20"/>
                  <a:gd name="T3" fmla="*/ 12 h 23"/>
                  <a:gd name="T4" fmla="*/ 10 w 20"/>
                  <a:gd name="T5" fmla="*/ 0 h 23"/>
                  <a:gd name="T6" fmla="*/ 20 w 20"/>
                  <a:gd name="T7" fmla="*/ 12 h 23"/>
                  <a:gd name="T8" fmla="*/ 10 w 20"/>
                  <a:gd name="T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3">
                    <a:moveTo>
                      <a:pt x="10" y="23"/>
                    </a:moveTo>
                    <a:cubicBezTo>
                      <a:pt x="4" y="23"/>
                      <a:pt x="0" y="18"/>
                      <a:pt x="0" y="12"/>
                    </a:cubicBezTo>
                    <a:cubicBezTo>
                      <a:pt x="0" y="3"/>
                      <a:pt x="4" y="0"/>
                      <a:pt x="10" y="0"/>
                    </a:cubicBezTo>
                    <a:cubicBezTo>
                      <a:pt x="15" y="0"/>
                      <a:pt x="20" y="3"/>
                      <a:pt x="20" y="12"/>
                    </a:cubicBezTo>
                    <a:cubicBezTo>
                      <a:pt x="20" y="18"/>
                      <a:pt x="15" y="23"/>
                      <a:pt x="10" y="23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" name="Freeform 38">
                <a:extLst>
                  <a:ext uri="{FF2B5EF4-FFF2-40B4-BE49-F238E27FC236}">
                    <a16:creationId xmlns:a16="http://schemas.microsoft.com/office/drawing/2014/main" id="{FCD68EC8-2E6F-4686-B211-98A1722F50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8" y="2371"/>
                <a:ext cx="102" cy="54"/>
              </a:xfrm>
              <a:custGeom>
                <a:avLst/>
                <a:gdLst>
                  <a:gd name="T0" fmla="*/ 25 w 36"/>
                  <a:gd name="T1" fmla="*/ 0 h 19"/>
                  <a:gd name="T2" fmla="*/ 18 w 36"/>
                  <a:gd name="T3" fmla="*/ 3 h 19"/>
                  <a:gd name="T4" fmla="*/ 10 w 36"/>
                  <a:gd name="T5" fmla="*/ 0 h 19"/>
                  <a:gd name="T6" fmla="*/ 0 w 36"/>
                  <a:gd name="T7" fmla="*/ 10 h 19"/>
                  <a:gd name="T8" fmla="*/ 0 w 36"/>
                  <a:gd name="T9" fmla="*/ 16 h 19"/>
                  <a:gd name="T10" fmla="*/ 3 w 36"/>
                  <a:gd name="T11" fmla="*/ 19 h 19"/>
                  <a:gd name="T12" fmla="*/ 33 w 36"/>
                  <a:gd name="T13" fmla="*/ 19 h 19"/>
                  <a:gd name="T14" fmla="*/ 36 w 36"/>
                  <a:gd name="T15" fmla="*/ 16 h 19"/>
                  <a:gd name="T16" fmla="*/ 36 w 36"/>
                  <a:gd name="T17" fmla="*/ 10 h 19"/>
                  <a:gd name="T18" fmla="*/ 25 w 36"/>
                  <a:gd name="T1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19">
                    <a:moveTo>
                      <a:pt x="25" y="0"/>
                    </a:moveTo>
                    <a:cubicBezTo>
                      <a:pt x="23" y="2"/>
                      <a:pt x="21" y="3"/>
                      <a:pt x="18" y="3"/>
                    </a:cubicBezTo>
                    <a:cubicBezTo>
                      <a:pt x="15" y="3"/>
                      <a:pt x="13" y="2"/>
                      <a:pt x="10" y="0"/>
                    </a:cubicBezTo>
                    <a:cubicBezTo>
                      <a:pt x="6" y="1"/>
                      <a:pt x="0" y="5"/>
                      <a:pt x="0" y="10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8"/>
                      <a:pt x="1" y="19"/>
                      <a:pt x="3" y="19"/>
                    </a:cubicBezTo>
                    <a:cubicBezTo>
                      <a:pt x="33" y="19"/>
                      <a:pt x="33" y="19"/>
                      <a:pt x="33" y="19"/>
                    </a:cubicBezTo>
                    <a:cubicBezTo>
                      <a:pt x="35" y="19"/>
                      <a:pt x="36" y="18"/>
                      <a:pt x="36" y="16"/>
                    </a:cubicBezTo>
                    <a:cubicBezTo>
                      <a:pt x="36" y="10"/>
                      <a:pt x="36" y="10"/>
                      <a:pt x="36" y="10"/>
                    </a:cubicBezTo>
                    <a:cubicBezTo>
                      <a:pt x="36" y="5"/>
                      <a:pt x="30" y="1"/>
                      <a:pt x="25" y="0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" name="Freeform 39">
                <a:extLst>
                  <a:ext uri="{FF2B5EF4-FFF2-40B4-BE49-F238E27FC236}">
                    <a16:creationId xmlns:a16="http://schemas.microsoft.com/office/drawing/2014/main" id="{7092A91E-5FF9-43F1-AF63-F7CC46EC8F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1" y="2301"/>
                <a:ext cx="56" cy="65"/>
              </a:xfrm>
              <a:custGeom>
                <a:avLst/>
                <a:gdLst>
                  <a:gd name="T0" fmla="*/ 10 w 20"/>
                  <a:gd name="T1" fmla="*/ 23 h 23"/>
                  <a:gd name="T2" fmla="*/ 0 w 20"/>
                  <a:gd name="T3" fmla="*/ 12 h 23"/>
                  <a:gd name="T4" fmla="*/ 10 w 20"/>
                  <a:gd name="T5" fmla="*/ 0 h 23"/>
                  <a:gd name="T6" fmla="*/ 20 w 20"/>
                  <a:gd name="T7" fmla="*/ 12 h 23"/>
                  <a:gd name="T8" fmla="*/ 10 w 20"/>
                  <a:gd name="T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3">
                    <a:moveTo>
                      <a:pt x="10" y="23"/>
                    </a:moveTo>
                    <a:cubicBezTo>
                      <a:pt x="4" y="23"/>
                      <a:pt x="0" y="18"/>
                      <a:pt x="0" y="12"/>
                    </a:cubicBezTo>
                    <a:cubicBezTo>
                      <a:pt x="0" y="3"/>
                      <a:pt x="4" y="0"/>
                      <a:pt x="10" y="0"/>
                    </a:cubicBezTo>
                    <a:cubicBezTo>
                      <a:pt x="15" y="0"/>
                      <a:pt x="20" y="3"/>
                      <a:pt x="20" y="12"/>
                    </a:cubicBezTo>
                    <a:cubicBezTo>
                      <a:pt x="20" y="18"/>
                      <a:pt x="15" y="23"/>
                      <a:pt x="10" y="23"/>
                    </a:cubicBezTo>
                    <a:close/>
                  </a:path>
                </a:pathLst>
              </a:custGeom>
              <a:solidFill>
                <a:srgbClr val="FC0D1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" name="Freeform 40">
                <a:extLst>
                  <a:ext uri="{FF2B5EF4-FFF2-40B4-BE49-F238E27FC236}">
                    <a16:creationId xmlns:a16="http://schemas.microsoft.com/office/drawing/2014/main" id="{F1733B61-7761-451D-89CA-6471513497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98" y="2253"/>
                <a:ext cx="101" cy="54"/>
              </a:xfrm>
              <a:custGeom>
                <a:avLst/>
                <a:gdLst>
                  <a:gd name="T0" fmla="*/ 25 w 36"/>
                  <a:gd name="T1" fmla="*/ 0 h 19"/>
                  <a:gd name="T2" fmla="*/ 18 w 36"/>
                  <a:gd name="T3" fmla="*/ 2 h 19"/>
                  <a:gd name="T4" fmla="*/ 11 w 36"/>
                  <a:gd name="T5" fmla="*/ 0 h 19"/>
                  <a:gd name="T6" fmla="*/ 0 w 36"/>
                  <a:gd name="T7" fmla="*/ 10 h 19"/>
                  <a:gd name="T8" fmla="*/ 0 w 36"/>
                  <a:gd name="T9" fmla="*/ 16 h 19"/>
                  <a:gd name="T10" fmla="*/ 3 w 36"/>
                  <a:gd name="T11" fmla="*/ 19 h 19"/>
                  <a:gd name="T12" fmla="*/ 33 w 36"/>
                  <a:gd name="T13" fmla="*/ 19 h 19"/>
                  <a:gd name="T14" fmla="*/ 36 w 36"/>
                  <a:gd name="T15" fmla="*/ 16 h 19"/>
                  <a:gd name="T16" fmla="*/ 36 w 36"/>
                  <a:gd name="T17" fmla="*/ 10 h 19"/>
                  <a:gd name="T18" fmla="*/ 25 w 36"/>
                  <a:gd name="T1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19">
                    <a:moveTo>
                      <a:pt x="25" y="0"/>
                    </a:moveTo>
                    <a:cubicBezTo>
                      <a:pt x="23" y="2"/>
                      <a:pt x="21" y="2"/>
                      <a:pt x="18" y="2"/>
                    </a:cubicBezTo>
                    <a:cubicBezTo>
                      <a:pt x="15" y="2"/>
                      <a:pt x="13" y="2"/>
                      <a:pt x="11" y="0"/>
                    </a:cubicBezTo>
                    <a:cubicBezTo>
                      <a:pt x="6" y="1"/>
                      <a:pt x="0" y="5"/>
                      <a:pt x="0" y="10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8"/>
                      <a:pt x="1" y="19"/>
                      <a:pt x="3" y="19"/>
                    </a:cubicBezTo>
                    <a:cubicBezTo>
                      <a:pt x="33" y="19"/>
                      <a:pt x="33" y="19"/>
                      <a:pt x="33" y="19"/>
                    </a:cubicBezTo>
                    <a:cubicBezTo>
                      <a:pt x="35" y="19"/>
                      <a:pt x="36" y="18"/>
                      <a:pt x="36" y="16"/>
                    </a:cubicBezTo>
                    <a:cubicBezTo>
                      <a:pt x="36" y="10"/>
                      <a:pt x="36" y="10"/>
                      <a:pt x="36" y="10"/>
                    </a:cubicBezTo>
                    <a:cubicBezTo>
                      <a:pt x="36" y="5"/>
                      <a:pt x="30" y="1"/>
                      <a:pt x="25" y="0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" name="Freeform 41">
                <a:extLst>
                  <a:ext uri="{FF2B5EF4-FFF2-40B4-BE49-F238E27FC236}">
                    <a16:creationId xmlns:a16="http://schemas.microsoft.com/office/drawing/2014/main" id="{A692E758-69BF-4E06-82CF-1BA2DAF033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0" y="2183"/>
                <a:ext cx="57" cy="64"/>
              </a:xfrm>
              <a:custGeom>
                <a:avLst/>
                <a:gdLst>
                  <a:gd name="T0" fmla="*/ 10 w 20"/>
                  <a:gd name="T1" fmla="*/ 23 h 23"/>
                  <a:gd name="T2" fmla="*/ 0 w 20"/>
                  <a:gd name="T3" fmla="*/ 12 h 23"/>
                  <a:gd name="T4" fmla="*/ 10 w 20"/>
                  <a:gd name="T5" fmla="*/ 0 h 23"/>
                  <a:gd name="T6" fmla="*/ 20 w 20"/>
                  <a:gd name="T7" fmla="*/ 12 h 23"/>
                  <a:gd name="T8" fmla="*/ 10 w 20"/>
                  <a:gd name="T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3">
                    <a:moveTo>
                      <a:pt x="10" y="23"/>
                    </a:moveTo>
                    <a:cubicBezTo>
                      <a:pt x="5" y="23"/>
                      <a:pt x="0" y="18"/>
                      <a:pt x="0" y="12"/>
                    </a:cubicBezTo>
                    <a:cubicBezTo>
                      <a:pt x="0" y="3"/>
                      <a:pt x="5" y="0"/>
                      <a:pt x="10" y="0"/>
                    </a:cubicBezTo>
                    <a:cubicBezTo>
                      <a:pt x="15" y="0"/>
                      <a:pt x="20" y="3"/>
                      <a:pt x="20" y="12"/>
                    </a:cubicBezTo>
                    <a:cubicBezTo>
                      <a:pt x="20" y="18"/>
                      <a:pt x="15" y="23"/>
                      <a:pt x="10" y="23"/>
                    </a:cubicBezTo>
                    <a:close/>
                  </a:path>
                </a:pathLst>
              </a:custGeom>
              <a:solidFill>
                <a:srgbClr val="C6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" name="Freeform 42">
                <a:extLst>
                  <a:ext uri="{FF2B5EF4-FFF2-40B4-BE49-F238E27FC236}">
                    <a16:creationId xmlns:a16="http://schemas.microsoft.com/office/drawing/2014/main" id="{39F63367-2611-45A7-8029-88CEE600E4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8" y="2318"/>
                <a:ext cx="79" cy="67"/>
              </a:xfrm>
              <a:custGeom>
                <a:avLst/>
                <a:gdLst>
                  <a:gd name="T0" fmla="*/ 27 w 28"/>
                  <a:gd name="T1" fmla="*/ 21 h 24"/>
                  <a:gd name="T2" fmla="*/ 7 w 28"/>
                  <a:gd name="T3" fmla="*/ 4 h 24"/>
                  <a:gd name="T4" fmla="*/ 11 w 28"/>
                  <a:gd name="T5" fmla="*/ 5 h 24"/>
                  <a:gd name="T6" fmla="*/ 13 w 28"/>
                  <a:gd name="T7" fmla="*/ 3 h 24"/>
                  <a:gd name="T8" fmla="*/ 12 w 28"/>
                  <a:gd name="T9" fmla="*/ 2 h 24"/>
                  <a:gd name="T10" fmla="*/ 4 w 28"/>
                  <a:gd name="T11" fmla="*/ 0 h 24"/>
                  <a:gd name="T12" fmla="*/ 2 w 28"/>
                  <a:gd name="T13" fmla="*/ 1 h 24"/>
                  <a:gd name="T14" fmla="*/ 1 w 28"/>
                  <a:gd name="T15" fmla="*/ 9 h 24"/>
                  <a:gd name="T16" fmla="*/ 2 w 28"/>
                  <a:gd name="T17" fmla="*/ 11 h 24"/>
                  <a:gd name="T18" fmla="*/ 2 w 28"/>
                  <a:gd name="T19" fmla="*/ 11 h 24"/>
                  <a:gd name="T20" fmla="*/ 4 w 28"/>
                  <a:gd name="T21" fmla="*/ 10 h 24"/>
                  <a:gd name="T22" fmla="*/ 5 w 28"/>
                  <a:gd name="T23" fmla="*/ 6 h 24"/>
                  <a:gd name="T24" fmla="*/ 26 w 28"/>
                  <a:gd name="T25" fmla="*/ 24 h 24"/>
                  <a:gd name="T26" fmla="*/ 26 w 28"/>
                  <a:gd name="T27" fmla="*/ 24 h 24"/>
                  <a:gd name="T28" fmla="*/ 28 w 28"/>
                  <a:gd name="T29" fmla="*/ 23 h 24"/>
                  <a:gd name="T30" fmla="*/ 27 w 28"/>
                  <a:gd name="T31" fmla="*/ 2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" h="24">
                    <a:moveTo>
                      <a:pt x="27" y="21"/>
                    </a:moveTo>
                    <a:cubicBezTo>
                      <a:pt x="19" y="17"/>
                      <a:pt x="12" y="11"/>
                      <a:pt x="7" y="4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2" y="5"/>
                      <a:pt x="13" y="4"/>
                      <a:pt x="13" y="3"/>
                    </a:cubicBezTo>
                    <a:cubicBezTo>
                      <a:pt x="13" y="3"/>
                      <a:pt x="13" y="2"/>
                      <a:pt x="12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2" y="1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10"/>
                      <a:pt x="1" y="11"/>
                      <a:pt x="2" y="11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3" y="11"/>
                      <a:pt x="4" y="11"/>
                      <a:pt x="4" y="10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10" y="14"/>
                      <a:pt x="17" y="20"/>
                      <a:pt x="26" y="24"/>
                    </a:cubicBezTo>
                    <a:cubicBezTo>
                      <a:pt x="26" y="24"/>
                      <a:pt x="26" y="24"/>
                      <a:pt x="26" y="24"/>
                    </a:cubicBezTo>
                    <a:cubicBezTo>
                      <a:pt x="27" y="24"/>
                      <a:pt x="28" y="24"/>
                      <a:pt x="28" y="23"/>
                    </a:cubicBezTo>
                    <a:cubicBezTo>
                      <a:pt x="28" y="22"/>
                      <a:pt x="28" y="21"/>
                      <a:pt x="27" y="21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" name="Freeform 43">
                <a:extLst>
                  <a:ext uri="{FF2B5EF4-FFF2-40B4-BE49-F238E27FC236}">
                    <a16:creationId xmlns:a16="http://schemas.microsoft.com/office/drawing/2014/main" id="{C6E5F60E-129B-4790-B6DC-703D1AADBB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5" y="2321"/>
                <a:ext cx="79" cy="76"/>
              </a:xfrm>
              <a:custGeom>
                <a:avLst/>
                <a:gdLst>
                  <a:gd name="T0" fmla="*/ 27 w 28"/>
                  <a:gd name="T1" fmla="*/ 0 h 27"/>
                  <a:gd name="T2" fmla="*/ 24 w 28"/>
                  <a:gd name="T3" fmla="*/ 1 h 27"/>
                  <a:gd name="T4" fmla="*/ 4 w 28"/>
                  <a:gd name="T5" fmla="*/ 19 h 27"/>
                  <a:gd name="T6" fmla="*/ 6 w 28"/>
                  <a:gd name="T7" fmla="*/ 15 h 27"/>
                  <a:gd name="T8" fmla="*/ 4 w 28"/>
                  <a:gd name="T9" fmla="*/ 13 h 27"/>
                  <a:gd name="T10" fmla="*/ 2 w 28"/>
                  <a:gd name="T11" fmla="*/ 15 h 27"/>
                  <a:gd name="T12" fmla="*/ 0 w 28"/>
                  <a:gd name="T13" fmla="*/ 22 h 27"/>
                  <a:gd name="T14" fmla="*/ 0 w 28"/>
                  <a:gd name="T15" fmla="*/ 24 h 27"/>
                  <a:gd name="T16" fmla="*/ 1 w 28"/>
                  <a:gd name="T17" fmla="*/ 24 h 27"/>
                  <a:gd name="T18" fmla="*/ 9 w 28"/>
                  <a:gd name="T19" fmla="*/ 27 h 27"/>
                  <a:gd name="T20" fmla="*/ 9 w 28"/>
                  <a:gd name="T21" fmla="*/ 27 h 27"/>
                  <a:gd name="T22" fmla="*/ 11 w 28"/>
                  <a:gd name="T23" fmla="*/ 25 h 27"/>
                  <a:gd name="T24" fmla="*/ 10 w 28"/>
                  <a:gd name="T25" fmla="*/ 23 h 27"/>
                  <a:gd name="T26" fmla="*/ 6 w 28"/>
                  <a:gd name="T27" fmla="*/ 22 h 27"/>
                  <a:gd name="T28" fmla="*/ 27 w 28"/>
                  <a:gd name="T29" fmla="*/ 3 h 27"/>
                  <a:gd name="T30" fmla="*/ 27 w 28"/>
                  <a:gd name="T3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" h="27">
                    <a:moveTo>
                      <a:pt x="27" y="0"/>
                    </a:moveTo>
                    <a:cubicBezTo>
                      <a:pt x="26" y="0"/>
                      <a:pt x="25" y="0"/>
                      <a:pt x="24" y="1"/>
                    </a:cubicBezTo>
                    <a:cubicBezTo>
                      <a:pt x="19" y="9"/>
                      <a:pt x="13" y="15"/>
                      <a:pt x="4" y="19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6" y="15"/>
                      <a:pt x="5" y="14"/>
                      <a:pt x="4" y="13"/>
                    </a:cubicBezTo>
                    <a:cubicBezTo>
                      <a:pt x="3" y="13"/>
                      <a:pt x="3" y="14"/>
                      <a:pt x="2" y="15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23"/>
                      <a:pt x="0" y="23"/>
                      <a:pt x="0" y="24"/>
                    </a:cubicBezTo>
                    <a:cubicBezTo>
                      <a:pt x="0" y="24"/>
                      <a:pt x="1" y="24"/>
                      <a:pt x="1" y="24"/>
                    </a:cubicBezTo>
                    <a:cubicBezTo>
                      <a:pt x="9" y="27"/>
                      <a:pt x="9" y="27"/>
                      <a:pt x="9" y="27"/>
                    </a:cubicBezTo>
                    <a:cubicBezTo>
                      <a:pt x="9" y="27"/>
                      <a:pt x="9" y="27"/>
                      <a:pt x="9" y="27"/>
                    </a:cubicBezTo>
                    <a:cubicBezTo>
                      <a:pt x="10" y="27"/>
                      <a:pt x="11" y="26"/>
                      <a:pt x="11" y="25"/>
                    </a:cubicBezTo>
                    <a:cubicBezTo>
                      <a:pt x="11" y="24"/>
                      <a:pt x="11" y="24"/>
                      <a:pt x="10" y="23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15" y="18"/>
                      <a:pt x="22" y="11"/>
                      <a:pt x="27" y="3"/>
                    </a:cubicBezTo>
                    <a:cubicBezTo>
                      <a:pt x="28" y="2"/>
                      <a:pt x="27" y="1"/>
                      <a:pt x="27" y="0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" name="Freeform 44">
                <a:extLst>
                  <a:ext uri="{FF2B5EF4-FFF2-40B4-BE49-F238E27FC236}">
                    <a16:creationId xmlns:a16="http://schemas.microsoft.com/office/drawing/2014/main" id="{EC5A6D1C-6F19-40F1-B355-03B039AB87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4" y="2095"/>
                <a:ext cx="93" cy="73"/>
              </a:xfrm>
              <a:custGeom>
                <a:avLst/>
                <a:gdLst>
                  <a:gd name="T0" fmla="*/ 32 w 33"/>
                  <a:gd name="T1" fmla="*/ 15 h 26"/>
                  <a:gd name="T2" fmla="*/ 30 w 33"/>
                  <a:gd name="T3" fmla="*/ 16 h 26"/>
                  <a:gd name="T4" fmla="*/ 29 w 33"/>
                  <a:gd name="T5" fmla="*/ 20 h 26"/>
                  <a:gd name="T6" fmla="*/ 2 w 33"/>
                  <a:gd name="T7" fmla="*/ 0 h 26"/>
                  <a:gd name="T8" fmla="*/ 0 w 33"/>
                  <a:gd name="T9" fmla="*/ 1 h 26"/>
                  <a:gd name="T10" fmla="*/ 1 w 33"/>
                  <a:gd name="T11" fmla="*/ 3 h 26"/>
                  <a:gd name="T12" fmla="*/ 26 w 33"/>
                  <a:gd name="T13" fmla="*/ 22 h 26"/>
                  <a:gd name="T14" fmla="*/ 22 w 33"/>
                  <a:gd name="T15" fmla="*/ 22 h 26"/>
                  <a:gd name="T16" fmla="*/ 20 w 33"/>
                  <a:gd name="T17" fmla="*/ 23 h 26"/>
                  <a:gd name="T18" fmla="*/ 22 w 33"/>
                  <a:gd name="T19" fmla="*/ 25 h 26"/>
                  <a:gd name="T20" fmla="*/ 30 w 33"/>
                  <a:gd name="T21" fmla="*/ 26 h 26"/>
                  <a:gd name="T22" fmla="*/ 30 w 33"/>
                  <a:gd name="T23" fmla="*/ 26 h 26"/>
                  <a:gd name="T24" fmla="*/ 31 w 33"/>
                  <a:gd name="T25" fmla="*/ 26 h 26"/>
                  <a:gd name="T26" fmla="*/ 32 w 33"/>
                  <a:gd name="T27" fmla="*/ 25 h 26"/>
                  <a:gd name="T28" fmla="*/ 33 w 33"/>
                  <a:gd name="T29" fmla="*/ 17 h 26"/>
                  <a:gd name="T30" fmla="*/ 32 w 33"/>
                  <a:gd name="T31" fmla="*/ 1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3" h="26">
                    <a:moveTo>
                      <a:pt x="32" y="15"/>
                    </a:moveTo>
                    <a:cubicBezTo>
                      <a:pt x="31" y="15"/>
                      <a:pt x="30" y="16"/>
                      <a:pt x="30" y="16"/>
                    </a:cubicBezTo>
                    <a:cubicBezTo>
                      <a:pt x="29" y="20"/>
                      <a:pt x="29" y="20"/>
                      <a:pt x="29" y="20"/>
                    </a:cubicBezTo>
                    <a:cubicBezTo>
                      <a:pt x="22" y="11"/>
                      <a:pt x="13" y="4"/>
                      <a:pt x="2" y="0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0" y="2"/>
                      <a:pt x="0" y="3"/>
                      <a:pt x="1" y="3"/>
                    </a:cubicBezTo>
                    <a:cubicBezTo>
                      <a:pt x="11" y="7"/>
                      <a:pt x="20" y="14"/>
                      <a:pt x="26" y="22"/>
                    </a:cubicBezTo>
                    <a:cubicBezTo>
                      <a:pt x="22" y="22"/>
                      <a:pt x="22" y="22"/>
                      <a:pt x="22" y="22"/>
                    </a:cubicBezTo>
                    <a:cubicBezTo>
                      <a:pt x="21" y="21"/>
                      <a:pt x="21" y="22"/>
                      <a:pt x="20" y="23"/>
                    </a:cubicBezTo>
                    <a:cubicBezTo>
                      <a:pt x="20" y="24"/>
                      <a:pt x="21" y="25"/>
                      <a:pt x="22" y="25"/>
                    </a:cubicBezTo>
                    <a:cubicBezTo>
                      <a:pt x="30" y="26"/>
                      <a:pt x="30" y="26"/>
                      <a:pt x="30" y="26"/>
                    </a:cubicBezTo>
                    <a:cubicBezTo>
                      <a:pt x="30" y="26"/>
                      <a:pt x="30" y="26"/>
                      <a:pt x="30" y="26"/>
                    </a:cubicBezTo>
                    <a:cubicBezTo>
                      <a:pt x="30" y="26"/>
                      <a:pt x="31" y="26"/>
                      <a:pt x="31" y="26"/>
                    </a:cubicBezTo>
                    <a:cubicBezTo>
                      <a:pt x="31" y="26"/>
                      <a:pt x="31" y="25"/>
                      <a:pt x="32" y="25"/>
                    </a:cubicBezTo>
                    <a:cubicBezTo>
                      <a:pt x="33" y="17"/>
                      <a:pt x="33" y="17"/>
                      <a:pt x="33" y="17"/>
                    </a:cubicBezTo>
                    <a:cubicBezTo>
                      <a:pt x="33" y="16"/>
                      <a:pt x="33" y="15"/>
                      <a:pt x="32" y="15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" name="Freeform 45">
                <a:extLst>
                  <a:ext uri="{FF2B5EF4-FFF2-40B4-BE49-F238E27FC236}">
                    <a16:creationId xmlns:a16="http://schemas.microsoft.com/office/drawing/2014/main" id="{A02E5DD7-28A8-4809-9225-0AF5781E9B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4" y="2084"/>
                <a:ext cx="98" cy="84"/>
              </a:xfrm>
              <a:custGeom>
                <a:avLst/>
                <a:gdLst>
                  <a:gd name="T0" fmla="*/ 34 w 35"/>
                  <a:gd name="T1" fmla="*/ 3 h 30"/>
                  <a:gd name="T2" fmla="*/ 27 w 35"/>
                  <a:gd name="T3" fmla="*/ 0 h 30"/>
                  <a:gd name="T4" fmla="*/ 24 w 35"/>
                  <a:gd name="T5" fmla="*/ 1 h 30"/>
                  <a:gd name="T6" fmla="*/ 25 w 35"/>
                  <a:gd name="T7" fmla="*/ 3 h 30"/>
                  <a:gd name="T8" fmla="*/ 29 w 35"/>
                  <a:gd name="T9" fmla="*/ 5 h 30"/>
                  <a:gd name="T10" fmla="*/ 1 w 35"/>
                  <a:gd name="T11" fmla="*/ 27 h 30"/>
                  <a:gd name="T12" fmla="*/ 1 w 35"/>
                  <a:gd name="T13" fmla="*/ 30 h 30"/>
                  <a:gd name="T14" fmla="*/ 2 w 35"/>
                  <a:gd name="T15" fmla="*/ 30 h 30"/>
                  <a:gd name="T16" fmla="*/ 4 w 35"/>
                  <a:gd name="T17" fmla="*/ 29 h 30"/>
                  <a:gd name="T18" fmla="*/ 30 w 35"/>
                  <a:gd name="T19" fmla="*/ 8 h 30"/>
                  <a:gd name="T20" fmla="*/ 28 w 35"/>
                  <a:gd name="T21" fmla="*/ 12 h 30"/>
                  <a:gd name="T22" fmla="*/ 29 w 35"/>
                  <a:gd name="T23" fmla="*/ 14 h 30"/>
                  <a:gd name="T24" fmla="*/ 30 w 35"/>
                  <a:gd name="T25" fmla="*/ 14 h 30"/>
                  <a:gd name="T26" fmla="*/ 31 w 35"/>
                  <a:gd name="T27" fmla="*/ 13 h 30"/>
                  <a:gd name="T28" fmla="*/ 35 w 35"/>
                  <a:gd name="T29" fmla="*/ 6 h 30"/>
                  <a:gd name="T30" fmla="*/ 35 w 35"/>
                  <a:gd name="T31" fmla="*/ 4 h 30"/>
                  <a:gd name="T32" fmla="*/ 34 w 35"/>
                  <a:gd name="T33" fmla="*/ 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5" h="30">
                    <a:moveTo>
                      <a:pt x="34" y="3"/>
                    </a:moveTo>
                    <a:cubicBezTo>
                      <a:pt x="27" y="0"/>
                      <a:pt x="27" y="0"/>
                      <a:pt x="27" y="0"/>
                    </a:cubicBezTo>
                    <a:cubicBezTo>
                      <a:pt x="26" y="0"/>
                      <a:pt x="25" y="0"/>
                      <a:pt x="24" y="1"/>
                    </a:cubicBezTo>
                    <a:cubicBezTo>
                      <a:pt x="24" y="2"/>
                      <a:pt x="24" y="3"/>
                      <a:pt x="25" y="3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17" y="9"/>
                      <a:pt x="7" y="17"/>
                      <a:pt x="1" y="27"/>
                    </a:cubicBezTo>
                    <a:cubicBezTo>
                      <a:pt x="0" y="28"/>
                      <a:pt x="1" y="29"/>
                      <a:pt x="1" y="30"/>
                    </a:cubicBezTo>
                    <a:cubicBezTo>
                      <a:pt x="2" y="30"/>
                      <a:pt x="2" y="30"/>
                      <a:pt x="2" y="30"/>
                    </a:cubicBezTo>
                    <a:cubicBezTo>
                      <a:pt x="3" y="30"/>
                      <a:pt x="3" y="30"/>
                      <a:pt x="4" y="29"/>
                    </a:cubicBezTo>
                    <a:cubicBezTo>
                      <a:pt x="10" y="19"/>
                      <a:pt x="19" y="12"/>
                      <a:pt x="30" y="8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28" y="12"/>
                      <a:pt x="28" y="13"/>
                      <a:pt x="29" y="14"/>
                    </a:cubicBezTo>
                    <a:cubicBezTo>
                      <a:pt x="29" y="14"/>
                      <a:pt x="30" y="14"/>
                      <a:pt x="30" y="14"/>
                    </a:cubicBezTo>
                    <a:cubicBezTo>
                      <a:pt x="30" y="14"/>
                      <a:pt x="31" y="14"/>
                      <a:pt x="31" y="13"/>
                    </a:cubicBezTo>
                    <a:cubicBezTo>
                      <a:pt x="35" y="6"/>
                      <a:pt x="35" y="6"/>
                      <a:pt x="35" y="6"/>
                    </a:cubicBezTo>
                    <a:cubicBezTo>
                      <a:pt x="35" y="5"/>
                      <a:pt x="35" y="5"/>
                      <a:pt x="35" y="4"/>
                    </a:cubicBezTo>
                    <a:cubicBezTo>
                      <a:pt x="35" y="4"/>
                      <a:pt x="34" y="4"/>
                      <a:pt x="34" y="3"/>
                    </a:cubicBezTo>
                    <a:close/>
                  </a:path>
                </a:pathLst>
              </a:custGeom>
              <a:solidFill>
                <a:srgbClr val="2E404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39404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EE47D8A5-FBAE-4C7C-8B1E-700954592E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0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EE47D8A5-FBAE-4C7C-8B1E-700954592E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8">
            <a:extLst>
              <a:ext uri="{FF2B5EF4-FFF2-40B4-BE49-F238E27FC236}">
                <a16:creationId xmlns:a16="http://schemas.microsoft.com/office/drawing/2014/main" id="{2B6003F0-4EB1-4105-A408-067571B40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Toolbox</a:t>
            </a:r>
            <a:endParaRPr lang="fr-FR" dirty="0"/>
          </a:p>
        </p:txBody>
      </p:sp>
      <p:sp>
        <p:nvSpPr>
          <p:cNvPr id="75" name="Espace réservé de la date 74">
            <a:extLst>
              <a:ext uri="{FF2B5EF4-FFF2-40B4-BE49-F238E27FC236}">
                <a16:creationId xmlns:a16="http://schemas.microsoft.com/office/drawing/2014/main" id="{6C7C2B0D-57CB-4C3E-96CE-70FB09DD77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0BE95-6B2E-4B30-8637-17CEDB70CCF7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77" name="Espace réservé du pied de page 76">
            <a:extLst>
              <a:ext uri="{FF2B5EF4-FFF2-40B4-BE49-F238E27FC236}">
                <a16:creationId xmlns:a16="http://schemas.microsoft.com/office/drawing/2014/main" id="{6BC4CC98-6913-497F-A126-9D0525CAE9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D163307-54D9-4563-AB2E-BBB6B8735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48</a:t>
            </a:fld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DC8B859-1400-468A-8120-FEF70DD86C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6.2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E8598C9F-CEE5-4CFA-A7B3-349B38C6E9CD}"/>
              </a:ext>
            </a:extLst>
          </p:cNvPr>
          <p:cNvSpPr/>
          <p:nvPr/>
        </p:nvSpPr>
        <p:spPr>
          <a:xfrm>
            <a:off x="406401" y="1339200"/>
            <a:ext cx="1138917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fr-FR" dirty="0">
                <a:solidFill>
                  <a:srgbClr val="FC0D1A"/>
                </a:solidFill>
                <a:latin typeface="MAIF Medium"/>
              </a:rPr>
              <a:t>Couleurs des </a:t>
            </a:r>
            <a:r>
              <a:rPr lang="fr-FR" dirty="0" err="1">
                <a:solidFill>
                  <a:srgbClr val="FC0D1A"/>
                </a:solidFill>
                <a:latin typeface="MAIF Medium"/>
              </a:rPr>
              <a:t>pictos</a:t>
            </a:r>
            <a:r>
              <a:rPr lang="fr-FR" dirty="0">
                <a:solidFill>
                  <a:srgbClr val="FC0D1A"/>
                </a:solidFill>
                <a:latin typeface="MAIF Medium"/>
              </a:rPr>
              <a:t> : </a:t>
            </a:r>
            <a:r>
              <a:rPr lang="fr-FR" dirty="0">
                <a:solidFill>
                  <a:srgbClr val="000000"/>
                </a:solidFill>
              </a:rPr>
              <a:t>utiliser les couleurs de la palette. 0 % de transparence</a:t>
            </a:r>
          </a:p>
        </p:txBody>
      </p:sp>
      <p:pic>
        <p:nvPicPr>
          <p:cNvPr id="296" name="Graphic 86">
            <a:extLst>
              <a:ext uri="{FF2B5EF4-FFF2-40B4-BE49-F238E27FC236}">
                <a16:creationId xmlns:a16="http://schemas.microsoft.com/office/drawing/2014/main" id="{27555752-EE45-4268-9D6A-0C70E5EE2F65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15927" y="1894617"/>
            <a:ext cx="673441" cy="673441"/>
          </a:xfrm>
          <a:prstGeom prst="rect">
            <a:avLst/>
          </a:prstGeom>
        </p:spPr>
      </p:pic>
      <p:pic>
        <p:nvPicPr>
          <p:cNvPr id="297" name="Graphic 87">
            <a:extLst>
              <a:ext uri="{FF2B5EF4-FFF2-40B4-BE49-F238E27FC236}">
                <a16:creationId xmlns:a16="http://schemas.microsoft.com/office/drawing/2014/main" id="{89E18010-B1CD-4F59-A9F0-38663034AFE6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21631" y="1894617"/>
            <a:ext cx="673441" cy="673441"/>
          </a:xfrm>
          <a:prstGeom prst="rect">
            <a:avLst/>
          </a:prstGeom>
        </p:spPr>
      </p:pic>
      <p:pic>
        <p:nvPicPr>
          <p:cNvPr id="298" name="Graphique 297">
            <a:extLst>
              <a:ext uri="{FF2B5EF4-FFF2-40B4-BE49-F238E27FC236}">
                <a16:creationId xmlns:a16="http://schemas.microsoft.com/office/drawing/2014/main" id="{18BBF25C-5F6D-41EF-B306-52D1C4E1F6B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663581" y="1894616"/>
            <a:ext cx="673442" cy="673442"/>
          </a:xfrm>
          <a:prstGeom prst="rect">
            <a:avLst/>
          </a:prstGeom>
        </p:spPr>
      </p:pic>
      <p:pic>
        <p:nvPicPr>
          <p:cNvPr id="299" name="Graphique 298">
            <a:extLst>
              <a:ext uri="{FF2B5EF4-FFF2-40B4-BE49-F238E27FC236}">
                <a16:creationId xmlns:a16="http://schemas.microsoft.com/office/drawing/2014/main" id="{273ACCC0-6D3B-45AA-A10B-8AA8970D907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232184" y="1894616"/>
            <a:ext cx="673442" cy="673442"/>
          </a:xfrm>
          <a:prstGeom prst="rect">
            <a:avLst/>
          </a:prstGeom>
        </p:spPr>
      </p:pic>
      <p:pic>
        <p:nvPicPr>
          <p:cNvPr id="300" name="Graphique 299">
            <a:extLst>
              <a:ext uri="{FF2B5EF4-FFF2-40B4-BE49-F238E27FC236}">
                <a16:creationId xmlns:a16="http://schemas.microsoft.com/office/drawing/2014/main" id="{33E423CD-3BD3-4375-94ED-462BF10448B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858487" y="1894616"/>
            <a:ext cx="673442" cy="673442"/>
          </a:xfrm>
          <a:prstGeom prst="rect">
            <a:avLst/>
          </a:prstGeom>
        </p:spPr>
      </p:pic>
      <p:pic>
        <p:nvPicPr>
          <p:cNvPr id="301" name="Graphique 300">
            <a:extLst>
              <a:ext uri="{FF2B5EF4-FFF2-40B4-BE49-F238E27FC236}">
                <a16:creationId xmlns:a16="http://schemas.microsoft.com/office/drawing/2014/main" id="{F4A42474-81F4-48CC-B3F9-940B88C6162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772450" y="1894616"/>
            <a:ext cx="673442" cy="673442"/>
          </a:xfrm>
          <a:prstGeom prst="rect">
            <a:avLst/>
          </a:prstGeom>
        </p:spPr>
      </p:pic>
      <p:pic>
        <p:nvPicPr>
          <p:cNvPr id="302" name="Graphique 301">
            <a:extLst>
              <a:ext uri="{FF2B5EF4-FFF2-40B4-BE49-F238E27FC236}">
                <a16:creationId xmlns:a16="http://schemas.microsoft.com/office/drawing/2014/main" id="{35992689-90CA-4E42-A9EA-52726156EAE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041755" y="1894616"/>
            <a:ext cx="673442" cy="673442"/>
          </a:xfrm>
          <a:prstGeom prst="rect">
            <a:avLst/>
          </a:prstGeom>
        </p:spPr>
      </p:pic>
      <p:pic>
        <p:nvPicPr>
          <p:cNvPr id="303" name="Graphique 302">
            <a:extLst>
              <a:ext uri="{FF2B5EF4-FFF2-40B4-BE49-F238E27FC236}">
                <a16:creationId xmlns:a16="http://schemas.microsoft.com/office/drawing/2014/main" id="{F439BF4C-4A97-43ED-8B68-DDC44F697F8A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958089" y="1894616"/>
            <a:ext cx="673442" cy="673442"/>
          </a:xfrm>
          <a:prstGeom prst="rect">
            <a:avLst/>
          </a:prstGeom>
        </p:spPr>
      </p:pic>
      <p:pic>
        <p:nvPicPr>
          <p:cNvPr id="304" name="Graphic 94">
            <a:extLst>
              <a:ext uri="{FF2B5EF4-FFF2-40B4-BE49-F238E27FC236}">
                <a16:creationId xmlns:a16="http://schemas.microsoft.com/office/drawing/2014/main" id="{36545645-148D-41DB-8E31-9D8CE58CD063}"/>
              </a:ext>
            </a:extLst>
          </p:cNvPr>
          <p:cNvPicPr>
            <a:picLocks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138354" y="1894617"/>
            <a:ext cx="673441" cy="673441"/>
          </a:xfrm>
          <a:prstGeom prst="rect">
            <a:avLst/>
          </a:prstGeom>
        </p:spPr>
      </p:pic>
      <p:pic>
        <p:nvPicPr>
          <p:cNvPr id="305" name="Graphique 304">
            <a:extLst>
              <a:ext uri="{FF2B5EF4-FFF2-40B4-BE49-F238E27FC236}">
                <a16:creationId xmlns:a16="http://schemas.microsoft.com/office/drawing/2014/main" id="{51A007BC-FF27-4E2B-9EB2-874175668900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8580069" y="1894616"/>
            <a:ext cx="673442" cy="673442"/>
          </a:xfrm>
          <a:prstGeom prst="rect">
            <a:avLst/>
          </a:prstGeom>
        </p:spPr>
      </p:pic>
      <p:grpSp>
        <p:nvGrpSpPr>
          <p:cNvPr id="306" name="Groupe 305">
            <a:extLst>
              <a:ext uri="{FF2B5EF4-FFF2-40B4-BE49-F238E27FC236}">
                <a16:creationId xmlns:a16="http://schemas.microsoft.com/office/drawing/2014/main" id="{C6DCA2A5-AF6A-44FC-87C6-72815D0EC6E0}"/>
              </a:ext>
            </a:extLst>
          </p:cNvPr>
          <p:cNvGrpSpPr/>
          <p:nvPr/>
        </p:nvGrpSpPr>
        <p:grpSpPr>
          <a:xfrm>
            <a:off x="415926" y="2756986"/>
            <a:ext cx="673439" cy="673439"/>
            <a:chOff x="414075" y="5176157"/>
            <a:chExt cx="719997" cy="719997"/>
          </a:xfrm>
        </p:grpSpPr>
        <p:sp>
          <p:nvSpPr>
            <p:cNvPr id="384" name="Ellipse 383">
              <a:extLst>
                <a:ext uri="{FF2B5EF4-FFF2-40B4-BE49-F238E27FC236}">
                  <a16:creationId xmlns:a16="http://schemas.microsoft.com/office/drawing/2014/main" id="{96820DF2-5352-46FE-8E12-D8A71395BA8F}"/>
                </a:ext>
              </a:extLst>
            </p:cNvPr>
            <p:cNvSpPr/>
            <p:nvPr/>
          </p:nvSpPr>
          <p:spPr>
            <a:xfrm>
              <a:off x="414075" y="5176157"/>
              <a:ext cx="719997" cy="71999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fr-FR" sz="1350" dirty="0">
                <a:solidFill>
                  <a:prstClr val="white"/>
                </a:solidFill>
                <a:latin typeface="MAIF"/>
              </a:endParaRPr>
            </a:p>
          </p:txBody>
        </p:sp>
        <p:pic>
          <p:nvPicPr>
            <p:cNvPr id="385" name="Graphique 384">
              <a:extLst>
                <a:ext uri="{FF2B5EF4-FFF2-40B4-BE49-F238E27FC236}">
                  <a16:creationId xmlns:a16="http://schemas.microsoft.com/office/drawing/2014/main" id="{25274ED0-534A-4918-B014-3B4EF65FDCB0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539657" y="5376139"/>
              <a:ext cx="469994" cy="320032"/>
            </a:xfrm>
            <a:prstGeom prst="rect">
              <a:avLst/>
            </a:prstGeom>
          </p:spPr>
        </p:pic>
      </p:grpSp>
      <p:grpSp>
        <p:nvGrpSpPr>
          <p:cNvPr id="307" name="Groupe 306">
            <a:extLst>
              <a:ext uri="{FF2B5EF4-FFF2-40B4-BE49-F238E27FC236}">
                <a16:creationId xmlns:a16="http://schemas.microsoft.com/office/drawing/2014/main" id="{8AC1B22E-452A-4908-8097-63BB752A5108}"/>
              </a:ext>
            </a:extLst>
          </p:cNvPr>
          <p:cNvGrpSpPr/>
          <p:nvPr/>
        </p:nvGrpSpPr>
        <p:grpSpPr>
          <a:xfrm>
            <a:off x="1321634" y="2756986"/>
            <a:ext cx="673439" cy="673439"/>
            <a:chOff x="1382397" y="5176157"/>
            <a:chExt cx="719997" cy="719997"/>
          </a:xfrm>
        </p:grpSpPr>
        <p:sp>
          <p:nvSpPr>
            <p:cNvPr id="382" name="Ellipse 381">
              <a:extLst>
                <a:ext uri="{FF2B5EF4-FFF2-40B4-BE49-F238E27FC236}">
                  <a16:creationId xmlns:a16="http://schemas.microsoft.com/office/drawing/2014/main" id="{F237400A-BD0D-4ECE-9E7E-E3D64812292B}"/>
                </a:ext>
              </a:extLst>
            </p:cNvPr>
            <p:cNvSpPr/>
            <p:nvPr/>
          </p:nvSpPr>
          <p:spPr>
            <a:xfrm>
              <a:off x="1382397" y="5176157"/>
              <a:ext cx="719997" cy="71999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fr-FR" sz="1350" dirty="0">
                <a:solidFill>
                  <a:prstClr val="white"/>
                </a:solidFill>
                <a:latin typeface="MAIF"/>
              </a:endParaRPr>
            </a:p>
          </p:txBody>
        </p:sp>
        <p:pic>
          <p:nvPicPr>
            <p:cNvPr id="383" name="Graphique 382">
              <a:extLst>
                <a:ext uri="{FF2B5EF4-FFF2-40B4-BE49-F238E27FC236}">
                  <a16:creationId xmlns:a16="http://schemas.microsoft.com/office/drawing/2014/main" id="{8BDCAFE5-43F3-4C3F-B072-642C07471A13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>
            <a:xfrm>
              <a:off x="1512095" y="5411589"/>
              <a:ext cx="461961" cy="249132"/>
            </a:xfrm>
            <a:prstGeom prst="rect">
              <a:avLst/>
            </a:prstGeom>
          </p:spPr>
        </p:pic>
      </p:grpSp>
      <p:grpSp>
        <p:nvGrpSpPr>
          <p:cNvPr id="308" name="Groupe 307">
            <a:extLst>
              <a:ext uri="{FF2B5EF4-FFF2-40B4-BE49-F238E27FC236}">
                <a16:creationId xmlns:a16="http://schemas.microsoft.com/office/drawing/2014/main" id="{2F503C65-BDA5-444C-9CA1-2D94737F4D08}"/>
              </a:ext>
            </a:extLst>
          </p:cNvPr>
          <p:cNvGrpSpPr/>
          <p:nvPr/>
        </p:nvGrpSpPr>
        <p:grpSpPr>
          <a:xfrm>
            <a:off x="7663579" y="2756986"/>
            <a:ext cx="673439" cy="673439"/>
            <a:chOff x="2350716" y="5176157"/>
            <a:chExt cx="719997" cy="719997"/>
          </a:xfrm>
        </p:grpSpPr>
        <p:sp>
          <p:nvSpPr>
            <p:cNvPr id="380" name="Ellipse 379">
              <a:extLst>
                <a:ext uri="{FF2B5EF4-FFF2-40B4-BE49-F238E27FC236}">
                  <a16:creationId xmlns:a16="http://schemas.microsoft.com/office/drawing/2014/main" id="{7572B2BF-7D26-4572-9AAE-89BBCA8E1BBE}"/>
                </a:ext>
              </a:extLst>
            </p:cNvPr>
            <p:cNvSpPr/>
            <p:nvPr/>
          </p:nvSpPr>
          <p:spPr>
            <a:xfrm>
              <a:off x="2350716" y="5176157"/>
              <a:ext cx="719997" cy="71999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fr-FR" sz="1350" dirty="0">
                <a:solidFill>
                  <a:prstClr val="white"/>
                </a:solidFill>
                <a:latin typeface="MAIF"/>
              </a:endParaRPr>
            </a:p>
          </p:txBody>
        </p:sp>
        <p:pic>
          <p:nvPicPr>
            <p:cNvPr id="381" name="Graphique 380">
              <a:extLst>
                <a:ext uri="{FF2B5EF4-FFF2-40B4-BE49-F238E27FC236}">
                  <a16:creationId xmlns:a16="http://schemas.microsoft.com/office/drawing/2014/main" id="{E98BCA4D-6528-4154-A886-72E6CBCDF01E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extLst>
                <a:ext uri="{96DAC541-7B7A-43D3-8B79-37D633B846F1}">
                  <asvg:svgBlip xmlns:asvg="http://schemas.microsoft.com/office/drawing/2016/SVG/main" r:embed="rId31"/>
                </a:ext>
              </a:extLst>
            </a:blip>
            <a:stretch>
              <a:fillRect/>
            </a:stretch>
          </p:blipFill>
          <p:spPr>
            <a:xfrm>
              <a:off x="2479196" y="5312951"/>
              <a:ext cx="464030" cy="446409"/>
            </a:xfrm>
            <a:prstGeom prst="rect">
              <a:avLst/>
            </a:prstGeom>
          </p:spPr>
        </p:pic>
      </p:grpSp>
      <p:grpSp>
        <p:nvGrpSpPr>
          <p:cNvPr id="309" name="Group 124">
            <a:extLst>
              <a:ext uri="{FF2B5EF4-FFF2-40B4-BE49-F238E27FC236}">
                <a16:creationId xmlns:a16="http://schemas.microsoft.com/office/drawing/2014/main" id="{2BCDE0F2-EAFE-47C9-AEA0-66CAFD2267AA}"/>
              </a:ext>
            </a:extLst>
          </p:cNvPr>
          <p:cNvGrpSpPr>
            <a:grpSpLocks/>
          </p:cNvGrpSpPr>
          <p:nvPr/>
        </p:nvGrpSpPr>
        <p:grpSpPr>
          <a:xfrm>
            <a:off x="2232185" y="2756986"/>
            <a:ext cx="673439" cy="673439"/>
            <a:chOff x="3319038" y="5176157"/>
            <a:chExt cx="719997" cy="719997"/>
          </a:xfrm>
        </p:grpSpPr>
        <p:sp>
          <p:nvSpPr>
            <p:cNvPr id="378" name="Ellipse 377">
              <a:extLst>
                <a:ext uri="{FF2B5EF4-FFF2-40B4-BE49-F238E27FC236}">
                  <a16:creationId xmlns:a16="http://schemas.microsoft.com/office/drawing/2014/main" id="{22649A39-CC10-4F0E-B3E9-41624739BE97}"/>
                </a:ext>
              </a:extLst>
            </p:cNvPr>
            <p:cNvSpPr/>
            <p:nvPr/>
          </p:nvSpPr>
          <p:spPr>
            <a:xfrm>
              <a:off x="3319038" y="5176157"/>
              <a:ext cx="719997" cy="71999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fr-FR" sz="1350" dirty="0">
                <a:solidFill>
                  <a:prstClr val="white"/>
                </a:solidFill>
                <a:latin typeface="MAIF"/>
              </a:endParaRPr>
            </a:p>
          </p:txBody>
        </p:sp>
        <p:pic>
          <p:nvPicPr>
            <p:cNvPr id="379" name="Graphique 378">
              <a:extLst>
                <a:ext uri="{FF2B5EF4-FFF2-40B4-BE49-F238E27FC236}">
                  <a16:creationId xmlns:a16="http://schemas.microsoft.com/office/drawing/2014/main" id="{0A57C10C-6A83-4291-B950-D09134761055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3447490" y="5368690"/>
              <a:ext cx="462523" cy="334930"/>
            </a:xfrm>
            <a:prstGeom prst="rect">
              <a:avLst/>
            </a:prstGeom>
          </p:spPr>
        </p:pic>
      </p:grpSp>
      <p:grpSp>
        <p:nvGrpSpPr>
          <p:cNvPr id="310" name="Groupe 309">
            <a:extLst>
              <a:ext uri="{FF2B5EF4-FFF2-40B4-BE49-F238E27FC236}">
                <a16:creationId xmlns:a16="http://schemas.microsoft.com/office/drawing/2014/main" id="{0CA66238-5689-4CED-9953-B798BB8C3ABC}"/>
              </a:ext>
            </a:extLst>
          </p:cNvPr>
          <p:cNvGrpSpPr/>
          <p:nvPr/>
        </p:nvGrpSpPr>
        <p:grpSpPr>
          <a:xfrm>
            <a:off x="5858488" y="2756986"/>
            <a:ext cx="673439" cy="673439"/>
            <a:chOff x="4287359" y="5176157"/>
            <a:chExt cx="719997" cy="719997"/>
          </a:xfrm>
        </p:grpSpPr>
        <p:sp>
          <p:nvSpPr>
            <p:cNvPr id="376" name="Ellipse 375">
              <a:extLst>
                <a:ext uri="{FF2B5EF4-FFF2-40B4-BE49-F238E27FC236}">
                  <a16:creationId xmlns:a16="http://schemas.microsoft.com/office/drawing/2014/main" id="{50060FF1-FE8E-40AD-8665-3871F02E1305}"/>
                </a:ext>
              </a:extLst>
            </p:cNvPr>
            <p:cNvSpPr/>
            <p:nvPr/>
          </p:nvSpPr>
          <p:spPr>
            <a:xfrm>
              <a:off x="4287359" y="5176157"/>
              <a:ext cx="719997" cy="71999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fr-FR" sz="1350" dirty="0">
                <a:solidFill>
                  <a:prstClr val="white"/>
                </a:solidFill>
                <a:latin typeface="MAIF"/>
              </a:endParaRPr>
            </a:p>
          </p:txBody>
        </p:sp>
        <p:pic>
          <p:nvPicPr>
            <p:cNvPr id="377" name="Graphique 376">
              <a:extLst>
                <a:ext uri="{FF2B5EF4-FFF2-40B4-BE49-F238E27FC236}">
                  <a16:creationId xmlns:a16="http://schemas.microsoft.com/office/drawing/2014/main" id="{CE9CCCFD-1FC5-4F01-9A42-AF7956C85A0A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tretch>
              <a:fillRect/>
            </a:stretch>
          </p:blipFill>
          <p:spPr>
            <a:xfrm>
              <a:off x="4458584" y="5304972"/>
              <a:ext cx="375443" cy="462366"/>
            </a:xfrm>
            <a:prstGeom prst="rect">
              <a:avLst/>
            </a:prstGeom>
          </p:spPr>
        </p:pic>
      </p:grpSp>
      <p:grpSp>
        <p:nvGrpSpPr>
          <p:cNvPr id="311" name="Groupe 310">
            <a:extLst>
              <a:ext uri="{FF2B5EF4-FFF2-40B4-BE49-F238E27FC236}">
                <a16:creationId xmlns:a16="http://schemas.microsoft.com/office/drawing/2014/main" id="{A8AE52CC-349E-4B8D-BA58-D439A15C3654}"/>
              </a:ext>
            </a:extLst>
          </p:cNvPr>
          <p:cNvGrpSpPr/>
          <p:nvPr/>
        </p:nvGrpSpPr>
        <p:grpSpPr>
          <a:xfrm>
            <a:off x="6772454" y="2756986"/>
            <a:ext cx="673439" cy="673439"/>
            <a:chOff x="5255681" y="5176157"/>
            <a:chExt cx="719997" cy="719997"/>
          </a:xfrm>
        </p:grpSpPr>
        <p:sp>
          <p:nvSpPr>
            <p:cNvPr id="374" name="Ellipse 373">
              <a:extLst>
                <a:ext uri="{FF2B5EF4-FFF2-40B4-BE49-F238E27FC236}">
                  <a16:creationId xmlns:a16="http://schemas.microsoft.com/office/drawing/2014/main" id="{DAA5963A-5F66-4713-80BD-0B7D454B3D0A}"/>
                </a:ext>
              </a:extLst>
            </p:cNvPr>
            <p:cNvSpPr/>
            <p:nvPr/>
          </p:nvSpPr>
          <p:spPr>
            <a:xfrm>
              <a:off x="5255681" y="5176157"/>
              <a:ext cx="719997" cy="71999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fr-FR" sz="1350" dirty="0">
                <a:solidFill>
                  <a:prstClr val="white"/>
                </a:solidFill>
                <a:latin typeface="MAIF"/>
              </a:endParaRPr>
            </a:p>
          </p:txBody>
        </p:sp>
        <p:pic>
          <p:nvPicPr>
            <p:cNvPr id="375" name="Graphique 374">
              <a:extLst>
                <a:ext uri="{FF2B5EF4-FFF2-40B4-BE49-F238E27FC236}">
                  <a16:creationId xmlns:a16="http://schemas.microsoft.com/office/drawing/2014/main" id="{D268D9B7-BE43-4A9C-84A3-071C800C3B5D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>
              <a:extLst>
                <a:ext uri="{96DAC541-7B7A-43D3-8B79-37D633B846F1}">
                  <asvg:svgBlip xmlns:asvg="http://schemas.microsoft.com/office/drawing/2016/SVG/main" r:embed="rId37"/>
                </a:ext>
              </a:extLst>
            </a:blip>
            <a:stretch>
              <a:fillRect/>
            </a:stretch>
          </p:blipFill>
          <p:spPr>
            <a:xfrm>
              <a:off x="5386964" y="5376599"/>
              <a:ext cx="463736" cy="319113"/>
            </a:xfrm>
            <a:prstGeom prst="rect">
              <a:avLst/>
            </a:prstGeom>
          </p:spPr>
        </p:pic>
      </p:grpSp>
      <p:grpSp>
        <p:nvGrpSpPr>
          <p:cNvPr id="312" name="Groupe 311">
            <a:extLst>
              <a:ext uri="{FF2B5EF4-FFF2-40B4-BE49-F238E27FC236}">
                <a16:creationId xmlns:a16="http://schemas.microsoft.com/office/drawing/2014/main" id="{51F5145D-A84E-4154-A723-4A11AD7DDD94}"/>
              </a:ext>
            </a:extLst>
          </p:cNvPr>
          <p:cNvGrpSpPr/>
          <p:nvPr/>
        </p:nvGrpSpPr>
        <p:grpSpPr>
          <a:xfrm>
            <a:off x="4041758" y="2756986"/>
            <a:ext cx="673439" cy="673439"/>
            <a:chOff x="6223999" y="5176157"/>
            <a:chExt cx="719997" cy="719997"/>
          </a:xfrm>
        </p:grpSpPr>
        <p:sp>
          <p:nvSpPr>
            <p:cNvPr id="372" name="Ellipse 371">
              <a:extLst>
                <a:ext uri="{FF2B5EF4-FFF2-40B4-BE49-F238E27FC236}">
                  <a16:creationId xmlns:a16="http://schemas.microsoft.com/office/drawing/2014/main" id="{84D6DE2B-85A0-418E-89B3-91CF48C63367}"/>
                </a:ext>
              </a:extLst>
            </p:cNvPr>
            <p:cNvSpPr/>
            <p:nvPr/>
          </p:nvSpPr>
          <p:spPr>
            <a:xfrm>
              <a:off x="6223999" y="5176157"/>
              <a:ext cx="719997" cy="71999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fr-FR" sz="1350" dirty="0">
                <a:solidFill>
                  <a:prstClr val="white"/>
                </a:solidFill>
                <a:latin typeface="MAIF"/>
              </a:endParaRPr>
            </a:p>
          </p:txBody>
        </p:sp>
        <p:pic>
          <p:nvPicPr>
            <p:cNvPr id="373" name="Graphique 372">
              <a:extLst>
                <a:ext uri="{FF2B5EF4-FFF2-40B4-BE49-F238E27FC236}">
                  <a16:creationId xmlns:a16="http://schemas.microsoft.com/office/drawing/2014/main" id="{96F5C76F-73EF-4563-BB7F-8AF6A508C6B2}"/>
                </a:ext>
              </a:extLst>
            </p:cNvPr>
            <p:cNvPicPr>
              <a:picLocks noChangeAspect="1"/>
            </p:cNvPicPr>
            <p:nvPr/>
          </p:nvPicPr>
          <p:blipFill>
            <a:blip r:embed="rId38">
              <a:extLst>
                <a:ext uri="{96DAC541-7B7A-43D3-8B79-37D633B846F1}">
                  <asvg:svgBlip xmlns:asvg="http://schemas.microsoft.com/office/drawing/2016/SVG/main" r:embed="rId39"/>
                </a:ext>
              </a:extLst>
            </a:blip>
            <a:stretch>
              <a:fillRect/>
            </a:stretch>
          </p:blipFill>
          <p:spPr>
            <a:xfrm>
              <a:off x="6350218" y="5361032"/>
              <a:ext cx="464919" cy="350247"/>
            </a:xfrm>
            <a:prstGeom prst="rect">
              <a:avLst/>
            </a:prstGeom>
          </p:spPr>
        </p:pic>
      </p:grpSp>
      <p:grpSp>
        <p:nvGrpSpPr>
          <p:cNvPr id="313" name="Groupe 312">
            <a:extLst>
              <a:ext uri="{FF2B5EF4-FFF2-40B4-BE49-F238E27FC236}">
                <a16:creationId xmlns:a16="http://schemas.microsoft.com/office/drawing/2014/main" id="{38D8A23D-694D-477B-BBD6-34212E430FEB}"/>
              </a:ext>
            </a:extLst>
          </p:cNvPr>
          <p:cNvGrpSpPr/>
          <p:nvPr/>
        </p:nvGrpSpPr>
        <p:grpSpPr>
          <a:xfrm>
            <a:off x="4958093" y="2756986"/>
            <a:ext cx="673439" cy="673439"/>
            <a:chOff x="7192321" y="5176157"/>
            <a:chExt cx="719997" cy="719997"/>
          </a:xfrm>
        </p:grpSpPr>
        <p:sp>
          <p:nvSpPr>
            <p:cNvPr id="370" name="Ellipse 369">
              <a:extLst>
                <a:ext uri="{FF2B5EF4-FFF2-40B4-BE49-F238E27FC236}">
                  <a16:creationId xmlns:a16="http://schemas.microsoft.com/office/drawing/2014/main" id="{194ACE72-A26D-42B5-80F0-F6CFC8E86CDF}"/>
                </a:ext>
              </a:extLst>
            </p:cNvPr>
            <p:cNvSpPr/>
            <p:nvPr/>
          </p:nvSpPr>
          <p:spPr>
            <a:xfrm>
              <a:off x="7192321" y="5176157"/>
              <a:ext cx="719997" cy="71999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fr-FR" sz="1350" dirty="0">
                <a:solidFill>
                  <a:prstClr val="white"/>
                </a:solidFill>
                <a:latin typeface="MAIF"/>
              </a:endParaRPr>
            </a:p>
          </p:txBody>
        </p:sp>
        <p:pic>
          <p:nvPicPr>
            <p:cNvPr id="371" name="Graphique 370">
              <a:extLst>
                <a:ext uri="{FF2B5EF4-FFF2-40B4-BE49-F238E27FC236}">
                  <a16:creationId xmlns:a16="http://schemas.microsoft.com/office/drawing/2014/main" id="{540CE0C8-716C-44C9-AB46-73D2539A456D}"/>
                </a:ext>
              </a:extLst>
            </p:cNvPr>
            <p:cNvPicPr>
              <a:picLocks noChangeAspect="1"/>
            </p:cNvPicPr>
            <p:nvPr/>
          </p:nvPicPr>
          <p:blipFill>
            <a:blip r:embed="rId40">
              <a:extLs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7326851" y="5309937"/>
              <a:ext cx="452437" cy="452437"/>
            </a:xfrm>
            <a:prstGeom prst="rect">
              <a:avLst/>
            </a:prstGeom>
          </p:spPr>
        </p:pic>
      </p:grpSp>
      <p:grpSp>
        <p:nvGrpSpPr>
          <p:cNvPr id="314" name="Groupe 313">
            <a:extLst>
              <a:ext uri="{FF2B5EF4-FFF2-40B4-BE49-F238E27FC236}">
                <a16:creationId xmlns:a16="http://schemas.microsoft.com/office/drawing/2014/main" id="{1783695C-264B-4214-A29A-EB7A7F6A5143}"/>
              </a:ext>
            </a:extLst>
          </p:cNvPr>
          <p:cNvGrpSpPr/>
          <p:nvPr/>
        </p:nvGrpSpPr>
        <p:grpSpPr>
          <a:xfrm>
            <a:off x="3138355" y="2756986"/>
            <a:ext cx="673439" cy="673439"/>
            <a:chOff x="8160639" y="5176157"/>
            <a:chExt cx="719997" cy="719997"/>
          </a:xfrm>
        </p:grpSpPr>
        <p:sp>
          <p:nvSpPr>
            <p:cNvPr id="368" name="Ellipse 367">
              <a:extLst>
                <a:ext uri="{FF2B5EF4-FFF2-40B4-BE49-F238E27FC236}">
                  <a16:creationId xmlns:a16="http://schemas.microsoft.com/office/drawing/2014/main" id="{1E4AC69D-6986-4A22-BF46-F17079928C7A}"/>
                </a:ext>
              </a:extLst>
            </p:cNvPr>
            <p:cNvSpPr/>
            <p:nvPr/>
          </p:nvSpPr>
          <p:spPr>
            <a:xfrm>
              <a:off x="8160639" y="5176157"/>
              <a:ext cx="719997" cy="71999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fr-FR" sz="1350" dirty="0">
                <a:solidFill>
                  <a:prstClr val="white"/>
                </a:solidFill>
                <a:latin typeface="MAIF"/>
              </a:endParaRPr>
            </a:p>
          </p:txBody>
        </p:sp>
        <p:pic>
          <p:nvPicPr>
            <p:cNvPr id="369" name="Graphique 368">
              <a:extLst>
                <a:ext uri="{FF2B5EF4-FFF2-40B4-BE49-F238E27FC236}">
                  <a16:creationId xmlns:a16="http://schemas.microsoft.com/office/drawing/2014/main" id="{4649BB6B-7B86-41BA-86D2-273842FFD7AC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>
              <a:extLs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8288668" y="5386930"/>
              <a:ext cx="461632" cy="298450"/>
            </a:xfrm>
            <a:prstGeom prst="rect">
              <a:avLst/>
            </a:prstGeom>
          </p:spPr>
        </p:pic>
      </p:grpSp>
      <p:grpSp>
        <p:nvGrpSpPr>
          <p:cNvPr id="315" name="Groupe 314">
            <a:extLst>
              <a:ext uri="{FF2B5EF4-FFF2-40B4-BE49-F238E27FC236}">
                <a16:creationId xmlns:a16="http://schemas.microsoft.com/office/drawing/2014/main" id="{BE0E7E06-5CF8-46E8-BB9C-46BC125A3208}"/>
              </a:ext>
            </a:extLst>
          </p:cNvPr>
          <p:cNvGrpSpPr/>
          <p:nvPr/>
        </p:nvGrpSpPr>
        <p:grpSpPr>
          <a:xfrm>
            <a:off x="8580068" y="2756986"/>
            <a:ext cx="673439" cy="673439"/>
            <a:chOff x="10097276" y="5176157"/>
            <a:chExt cx="719997" cy="719997"/>
          </a:xfrm>
        </p:grpSpPr>
        <p:sp>
          <p:nvSpPr>
            <p:cNvPr id="366" name="Ellipse 365">
              <a:extLst>
                <a:ext uri="{FF2B5EF4-FFF2-40B4-BE49-F238E27FC236}">
                  <a16:creationId xmlns:a16="http://schemas.microsoft.com/office/drawing/2014/main" id="{95B4769F-EB59-4BE2-9A6C-349220BF14DE}"/>
                </a:ext>
              </a:extLst>
            </p:cNvPr>
            <p:cNvSpPr/>
            <p:nvPr/>
          </p:nvSpPr>
          <p:spPr>
            <a:xfrm>
              <a:off x="10097276" y="5176157"/>
              <a:ext cx="719997" cy="71999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800"/>
              <a:endParaRPr lang="fr-FR" sz="1350" dirty="0">
                <a:solidFill>
                  <a:prstClr val="white"/>
                </a:solidFill>
                <a:latin typeface="MAIF"/>
              </a:endParaRPr>
            </a:p>
          </p:txBody>
        </p:sp>
        <p:pic>
          <p:nvPicPr>
            <p:cNvPr id="367" name="Graphique 366">
              <a:extLst>
                <a:ext uri="{FF2B5EF4-FFF2-40B4-BE49-F238E27FC236}">
                  <a16:creationId xmlns:a16="http://schemas.microsoft.com/office/drawing/2014/main" id="{2BBD9658-EA75-4B1E-B358-4A6F207F74E7}"/>
                </a:ext>
              </a:extLst>
            </p:cNvPr>
            <p:cNvPicPr>
              <a:picLocks noChangeAspect="1"/>
            </p:cNvPicPr>
            <p:nvPr/>
          </p:nvPicPr>
          <p:blipFill>
            <a:blip r:embed="rId44">
              <a:extLst>
                <a:ext uri="{96DAC541-7B7A-43D3-8B79-37D633B846F1}">
                  <asvg:svgBlip xmlns:asvg="http://schemas.microsoft.com/office/drawing/2016/SVG/main" r:embed="rId45"/>
                </a:ext>
              </a:extLst>
            </a:blip>
            <a:stretch>
              <a:fillRect/>
            </a:stretch>
          </p:blipFill>
          <p:spPr>
            <a:xfrm>
              <a:off x="10338861" y="5329661"/>
              <a:ext cx="235767" cy="412988"/>
            </a:xfrm>
            <a:prstGeom prst="rect">
              <a:avLst/>
            </a:prstGeom>
          </p:spPr>
        </p:pic>
      </p:grpSp>
      <p:grpSp>
        <p:nvGrpSpPr>
          <p:cNvPr id="316" name="Group 11">
            <a:extLst>
              <a:ext uri="{FF2B5EF4-FFF2-40B4-BE49-F238E27FC236}">
                <a16:creationId xmlns:a16="http://schemas.microsoft.com/office/drawing/2014/main" id="{0FC7CD87-5F67-47C9-8A88-998793695433}"/>
              </a:ext>
            </a:extLst>
          </p:cNvPr>
          <p:cNvGrpSpPr>
            <a:grpSpLocks/>
          </p:cNvGrpSpPr>
          <p:nvPr/>
        </p:nvGrpSpPr>
        <p:grpSpPr bwMode="auto">
          <a:xfrm>
            <a:off x="3138354" y="3656979"/>
            <a:ext cx="673441" cy="673441"/>
            <a:chOff x="1038" y="2510"/>
            <a:chExt cx="558" cy="558"/>
          </a:xfrm>
        </p:grpSpPr>
        <p:sp>
          <p:nvSpPr>
            <p:cNvPr id="362" name="Freeform 12">
              <a:extLst>
                <a:ext uri="{FF2B5EF4-FFF2-40B4-BE49-F238E27FC236}">
                  <a16:creationId xmlns:a16="http://schemas.microsoft.com/office/drawing/2014/main" id="{57CE9E70-6A8B-40DA-88B1-51FAAE6AC1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8" y="2510"/>
              <a:ext cx="558" cy="558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200 w 200"/>
                <a:gd name="T7" fmla="*/ 100 h 200"/>
                <a:gd name="T8" fmla="*/ 100 w 200"/>
                <a:gd name="T9" fmla="*/ 0 h 200"/>
                <a:gd name="T10" fmla="*/ 100 w 200"/>
                <a:gd name="T11" fmla="*/ 194 h 200"/>
                <a:gd name="T12" fmla="*/ 6 w 200"/>
                <a:gd name="T13" fmla="*/ 100 h 200"/>
                <a:gd name="T14" fmla="*/ 100 w 200"/>
                <a:gd name="T15" fmla="*/ 6 h 200"/>
                <a:gd name="T16" fmla="*/ 194 w 200"/>
                <a:gd name="T17" fmla="*/ 100 h 200"/>
                <a:gd name="T18" fmla="*/ 100 w 200"/>
                <a:gd name="T19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55" y="200"/>
                    <a:pt x="200" y="155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  <a:moveTo>
                    <a:pt x="100" y="194"/>
                  </a:moveTo>
                  <a:cubicBezTo>
                    <a:pt x="48" y="194"/>
                    <a:pt x="6" y="152"/>
                    <a:pt x="6" y="100"/>
                  </a:cubicBezTo>
                  <a:cubicBezTo>
                    <a:pt x="6" y="48"/>
                    <a:pt x="48" y="6"/>
                    <a:pt x="100" y="6"/>
                  </a:cubicBezTo>
                  <a:cubicBezTo>
                    <a:pt x="152" y="6"/>
                    <a:pt x="194" y="48"/>
                    <a:pt x="194" y="100"/>
                  </a:cubicBezTo>
                  <a:cubicBezTo>
                    <a:pt x="194" y="152"/>
                    <a:pt x="152" y="194"/>
                    <a:pt x="100" y="194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3" name="Line 13">
              <a:extLst>
                <a:ext uri="{FF2B5EF4-FFF2-40B4-BE49-F238E27FC236}">
                  <a16:creationId xmlns:a16="http://schemas.microsoft.com/office/drawing/2014/main" id="{ADAE9B83-0628-4E73-965D-C8EA0F6851D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9" y="2890"/>
              <a:ext cx="256" cy="0"/>
            </a:xfrm>
            <a:prstGeom prst="line">
              <a:avLst/>
            </a:prstGeom>
            <a:noFill/>
            <a:ln w="12700" cap="rnd">
              <a:solidFill>
                <a:srgbClr val="FC0D1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4" name="Oval 14">
              <a:extLst>
                <a:ext uri="{FF2B5EF4-FFF2-40B4-BE49-F238E27FC236}">
                  <a16:creationId xmlns:a16="http://schemas.microsoft.com/office/drawing/2014/main" id="{78D507B4-9C9F-4AF2-9EC7-9394A87463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7" y="2664"/>
              <a:ext cx="89" cy="86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5" name="Oval 15">
              <a:extLst>
                <a:ext uri="{FF2B5EF4-FFF2-40B4-BE49-F238E27FC236}">
                  <a16:creationId xmlns:a16="http://schemas.microsoft.com/office/drawing/2014/main" id="{F72B2EEC-F2F0-4FAC-8C42-3C8A9D384C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48" y="2664"/>
              <a:ext cx="89" cy="86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17" name="Group 18">
            <a:extLst>
              <a:ext uri="{FF2B5EF4-FFF2-40B4-BE49-F238E27FC236}">
                <a16:creationId xmlns:a16="http://schemas.microsoft.com/office/drawing/2014/main" id="{6D56A494-50A6-491A-ABE2-1B6AFB3EA016}"/>
              </a:ext>
            </a:extLst>
          </p:cNvPr>
          <p:cNvGrpSpPr>
            <a:grpSpLocks/>
          </p:cNvGrpSpPr>
          <p:nvPr/>
        </p:nvGrpSpPr>
        <p:grpSpPr bwMode="auto">
          <a:xfrm>
            <a:off x="2232185" y="4514140"/>
            <a:ext cx="673439" cy="673439"/>
            <a:chOff x="663" y="2579"/>
            <a:chExt cx="559" cy="558"/>
          </a:xfrm>
        </p:grpSpPr>
        <p:sp>
          <p:nvSpPr>
            <p:cNvPr id="358" name="Oval 19">
              <a:extLst>
                <a:ext uri="{FF2B5EF4-FFF2-40B4-BE49-F238E27FC236}">
                  <a16:creationId xmlns:a16="http://schemas.microsoft.com/office/drawing/2014/main" id="{43618454-FEB5-4E49-98BD-3D81C19D6E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3" y="2579"/>
              <a:ext cx="559" cy="558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9" name="Freeform 20">
              <a:extLst>
                <a:ext uri="{FF2B5EF4-FFF2-40B4-BE49-F238E27FC236}">
                  <a16:creationId xmlns:a16="http://schemas.microsoft.com/office/drawing/2014/main" id="{277D447C-CCA8-423F-A599-E98E88C21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" y="2947"/>
              <a:ext cx="257" cy="65"/>
            </a:xfrm>
            <a:custGeom>
              <a:avLst/>
              <a:gdLst>
                <a:gd name="T0" fmla="*/ 0 w 92"/>
                <a:gd name="T1" fmla="*/ 0 h 23"/>
                <a:gd name="T2" fmla="*/ 46 w 92"/>
                <a:gd name="T3" fmla="*/ 23 h 23"/>
                <a:gd name="T4" fmla="*/ 92 w 92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2" h="23">
                  <a:moveTo>
                    <a:pt x="0" y="0"/>
                  </a:moveTo>
                  <a:cubicBezTo>
                    <a:pt x="0" y="0"/>
                    <a:pt x="12" y="23"/>
                    <a:pt x="46" y="23"/>
                  </a:cubicBezTo>
                  <a:cubicBezTo>
                    <a:pt x="80" y="23"/>
                    <a:pt x="92" y="0"/>
                    <a:pt x="92" y="0"/>
                  </a:cubicBezTo>
                </a:path>
              </a:pathLst>
            </a:custGeom>
            <a:noFill/>
            <a:ln w="14288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0" name="Oval 21">
              <a:extLst>
                <a:ext uri="{FF2B5EF4-FFF2-40B4-BE49-F238E27FC236}">
                  <a16:creationId xmlns:a16="http://schemas.microsoft.com/office/drawing/2014/main" id="{4411C9F9-160E-47B4-BBA7-9BD3BBE088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2" y="2733"/>
              <a:ext cx="90" cy="8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1" name="Oval 22">
              <a:extLst>
                <a:ext uri="{FF2B5EF4-FFF2-40B4-BE49-F238E27FC236}">
                  <a16:creationId xmlns:a16="http://schemas.microsoft.com/office/drawing/2014/main" id="{FA993FB6-8459-4443-B1FF-A787FEE8C1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3" y="2733"/>
              <a:ext cx="90" cy="8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18" name="Group 25">
            <a:extLst>
              <a:ext uri="{FF2B5EF4-FFF2-40B4-BE49-F238E27FC236}">
                <a16:creationId xmlns:a16="http://schemas.microsoft.com/office/drawing/2014/main" id="{919E7496-6806-4F16-80B4-C25AE4A0C38E}"/>
              </a:ext>
            </a:extLst>
          </p:cNvPr>
          <p:cNvGrpSpPr>
            <a:grpSpLocks/>
          </p:cNvGrpSpPr>
          <p:nvPr/>
        </p:nvGrpSpPr>
        <p:grpSpPr bwMode="auto">
          <a:xfrm>
            <a:off x="2224537" y="3656979"/>
            <a:ext cx="681090" cy="668438"/>
            <a:chOff x="345" y="2228"/>
            <a:chExt cx="323" cy="317"/>
          </a:xfrm>
        </p:grpSpPr>
        <p:sp>
          <p:nvSpPr>
            <p:cNvPr id="354" name="Freeform 26">
              <a:extLst>
                <a:ext uri="{FF2B5EF4-FFF2-40B4-BE49-F238E27FC236}">
                  <a16:creationId xmlns:a16="http://schemas.microsoft.com/office/drawing/2014/main" id="{767C82D4-7E43-4DCC-9B7B-DBCF5AFE5B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5" y="2228"/>
              <a:ext cx="323" cy="317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200 w 200"/>
                <a:gd name="T7" fmla="*/ 100 h 200"/>
                <a:gd name="T8" fmla="*/ 100 w 200"/>
                <a:gd name="T9" fmla="*/ 0 h 200"/>
                <a:gd name="T10" fmla="*/ 100 w 200"/>
                <a:gd name="T11" fmla="*/ 194 h 200"/>
                <a:gd name="T12" fmla="*/ 6 w 200"/>
                <a:gd name="T13" fmla="*/ 100 h 200"/>
                <a:gd name="T14" fmla="*/ 100 w 200"/>
                <a:gd name="T15" fmla="*/ 6 h 200"/>
                <a:gd name="T16" fmla="*/ 194 w 200"/>
                <a:gd name="T17" fmla="*/ 100 h 200"/>
                <a:gd name="T18" fmla="*/ 100 w 200"/>
                <a:gd name="T19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55" y="200"/>
                    <a:pt x="200" y="155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  <a:moveTo>
                    <a:pt x="100" y="194"/>
                  </a:moveTo>
                  <a:cubicBezTo>
                    <a:pt x="48" y="194"/>
                    <a:pt x="6" y="152"/>
                    <a:pt x="6" y="100"/>
                  </a:cubicBezTo>
                  <a:cubicBezTo>
                    <a:pt x="6" y="48"/>
                    <a:pt x="48" y="6"/>
                    <a:pt x="100" y="6"/>
                  </a:cubicBezTo>
                  <a:cubicBezTo>
                    <a:pt x="152" y="6"/>
                    <a:pt x="194" y="48"/>
                    <a:pt x="194" y="100"/>
                  </a:cubicBezTo>
                  <a:cubicBezTo>
                    <a:pt x="194" y="152"/>
                    <a:pt x="152" y="194"/>
                    <a:pt x="100" y="194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5" name="Freeform 27">
              <a:extLst>
                <a:ext uri="{FF2B5EF4-FFF2-40B4-BE49-F238E27FC236}">
                  <a16:creationId xmlns:a16="http://schemas.microsoft.com/office/drawing/2014/main" id="{2A324FBF-2B3A-471F-AC15-C7D1DA179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" y="2437"/>
              <a:ext cx="149" cy="37"/>
            </a:xfrm>
            <a:custGeom>
              <a:avLst/>
              <a:gdLst>
                <a:gd name="T0" fmla="*/ 0 w 92"/>
                <a:gd name="T1" fmla="*/ 0 h 23"/>
                <a:gd name="T2" fmla="*/ 46 w 92"/>
                <a:gd name="T3" fmla="*/ 23 h 23"/>
                <a:gd name="T4" fmla="*/ 92 w 92"/>
                <a:gd name="T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2" h="23">
                  <a:moveTo>
                    <a:pt x="0" y="0"/>
                  </a:moveTo>
                  <a:cubicBezTo>
                    <a:pt x="0" y="0"/>
                    <a:pt x="12" y="23"/>
                    <a:pt x="46" y="23"/>
                  </a:cubicBezTo>
                  <a:cubicBezTo>
                    <a:pt x="80" y="23"/>
                    <a:pt x="92" y="0"/>
                    <a:pt x="92" y="0"/>
                  </a:cubicBezTo>
                </a:path>
              </a:pathLst>
            </a:custGeom>
            <a:noFill/>
            <a:ln w="7938" cap="rnd">
              <a:solidFill>
                <a:srgbClr val="FC0D1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6" name="Oval 28">
              <a:extLst>
                <a:ext uri="{FF2B5EF4-FFF2-40B4-BE49-F238E27FC236}">
                  <a16:creationId xmlns:a16="http://schemas.microsoft.com/office/drawing/2014/main" id="{A4955F31-63A5-4E01-9E99-4365259E1B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" y="2315"/>
              <a:ext cx="52" cy="49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7" name="Oval 29">
              <a:extLst>
                <a:ext uri="{FF2B5EF4-FFF2-40B4-BE49-F238E27FC236}">
                  <a16:creationId xmlns:a16="http://schemas.microsoft.com/office/drawing/2014/main" id="{0D1E41B6-A6C3-48AC-9233-656E1D745A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4" y="2315"/>
              <a:ext cx="52" cy="49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19" name="Group 35">
            <a:extLst>
              <a:ext uri="{FF2B5EF4-FFF2-40B4-BE49-F238E27FC236}">
                <a16:creationId xmlns:a16="http://schemas.microsoft.com/office/drawing/2014/main" id="{32A4CF5B-4099-4F84-942B-8269BA9DA6B7}"/>
              </a:ext>
            </a:extLst>
          </p:cNvPr>
          <p:cNvGrpSpPr>
            <a:grpSpLocks/>
          </p:cNvGrpSpPr>
          <p:nvPr/>
        </p:nvGrpSpPr>
        <p:grpSpPr bwMode="auto">
          <a:xfrm>
            <a:off x="415926" y="4519143"/>
            <a:ext cx="673439" cy="673439"/>
            <a:chOff x="315" y="2335"/>
            <a:chExt cx="323" cy="317"/>
          </a:xfrm>
        </p:grpSpPr>
        <p:sp>
          <p:nvSpPr>
            <p:cNvPr id="350" name="Oval 36">
              <a:extLst>
                <a:ext uri="{FF2B5EF4-FFF2-40B4-BE49-F238E27FC236}">
                  <a16:creationId xmlns:a16="http://schemas.microsoft.com/office/drawing/2014/main" id="{B967ADB0-4D7F-48AA-9A43-F44BD6D9F7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" y="2335"/>
              <a:ext cx="323" cy="317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1" name="Freeform 37">
              <a:extLst>
                <a:ext uri="{FF2B5EF4-FFF2-40B4-BE49-F238E27FC236}">
                  <a16:creationId xmlns:a16="http://schemas.microsoft.com/office/drawing/2014/main" id="{6078F440-54FA-4AC4-9AF6-92FFE77B8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" y="2473"/>
              <a:ext cx="54" cy="98"/>
            </a:xfrm>
            <a:custGeom>
              <a:avLst/>
              <a:gdLst>
                <a:gd name="T0" fmla="*/ 28 w 33"/>
                <a:gd name="T1" fmla="*/ 0 h 62"/>
                <a:gd name="T2" fmla="*/ 5 w 33"/>
                <a:gd name="T3" fmla="*/ 0 h 62"/>
                <a:gd name="T4" fmla="*/ 1 w 33"/>
                <a:gd name="T5" fmla="*/ 2 h 62"/>
                <a:gd name="T6" fmla="*/ 0 w 33"/>
                <a:gd name="T7" fmla="*/ 5 h 62"/>
                <a:gd name="T8" fmla="*/ 0 w 33"/>
                <a:gd name="T9" fmla="*/ 57 h 62"/>
                <a:gd name="T10" fmla="*/ 1 w 33"/>
                <a:gd name="T11" fmla="*/ 60 h 62"/>
                <a:gd name="T12" fmla="*/ 5 w 33"/>
                <a:gd name="T13" fmla="*/ 62 h 62"/>
                <a:gd name="T14" fmla="*/ 28 w 33"/>
                <a:gd name="T15" fmla="*/ 62 h 62"/>
                <a:gd name="T16" fmla="*/ 32 w 33"/>
                <a:gd name="T17" fmla="*/ 60 h 62"/>
                <a:gd name="T18" fmla="*/ 33 w 33"/>
                <a:gd name="T19" fmla="*/ 57 h 62"/>
                <a:gd name="T20" fmla="*/ 33 w 33"/>
                <a:gd name="T21" fmla="*/ 5 h 62"/>
                <a:gd name="T22" fmla="*/ 32 w 33"/>
                <a:gd name="T23" fmla="*/ 2 h 62"/>
                <a:gd name="T24" fmla="*/ 28 w 33"/>
                <a:gd name="T25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62">
                  <a:moveTo>
                    <a:pt x="28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1"/>
                    <a:pt x="1" y="2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8"/>
                    <a:pt x="0" y="59"/>
                    <a:pt x="1" y="60"/>
                  </a:cubicBezTo>
                  <a:cubicBezTo>
                    <a:pt x="2" y="61"/>
                    <a:pt x="4" y="62"/>
                    <a:pt x="5" y="62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30" y="62"/>
                    <a:pt x="31" y="61"/>
                    <a:pt x="32" y="60"/>
                  </a:cubicBezTo>
                  <a:cubicBezTo>
                    <a:pt x="33" y="59"/>
                    <a:pt x="33" y="58"/>
                    <a:pt x="33" y="57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3" y="4"/>
                    <a:pt x="33" y="3"/>
                    <a:pt x="32" y="2"/>
                  </a:cubicBezTo>
                  <a:cubicBezTo>
                    <a:pt x="31" y="1"/>
                    <a:pt x="30" y="0"/>
                    <a:pt x="2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2" name="Freeform 38">
              <a:extLst>
                <a:ext uri="{FF2B5EF4-FFF2-40B4-BE49-F238E27FC236}">
                  <a16:creationId xmlns:a16="http://schemas.microsoft.com/office/drawing/2014/main" id="{28BCB4BF-D1B6-40A1-ADF6-55C7D0C270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" y="2392"/>
              <a:ext cx="145" cy="195"/>
            </a:xfrm>
            <a:custGeom>
              <a:avLst/>
              <a:gdLst>
                <a:gd name="T0" fmla="*/ 85 w 90"/>
                <a:gd name="T1" fmla="*/ 46 h 123"/>
                <a:gd name="T2" fmla="*/ 75 w 90"/>
                <a:gd name="T3" fmla="*/ 41 h 123"/>
                <a:gd name="T4" fmla="*/ 52 w 90"/>
                <a:gd name="T5" fmla="*/ 41 h 123"/>
                <a:gd name="T6" fmla="*/ 53 w 90"/>
                <a:gd name="T7" fmla="*/ 39 h 123"/>
                <a:gd name="T8" fmla="*/ 54 w 90"/>
                <a:gd name="T9" fmla="*/ 37 h 123"/>
                <a:gd name="T10" fmla="*/ 55 w 90"/>
                <a:gd name="T11" fmla="*/ 36 h 123"/>
                <a:gd name="T12" fmla="*/ 57 w 90"/>
                <a:gd name="T13" fmla="*/ 31 h 123"/>
                <a:gd name="T14" fmla="*/ 59 w 90"/>
                <a:gd name="T15" fmla="*/ 27 h 123"/>
                <a:gd name="T16" fmla="*/ 59 w 90"/>
                <a:gd name="T17" fmla="*/ 20 h 123"/>
                <a:gd name="T18" fmla="*/ 59 w 90"/>
                <a:gd name="T19" fmla="*/ 17 h 123"/>
                <a:gd name="T20" fmla="*/ 59 w 90"/>
                <a:gd name="T21" fmla="*/ 14 h 123"/>
                <a:gd name="T22" fmla="*/ 58 w 90"/>
                <a:gd name="T23" fmla="*/ 10 h 123"/>
                <a:gd name="T24" fmla="*/ 56 w 90"/>
                <a:gd name="T25" fmla="*/ 6 h 123"/>
                <a:gd name="T26" fmla="*/ 53 w 90"/>
                <a:gd name="T27" fmla="*/ 3 h 123"/>
                <a:gd name="T28" fmla="*/ 48 w 90"/>
                <a:gd name="T29" fmla="*/ 1 h 123"/>
                <a:gd name="T30" fmla="*/ 41 w 90"/>
                <a:gd name="T31" fmla="*/ 0 h 123"/>
                <a:gd name="T32" fmla="*/ 38 w 90"/>
                <a:gd name="T33" fmla="*/ 2 h 123"/>
                <a:gd name="T34" fmla="*/ 35 w 90"/>
                <a:gd name="T35" fmla="*/ 6 h 123"/>
                <a:gd name="T36" fmla="*/ 33 w 90"/>
                <a:gd name="T37" fmla="*/ 10 h 123"/>
                <a:gd name="T38" fmla="*/ 32 w 90"/>
                <a:gd name="T39" fmla="*/ 15 h 123"/>
                <a:gd name="T40" fmla="*/ 31 w 90"/>
                <a:gd name="T41" fmla="*/ 19 h 123"/>
                <a:gd name="T42" fmla="*/ 30 w 90"/>
                <a:gd name="T43" fmla="*/ 23 h 123"/>
                <a:gd name="T44" fmla="*/ 27 w 90"/>
                <a:gd name="T45" fmla="*/ 27 h 123"/>
                <a:gd name="T46" fmla="*/ 19 w 90"/>
                <a:gd name="T47" fmla="*/ 37 h 123"/>
                <a:gd name="T48" fmla="*/ 11 w 90"/>
                <a:gd name="T49" fmla="*/ 46 h 123"/>
                <a:gd name="T50" fmla="*/ 5 w 90"/>
                <a:gd name="T51" fmla="*/ 51 h 123"/>
                <a:gd name="T52" fmla="*/ 2 w 90"/>
                <a:gd name="T53" fmla="*/ 53 h 123"/>
                <a:gd name="T54" fmla="*/ 0 w 90"/>
                <a:gd name="T55" fmla="*/ 56 h 123"/>
                <a:gd name="T56" fmla="*/ 0 w 90"/>
                <a:gd name="T57" fmla="*/ 108 h 123"/>
                <a:gd name="T58" fmla="*/ 2 w 90"/>
                <a:gd name="T59" fmla="*/ 111 h 123"/>
                <a:gd name="T60" fmla="*/ 5 w 90"/>
                <a:gd name="T61" fmla="*/ 113 h 123"/>
                <a:gd name="T62" fmla="*/ 18 w 90"/>
                <a:gd name="T63" fmla="*/ 116 h 123"/>
                <a:gd name="T64" fmla="*/ 28 w 90"/>
                <a:gd name="T65" fmla="*/ 119 h 123"/>
                <a:gd name="T66" fmla="*/ 38 w 90"/>
                <a:gd name="T67" fmla="*/ 122 h 123"/>
                <a:gd name="T68" fmla="*/ 49 w 90"/>
                <a:gd name="T69" fmla="*/ 123 h 123"/>
                <a:gd name="T70" fmla="*/ 59 w 90"/>
                <a:gd name="T71" fmla="*/ 123 h 123"/>
                <a:gd name="T72" fmla="*/ 75 w 90"/>
                <a:gd name="T73" fmla="*/ 117 h 123"/>
                <a:gd name="T74" fmla="*/ 79 w 90"/>
                <a:gd name="T75" fmla="*/ 102 h 123"/>
                <a:gd name="T76" fmla="*/ 83 w 90"/>
                <a:gd name="T77" fmla="*/ 95 h 123"/>
                <a:gd name="T78" fmla="*/ 83 w 90"/>
                <a:gd name="T79" fmla="*/ 85 h 123"/>
                <a:gd name="T80" fmla="*/ 87 w 90"/>
                <a:gd name="T81" fmla="*/ 74 h 123"/>
                <a:gd name="T82" fmla="*/ 86 w 90"/>
                <a:gd name="T83" fmla="*/ 68 h 123"/>
                <a:gd name="T84" fmla="*/ 90 w 90"/>
                <a:gd name="T85" fmla="*/ 56 h 123"/>
                <a:gd name="T86" fmla="*/ 85 w 90"/>
                <a:gd name="T87" fmla="*/ 4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0" h="123">
                  <a:moveTo>
                    <a:pt x="85" y="46"/>
                  </a:moveTo>
                  <a:cubicBezTo>
                    <a:pt x="82" y="42"/>
                    <a:pt x="79" y="41"/>
                    <a:pt x="75" y="41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53" y="40"/>
                    <a:pt x="53" y="40"/>
                    <a:pt x="53" y="39"/>
                  </a:cubicBezTo>
                  <a:cubicBezTo>
                    <a:pt x="53" y="39"/>
                    <a:pt x="54" y="38"/>
                    <a:pt x="54" y="37"/>
                  </a:cubicBezTo>
                  <a:cubicBezTo>
                    <a:pt x="54" y="37"/>
                    <a:pt x="55" y="36"/>
                    <a:pt x="55" y="36"/>
                  </a:cubicBezTo>
                  <a:cubicBezTo>
                    <a:pt x="56" y="34"/>
                    <a:pt x="56" y="33"/>
                    <a:pt x="57" y="31"/>
                  </a:cubicBezTo>
                  <a:cubicBezTo>
                    <a:pt x="58" y="30"/>
                    <a:pt x="58" y="29"/>
                    <a:pt x="59" y="27"/>
                  </a:cubicBezTo>
                  <a:cubicBezTo>
                    <a:pt x="59" y="25"/>
                    <a:pt x="59" y="23"/>
                    <a:pt x="59" y="20"/>
                  </a:cubicBezTo>
                  <a:cubicBezTo>
                    <a:pt x="59" y="19"/>
                    <a:pt x="59" y="18"/>
                    <a:pt x="59" y="17"/>
                  </a:cubicBezTo>
                  <a:cubicBezTo>
                    <a:pt x="59" y="17"/>
                    <a:pt x="59" y="15"/>
                    <a:pt x="59" y="14"/>
                  </a:cubicBezTo>
                  <a:cubicBezTo>
                    <a:pt x="59" y="12"/>
                    <a:pt x="58" y="11"/>
                    <a:pt x="58" y="10"/>
                  </a:cubicBezTo>
                  <a:cubicBezTo>
                    <a:pt x="57" y="9"/>
                    <a:pt x="57" y="7"/>
                    <a:pt x="56" y="6"/>
                  </a:cubicBezTo>
                  <a:cubicBezTo>
                    <a:pt x="55" y="5"/>
                    <a:pt x="54" y="4"/>
                    <a:pt x="53" y="3"/>
                  </a:cubicBezTo>
                  <a:cubicBezTo>
                    <a:pt x="51" y="2"/>
                    <a:pt x="50" y="1"/>
                    <a:pt x="48" y="1"/>
                  </a:cubicBezTo>
                  <a:cubicBezTo>
                    <a:pt x="46" y="0"/>
                    <a:pt x="44" y="0"/>
                    <a:pt x="41" y="0"/>
                  </a:cubicBezTo>
                  <a:cubicBezTo>
                    <a:pt x="40" y="0"/>
                    <a:pt x="39" y="1"/>
                    <a:pt x="38" y="2"/>
                  </a:cubicBezTo>
                  <a:cubicBezTo>
                    <a:pt x="37" y="3"/>
                    <a:pt x="36" y="4"/>
                    <a:pt x="35" y="6"/>
                  </a:cubicBezTo>
                  <a:cubicBezTo>
                    <a:pt x="34" y="7"/>
                    <a:pt x="34" y="9"/>
                    <a:pt x="33" y="10"/>
                  </a:cubicBezTo>
                  <a:cubicBezTo>
                    <a:pt x="33" y="11"/>
                    <a:pt x="33" y="12"/>
                    <a:pt x="32" y="15"/>
                  </a:cubicBezTo>
                  <a:cubicBezTo>
                    <a:pt x="32" y="17"/>
                    <a:pt x="32" y="18"/>
                    <a:pt x="31" y="19"/>
                  </a:cubicBezTo>
                  <a:cubicBezTo>
                    <a:pt x="31" y="20"/>
                    <a:pt x="31" y="22"/>
                    <a:pt x="30" y="23"/>
                  </a:cubicBezTo>
                  <a:cubicBezTo>
                    <a:pt x="29" y="25"/>
                    <a:pt x="28" y="26"/>
                    <a:pt x="27" y="27"/>
                  </a:cubicBezTo>
                  <a:cubicBezTo>
                    <a:pt x="26" y="29"/>
                    <a:pt x="23" y="32"/>
                    <a:pt x="19" y="37"/>
                  </a:cubicBezTo>
                  <a:cubicBezTo>
                    <a:pt x="17" y="40"/>
                    <a:pt x="14" y="43"/>
                    <a:pt x="11" y="46"/>
                  </a:cubicBezTo>
                  <a:cubicBezTo>
                    <a:pt x="9" y="49"/>
                    <a:pt x="7" y="51"/>
                    <a:pt x="5" y="51"/>
                  </a:cubicBezTo>
                  <a:cubicBezTo>
                    <a:pt x="4" y="51"/>
                    <a:pt x="3" y="52"/>
                    <a:pt x="2" y="53"/>
                  </a:cubicBezTo>
                  <a:cubicBezTo>
                    <a:pt x="1" y="54"/>
                    <a:pt x="0" y="55"/>
                    <a:pt x="0" y="56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09"/>
                    <a:pt x="1" y="110"/>
                    <a:pt x="2" y="111"/>
                  </a:cubicBezTo>
                  <a:cubicBezTo>
                    <a:pt x="3" y="112"/>
                    <a:pt x="4" y="113"/>
                    <a:pt x="5" y="113"/>
                  </a:cubicBezTo>
                  <a:cubicBezTo>
                    <a:pt x="7" y="113"/>
                    <a:pt x="12" y="114"/>
                    <a:pt x="18" y="116"/>
                  </a:cubicBezTo>
                  <a:cubicBezTo>
                    <a:pt x="22" y="118"/>
                    <a:pt x="25" y="119"/>
                    <a:pt x="28" y="119"/>
                  </a:cubicBezTo>
                  <a:cubicBezTo>
                    <a:pt x="30" y="120"/>
                    <a:pt x="33" y="121"/>
                    <a:pt x="38" y="122"/>
                  </a:cubicBezTo>
                  <a:cubicBezTo>
                    <a:pt x="42" y="123"/>
                    <a:pt x="46" y="123"/>
                    <a:pt x="49" y="123"/>
                  </a:cubicBezTo>
                  <a:cubicBezTo>
                    <a:pt x="59" y="123"/>
                    <a:pt x="59" y="123"/>
                    <a:pt x="59" y="123"/>
                  </a:cubicBezTo>
                  <a:cubicBezTo>
                    <a:pt x="66" y="123"/>
                    <a:pt x="72" y="121"/>
                    <a:pt x="75" y="117"/>
                  </a:cubicBezTo>
                  <a:cubicBezTo>
                    <a:pt x="78" y="113"/>
                    <a:pt x="80" y="108"/>
                    <a:pt x="79" y="102"/>
                  </a:cubicBezTo>
                  <a:cubicBezTo>
                    <a:pt x="81" y="100"/>
                    <a:pt x="83" y="98"/>
                    <a:pt x="83" y="95"/>
                  </a:cubicBezTo>
                  <a:cubicBezTo>
                    <a:pt x="84" y="91"/>
                    <a:pt x="84" y="88"/>
                    <a:pt x="83" y="85"/>
                  </a:cubicBezTo>
                  <a:cubicBezTo>
                    <a:pt x="86" y="82"/>
                    <a:pt x="87" y="78"/>
                    <a:pt x="87" y="74"/>
                  </a:cubicBezTo>
                  <a:cubicBezTo>
                    <a:pt x="87" y="73"/>
                    <a:pt x="86" y="71"/>
                    <a:pt x="86" y="68"/>
                  </a:cubicBezTo>
                  <a:cubicBezTo>
                    <a:pt x="89" y="65"/>
                    <a:pt x="90" y="61"/>
                    <a:pt x="90" y="56"/>
                  </a:cubicBezTo>
                  <a:cubicBezTo>
                    <a:pt x="90" y="52"/>
                    <a:pt x="88" y="49"/>
                    <a:pt x="85" y="4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3" name="Freeform 39">
              <a:extLst>
                <a:ext uri="{FF2B5EF4-FFF2-40B4-BE49-F238E27FC236}">
                  <a16:creationId xmlns:a16="http://schemas.microsoft.com/office/drawing/2014/main" id="{8B232FD7-B04C-43B2-A278-FA9A1DEED8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" y="2538"/>
              <a:ext cx="16" cy="16"/>
            </a:xfrm>
            <a:custGeom>
              <a:avLst/>
              <a:gdLst>
                <a:gd name="T0" fmla="*/ 5 w 10"/>
                <a:gd name="T1" fmla="*/ 3 h 10"/>
                <a:gd name="T2" fmla="*/ 6 w 10"/>
                <a:gd name="T3" fmla="*/ 5 h 10"/>
                <a:gd name="T4" fmla="*/ 5 w 10"/>
                <a:gd name="T5" fmla="*/ 7 h 10"/>
                <a:gd name="T6" fmla="*/ 3 w 10"/>
                <a:gd name="T7" fmla="*/ 5 h 10"/>
                <a:gd name="T8" fmla="*/ 5 w 10"/>
                <a:gd name="T9" fmla="*/ 3 h 10"/>
                <a:gd name="T10" fmla="*/ 5 w 10"/>
                <a:gd name="T11" fmla="*/ 0 h 10"/>
                <a:gd name="T12" fmla="*/ 0 w 10"/>
                <a:gd name="T13" fmla="*/ 5 h 10"/>
                <a:gd name="T14" fmla="*/ 5 w 10"/>
                <a:gd name="T15" fmla="*/ 10 h 10"/>
                <a:gd name="T16" fmla="*/ 10 w 10"/>
                <a:gd name="T17" fmla="*/ 5 h 10"/>
                <a:gd name="T18" fmla="*/ 5 w 10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5" y="3"/>
                  </a:moveTo>
                  <a:cubicBezTo>
                    <a:pt x="6" y="3"/>
                    <a:pt x="6" y="4"/>
                    <a:pt x="6" y="5"/>
                  </a:cubicBezTo>
                  <a:cubicBezTo>
                    <a:pt x="6" y="6"/>
                    <a:pt x="6" y="7"/>
                    <a:pt x="5" y="7"/>
                  </a:cubicBezTo>
                  <a:cubicBezTo>
                    <a:pt x="4" y="7"/>
                    <a:pt x="3" y="6"/>
                    <a:pt x="3" y="5"/>
                  </a:cubicBezTo>
                  <a:cubicBezTo>
                    <a:pt x="3" y="4"/>
                    <a:pt x="4" y="3"/>
                    <a:pt x="5" y="3"/>
                  </a:cubicBezTo>
                  <a:moveTo>
                    <a:pt x="5" y="0"/>
                  </a:moveTo>
                  <a:cubicBezTo>
                    <a:pt x="2" y="0"/>
                    <a:pt x="0" y="3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7" y="10"/>
                    <a:pt x="10" y="8"/>
                    <a:pt x="10" y="5"/>
                  </a:cubicBezTo>
                  <a:cubicBezTo>
                    <a:pt x="10" y="3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E31F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20" name="Group 42">
            <a:extLst>
              <a:ext uri="{FF2B5EF4-FFF2-40B4-BE49-F238E27FC236}">
                <a16:creationId xmlns:a16="http://schemas.microsoft.com/office/drawing/2014/main" id="{0C098CE9-619A-4B07-A24C-399AB1189538}"/>
              </a:ext>
            </a:extLst>
          </p:cNvPr>
          <p:cNvGrpSpPr>
            <a:grpSpLocks/>
          </p:cNvGrpSpPr>
          <p:nvPr/>
        </p:nvGrpSpPr>
        <p:grpSpPr bwMode="auto">
          <a:xfrm>
            <a:off x="415927" y="3656979"/>
            <a:ext cx="681090" cy="668438"/>
            <a:chOff x="2602" y="1879"/>
            <a:chExt cx="323" cy="318"/>
          </a:xfrm>
        </p:grpSpPr>
        <p:sp>
          <p:nvSpPr>
            <p:cNvPr id="346" name="Freeform 43">
              <a:extLst>
                <a:ext uri="{FF2B5EF4-FFF2-40B4-BE49-F238E27FC236}">
                  <a16:creationId xmlns:a16="http://schemas.microsoft.com/office/drawing/2014/main" id="{BAA4A06E-9B87-4402-B578-7BA396FF9F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2" y="1879"/>
              <a:ext cx="323" cy="318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200 w 200"/>
                <a:gd name="T7" fmla="*/ 100 h 200"/>
                <a:gd name="T8" fmla="*/ 100 w 200"/>
                <a:gd name="T9" fmla="*/ 0 h 200"/>
                <a:gd name="T10" fmla="*/ 100 w 200"/>
                <a:gd name="T11" fmla="*/ 194 h 200"/>
                <a:gd name="T12" fmla="*/ 6 w 200"/>
                <a:gd name="T13" fmla="*/ 100 h 200"/>
                <a:gd name="T14" fmla="*/ 100 w 200"/>
                <a:gd name="T15" fmla="*/ 6 h 200"/>
                <a:gd name="T16" fmla="*/ 194 w 200"/>
                <a:gd name="T17" fmla="*/ 100 h 200"/>
                <a:gd name="T18" fmla="*/ 100 w 200"/>
                <a:gd name="T19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55" y="200"/>
                    <a:pt x="200" y="155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  <a:moveTo>
                    <a:pt x="100" y="194"/>
                  </a:moveTo>
                  <a:cubicBezTo>
                    <a:pt x="48" y="194"/>
                    <a:pt x="6" y="152"/>
                    <a:pt x="6" y="100"/>
                  </a:cubicBezTo>
                  <a:cubicBezTo>
                    <a:pt x="6" y="48"/>
                    <a:pt x="48" y="6"/>
                    <a:pt x="100" y="6"/>
                  </a:cubicBezTo>
                  <a:cubicBezTo>
                    <a:pt x="152" y="6"/>
                    <a:pt x="194" y="48"/>
                    <a:pt x="194" y="100"/>
                  </a:cubicBezTo>
                  <a:cubicBezTo>
                    <a:pt x="194" y="152"/>
                    <a:pt x="152" y="194"/>
                    <a:pt x="100" y="194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7" name="Freeform 44">
              <a:extLst>
                <a:ext uri="{FF2B5EF4-FFF2-40B4-BE49-F238E27FC236}">
                  <a16:creationId xmlns:a16="http://schemas.microsoft.com/office/drawing/2014/main" id="{46F0C749-271F-4CFC-8F37-BCEA07DE4A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60" y="2017"/>
              <a:ext cx="54" cy="99"/>
            </a:xfrm>
            <a:custGeom>
              <a:avLst/>
              <a:gdLst>
                <a:gd name="T0" fmla="*/ 27 w 33"/>
                <a:gd name="T1" fmla="*/ 6 h 62"/>
                <a:gd name="T2" fmla="*/ 27 w 33"/>
                <a:gd name="T3" fmla="*/ 56 h 62"/>
                <a:gd name="T4" fmla="*/ 6 w 33"/>
                <a:gd name="T5" fmla="*/ 56 h 62"/>
                <a:gd name="T6" fmla="*/ 6 w 33"/>
                <a:gd name="T7" fmla="*/ 6 h 62"/>
                <a:gd name="T8" fmla="*/ 27 w 33"/>
                <a:gd name="T9" fmla="*/ 6 h 62"/>
                <a:gd name="T10" fmla="*/ 28 w 33"/>
                <a:gd name="T11" fmla="*/ 0 h 62"/>
                <a:gd name="T12" fmla="*/ 5 w 33"/>
                <a:gd name="T13" fmla="*/ 0 h 62"/>
                <a:gd name="T14" fmla="*/ 1 w 33"/>
                <a:gd name="T15" fmla="*/ 2 h 62"/>
                <a:gd name="T16" fmla="*/ 0 w 33"/>
                <a:gd name="T17" fmla="*/ 5 h 62"/>
                <a:gd name="T18" fmla="*/ 0 w 33"/>
                <a:gd name="T19" fmla="*/ 57 h 62"/>
                <a:gd name="T20" fmla="*/ 1 w 33"/>
                <a:gd name="T21" fmla="*/ 60 h 62"/>
                <a:gd name="T22" fmla="*/ 5 w 33"/>
                <a:gd name="T23" fmla="*/ 62 h 62"/>
                <a:gd name="T24" fmla="*/ 28 w 33"/>
                <a:gd name="T25" fmla="*/ 62 h 62"/>
                <a:gd name="T26" fmla="*/ 32 w 33"/>
                <a:gd name="T27" fmla="*/ 60 h 62"/>
                <a:gd name="T28" fmla="*/ 33 w 33"/>
                <a:gd name="T29" fmla="*/ 57 h 62"/>
                <a:gd name="T30" fmla="*/ 33 w 33"/>
                <a:gd name="T31" fmla="*/ 5 h 62"/>
                <a:gd name="T32" fmla="*/ 32 w 33"/>
                <a:gd name="T33" fmla="*/ 2 h 62"/>
                <a:gd name="T34" fmla="*/ 28 w 33"/>
                <a:gd name="T35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" h="62">
                  <a:moveTo>
                    <a:pt x="27" y="6"/>
                  </a:moveTo>
                  <a:cubicBezTo>
                    <a:pt x="27" y="56"/>
                    <a:pt x="27" y="56"/>
                    <a:pt x="27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27" y="6"/>
                    <a:pt x="27" y="6"/>
                    <a:pt x="27" y="6"/>
                  </a:cubicBezTo>
                  <a:moveTo>
                    <a:pt x="28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1"/>
                    <a:pt x="1" y="2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8"/>
                    <a:pt x="0" y="59"/>
                    <a:pt x="1" y="60"/>
                  </a:cubicBezTo>
                  <a:cubicBezTo>
                    <a:pt x="2" y="61"/>
                    <a:pt x="4" y="62"/>
                    <a:pt x="5" y="62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30" y="62"/>
                    <a:pt x="31" y="61"/>
                    <a:pt x="32" y="60"/>
                  </a:cubicBezTo>
                  <a:cubicBezTo>
                    <a:pt x="33" y="59"/>
                    <a:pt x="33" y="58"/>
                    <a:pt x="33" y="57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3" y="4"/>
                    <a:pt x="33" y="3"/>
                    <a:pt x="32" y="2"/>
                  </a:cubicBezTo>
                  <a:cubicBezTo>
                    <a:pt x="31" y="1"/>
                    <a:pt x="30" y="0"/>
                    <a:pt x="28" y="0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8" name="Freeform 45">
              <a:extLst>
                <a:ext uri="{FF2B5EF4-FFF2-40B4-BE49-F238E27FC236}">
                  <a16:creationId xmlns:a16="http://schemas.microsoft.com/office/drawing/2014/main" id="{B2BE396F-BE78-402A-AC0C-8D5EF34BBF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22" y="1936"/>
              <a:ext cx="145" cy="196"/>
            </a:xfrm>
            <a:custGeom>
              <a:avLst/>
              <a:gdLst>
                <a:gd name="T0" fmla="*/ 46 w 90"/>
                <a:gd name="T1" fmla="*/ 7 h 123"/>
                <a:gd name="T2" fmla="*/ 51 w 90"/>
                <a:gd name="T3" fmla="*/ 9 h 123"/>
                <a:gd name="T4" fmla="*/ 53 w 90"/>
                <a:gd name="T5" fmla="*/ 15 h 123"/>
                <a:gd name="T6" fmla="*/ 53 w 90"/>
                <a:gd name="T7" fmla="*/ 20 h 123"/>
                <a:gd name="T8" fmla="*/ 51 w 90"/>
                <a:gd name="T9" fmla="*/ 29 h 123"/>
                <a:gd name="T10" fmla="*/ 49 w 90"/>
                <a:gd name="T11" fmla="*/ 34 h 123"/>
                <a:gd name="T12" fmla="*/ 47 w 90"/>
                <a:gd name="T13" fmla="*/ 39 h 123"/>
                <a:gd name="T14" fmla="*/ 52 w 90"/>
                <a:gd name="T15" fmla="*/ 47 h 123"/>
                <a:gd name="T16" fmla="*/ 81 w 90"/>
                <a:gd name="T17" fmla="*/ 50 h 123"/>
                <a:gd name="T18" fmla="*/ 81 w 90"/>
                <a:gd name="T19" fmla="*/ 64 h 123"/>
                <a:gd name="T20" fmla="*/ 80 w 90"/>
                <a:gd name="T21" fmla="*/ 70 h 123"/>
                <a:gd name="T22" fmla="*/ 81 w 90"/>
                <a:gd name="T23" fmla="*/ 74 h 123"/>
                <a:gd name="T24" fmla="*/ 79 w 90"/>
                <a:gd name="T25" fmla="*/ 82 h 123"/>
                <a:gd name="T26" fmla="*/ 78 w 90"/>
                <a:gd name="T27" fmla="*/ 87 h 123"/>
                <a:gd name="T28" fmla="*/ 75 w 90"/>
                <a:gd name="T29" fmla="*/ 98 h 123"/>
                <a:gd name="T30" fmla="*/ 73 w 90"/>
                <a:gd name="T31" fmla="*/ 103 h 123"/>
                <a:gd name="T32" fmla="*/ 59 w 90"/>
                <a:gd name="T33" fmla="*/ 117 h 123"/>
                <a:gd name="T34" fmla="*/ 39 w 90"/>
                <a:gd name="T35" fmla="*/ 116 h 123"/>
                <a:gd name="T36" fmla="*/ 20 w 90"/>
                <a:gd name="T37" fmla="*/ 111 h 123"/>
                <a:gd name="T38" fmla="*/ 6 w 90"/>
                <a:gd name="T39" fmla="*/ 57 h 123"/>
                <a:gd name="T40" fmla="*/ 24 w 90"/>
                <a:gd name="T41" fmla="*/ 40 h 123"/>
                <a:gd name="T42" fmla="*/ 35 w 90"/>
                <a:gd name="T43" fmla="*/ 26 h 123"/>
                <a:gd name="T44" fmla="*/ 38 w 90"/>
                <a:gd name="T45" fmla="*/ 16 h 123"/>
                <a:gd name="T46" fmla="*/ 40 w 90"/>
                <a:gd name="T47" fmla="*/ 8 h 123"/>
                <a:gd name="T48" fmla="*/ 41 w 90"/>
                <a:gd name="T49" fmla="*/ 0 h 123"/>
                <a:gd name="T50" fmla="*/ 35 w 90"/>
                <a:gd name="T51" fmla="*/ 6 h 123"/>
                <a:gd name="T52" fmla="*/ 32 w 90"/>
                <a:gd name="T53" fmla="*/ 15 h 123"/>
                <a:gd name="T54" fmla="*/ 30 w 90"/>
                <a:gd name="T55" fmla="*/ 23 h 123"/>
                <a:gd name="T56" fmla="*/ 19 w 90"/>
                <a:gd name="T57" fmla="*/ 37 h 123"/>
                <a:gd name="T58" fmla="*/ 5 w 90"/>
                <a:gd name="T59" fmla="*/ 51 h 123"/>
                <a:gd name="T60" fmla="*/ 0 w 90"/>
                <a:gd name="T61" fmla="*/ 56 h 123"/>
                <a:gd name="T62" fmla="*/ 2 w 90"/>
                <a:gd name="T63" fmla="*/ 111 h 123"/>
                <a:gd name="T64" fmla="*/ 18 w 90"/>
                <a:gd name="T65" fmla="*/ 116 h 123"/>
                <a:gd name="T66" fmla="*/ 38 w 90"/>
                <a:gd name="T67" fmla="*/ 122 h 123"/>
                <a:gd name="T68" fmla="*/ 59 w 90"/>
                <a:gd name="T69" fmla="*/ 123 h 123"/>
                <a:gd name="T70" fmla="*/ 79 w 90"/>
                <a:gd name="T71" fmla="*/ 102 h 123"/>
                <a:gd name="T72" fmla="*/ 83 w 90"/>
                <a:gd name="T73" fmla="*/ 85 h 123"/>
                <a:gd name="T74" fmla="*/ 86 w 90"/>
                <a:gd name="T75" fmla="*/ 68 h 123"/>
                <a:gd name="T76" fmla="*/ 85 w 90"/>
                <a:gd name="T77" fmla="*/ 46 h 123"/>
                <a:gd name="T78" fmla="*/ 52 w 90"/>
                <a:gd name="T79" fmla="*/ 41 h 123"/>
                <a:gd name="T80" fmla="*/ 54 w 90"/>
                <a:gd name="T81" fmla="*/ 37 h 123"/>
                <a:gd name="T82" fmla="*/ 57 w 90"/>
                <a:gd name="T83" fmla="*/ 31 h 123"/>
                <a:gd name="T84" fmla="*/ 59 w 90"/>
                <a:gd name="T85" fmla="*/ 20 h 123"/>
                <a:gd name="T86" fmla="*/ 59 w 90"/>
                <a:gd name="T87" fmla="*/ 14 h 123"/>
                <a:gd name="T88" fmla="*/ 56 w 90"/>
                <a:gd name="T89" fmla="*/ 6 h 123"/>
                <a:gd name="T90" fmla="*/ 48 w 90"/>
                <a:gd name="T91" fmla="*/ 1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0" h="123">
                  <a:moveTo>
                    <a:pt x="42" y="6"/>
                  </a:moveTo>
                  <a:cubicBezTo>
                    <a:pt x="43" y="6"/>
                    <a:pt x="45" y="6"/>
                    <a:pt x="46" y="7"/>
                  </a:cubicBezTo>
                  <a:cubicBezTo>
                    <a:pt x="48" y="7"/>
                    <a:pt x="49" y="8"/>
                    <a:pt x="49" y="8"/>
                  </a:cubicBezTo>
                  <a:cubicBezTo>
                    <a:pt x="50" y="8"/>
                    <a:pt x="51" y="9"/>
                    <a:pt x="51" y="9"/>
                  </a:cubicBezTo>
                  <a:cubicBezTo>
                    <a:pt x="52" y="11"/>
                    <a:pt x="52" y="11"/>
                    <a:pt x="52" y="12"/>
                  </a:cubicBezTo>
                  <a:cubicBezTo>
                    <a:pt x="52" y="12"/>
                    <a:pt x="53" y="13"/>
                    <a:pt x="53" y="15"/>
                  </a:cubicBezTo>
                  <a:cubicBezTo>
                    <a:pt x="53" y="17"/>
                    <a:pt x="53" y="17"/>
                    <a:pt x="53" y="18"/>
                  </a:cubicBezTo>
                  <a:cubicBezTo>
                    <a:pt x="53" y="18"/>
                    <a:pt x="53" y="19"/>
                    <a:pt x="53" y="20"/>
                  </a:cubicBezTo>
                  <a:cubicBezTo>
                    <a:pt x="53" y="22"/>
                    <a:pt x="53" y="24"/>
                    <a:pt x="53" y="25"/>
                  </a:cubicBezTo>
                  <a:cubicBezTo>
                    <a:pt x="52" y="27"/>
                    <a:pt x="52" y="28"/>
                    <a:pt x="51" y="29"/>
                  </a:cubicBezTo>
                  <a:cubicBezTo>
                    <a:pt x="51" y="30"/>
                    <a:pt x="50" y="31"/>
                    <a:pt x="49" y="33"/>
                  </a:cubicBezTo>
                  <a:cubicBezTo>
                    <a:pt x="49" y="33"/>
                    <a:pt x="49" y="34"/>
                    <a:pt x="49" y="34"/>
                  </a:cubicBezTo>
                  <a:cubicBezTo>
                    <a:pt x="48" y="35"/>
                    <a:pt x="48" y="36"/>
                    <a:pt x="48" y="37"/>
                  </a:cubicBezTo>
                  <a:cubicBezTo>
                    <a:pt x="47" y="38"/>
                    <a:pt x="47" y="38"/>
                    <a:pt x="47" y="39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52" y="47"/>
                    <a:pt x="52" y="47"/>
                    <a:pt x="52" y="47"/>
                  </a:cubicBezTo>
                  <a:cubicBezTo>
                    <a:pt x="75" y="47"/>
                    <a:pt x="75" y="47"/>
                    <a:pt x="75" y="47"/>
                  </a:cubicBezTo>
                  <a:cubicBezTo>
                    <a:pt x="77" y="47"/>
                    <a:pt x="79" y="48"/>
                    <a:pt x="81" y="50"/>
                  </a:cubicBezTo>
                  <a:cubicBezTo>
                    <a:pt x="83" y="52"/>
                    <a:pt x="84" y="54"/>
                    <a:pt x="84" y="56"/>
                  </a:cubicBezTo>
                  <a:cubicBezTo>
                    <a:pt x="84" y="59"/>
                    <a:pt x="83" y="62"/>
                    <a:pt x="81" y="6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80" y="70"/>
                    <a:pt x="80" y="70"/>
                    <a:pt x="80" y="70"/>
                  </a:cubicBezTo>
                  <a:cubicBezTo>
                    <a:pt x="81" y="72"/>
                    <a:pt x="81" y="74"/>
                    <a:pt x="81" y="74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81" y="75"/>
                    <a:pt x="81" y="75"/>
                    <a:pt x="81" y="75"/>
                  </a:cubicBezTo>
                  <a:cubicBezTo>
                    <a:pt x="81" y="77"/>
                    <a:pt x="80" y="80"/>
                    <a:pt x="79" y="82"/>
                  </a:cubicBezTo>
                  <a:cubicBezTo>
                    <a:pt x="77" y="84"/>
                    <a:pt x="77" y="84"/>
                    <a:pt x="77" y="84"/>
                  </a:cubicBezTo>
                  <a:cubicBezTo>
                    <a:pt x="78" y="87"/>
                    <a:pt x="78" y="87"/>
                    <a:pt x="78" y="87"/>
                  </a:cubicBezTo>
                  <a:cubicBezTo>
                    <a:pt x="78" y="89"/>
                    <a:pt x="78" y="91"/>
                    <a:pt x="78" y="93"/>
                  </a:cubicBezTo>
                  <a:cubicBezTo>
                    <a:pt x="77" y="95"/>
                    <a:pt x="76" y="97"/>
                    <a:pt x="75" y="98"/>
                  </a:cubicBezTo>
                  <a:cubicBezTo>
                    <a:pt x="73" y="100"/>
                    <a:pt x="73" y="100"/>
                    <a:pt x="73" y="100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3" y="107"/>
                    <a:pt x="73" y="110"/>
                    <a:pt x="71" y="113"/>
                  </a:cubicBezTo>
                  <a:cubicBezTo>
                    <a:pt x="68" y="115"/>
                    <a:pt x="65" y="117"/>
                    <a:pt x="59" y="117"/>
                  </a:cubicBezTo>
                  <a:cubicBezTo>
                    <a:pt x="49" y="117"/>
                    <a:pt x="49" y="117"/>
                    <a:pt x="49" y="117"/>
                  </a:cubicBezTo>
                  <a:cubicBezTo>
                    <a:pt x="46" y="117"/>
                    <a:pt x="42" y="117"/>
                    <a:pt x="39" y="116"/>
                  </a:cubicBezTo>
                  <a:cubicBezTo>
                    <a:pt x="35" y="115"/>
                    <a:pt x="32" y="114"/>
                    <a:pt x="30" y="114"/>
                  </a:cubicBezTo>
                  <a:cubicBezTo>
                    <a:pt x="27" y="113"/>
                    <a:pt x="24" y="112"/>
                    <a:pt x="20" y="111"/>
                  </a:cubicBezTo>
                  <a:cubicBezTo>
                    <a:pt x="12" y="108"/>
                    <a:pt x="8" y="107"/>
                    <a:pt x="6" y="107"/>
                  </a:cubicBezTo>
                  <a:cubicBezTo>
                    <a:pt x="6" y="57"/>
                    <a:pt x="6" y="57"/>
                    <a:pt x="6" y="57"/>
                  </a:cubicBezTo>
                  <a:cubicBezTo>
                    <a:pt x="9" y="57"/>
                    <a:pt x="12" y="55"/>
                    <a:pt x="16" y="50"/>
                  </a:cubicBezTo>
                  <a:cubicBezTo>
                    <a:pt x="19" y="47"/>
                    <a:pt x="21" y="44"/>
                    <a:pt x="24" y="40"/>
                  </a:cubicBezTo>
                  <a:cubicBezTo>
                    <a:pt x="28" y="36"/>
                    <a:pt x="30" y="33"/>
                    <a:pt x="32" y="31"/>
                  </a:cubicBezTo>
                  <a:cubicBezTo>
                    <a:pt x="33" y="30"/>
                    <a:pt x="34" y="28"/>
                    <a:pt x="35" y="26"/>
                  </a:cubicBezTo>
                  <a:cubicBezTo>
                    <a:pt x="36" y="24"/>
                    <a:pt x="37" y="22"/>
                    <a:pt x="37" y="21"/>
                  </a:cubicBezTo>
                  <a:cubicBezTo>
                    <a:pt x="37" y="20"/>
                    <a:pt x="38" y="18"/>
                    <a:pt x="38" y="16"/>
                  </a:cubicBezTo>
                  <a:cubicBezTo>
                    <a:pt x="39" y="14"/>
                    <a:pt x="39" y="12"/>
                    <a:pt x="39" y="11"/>
                  </a:cubicBezTo>
                  <a:cubicBezTo>
                    <a:pt x="39" y="11"/>
                    <a:pt x="40" y="10"/>
                    <a:pt x="40" y="8"/>
                  </a:cubicBezTo>
                  <a:cubicBezTo>
                    <a:pt x="41" y="7"/>
                    <a:pt x="41" y="7"/>
                    <a:pt x="42" y="6"/>
                  </a:cubicBezTo>
                  <a:moveTo>
                    <a:pt x="41" y="0"/>
                  </a:moveTo>
                  <a:cubicBezTo>
                    <a:pt x="40" y="0"/>
                    <a:pt x="39" y="1"/>
                    <a:pt x="38" y="2"/>
                  </a:cubicBezTo>
                  <a:cubicBezTo>
                    <a:pt x="37" y="3"/>
                    <a:pt x="36" y="4"/>
                    <a:pt x="35" y="6"/>
                  </a:cubicBezTo>
                  <a:cubicBezTo>
                    <a:pt x="34" y="7"/>
                    <a:pt x="34" y="9"/>
                    <a:pt x="33" y="10"/>
                  </a:cubicBezTo>
                  <a:cubicBezTo>
                    <a:pt x="33" y="11"/>
                    <a:pt x="33" y="12"/>
                    <a:pt x="32" y="15"/>
                  </a:cubicBezTo>
                  <a:cubicBezTo>
                    <a:pt x="32" y="17"/>
                    <a:pt x="32" y="18"/>
                    <a:pt x="31" y="19"/>
                  </a:cubicBezTo>
                  <a:cubicBezTo>
                    <a:pt x="31" y="20"/>
                    <a:pt x="31" y="22"/>
                    <a:pt x="30" y="23"/>
                  </a:cubicBezTo>
                  <a:cubicBezTo>
                    <a:pt x="29" y="25"/>
                    <a:pt x="28" y="26"/>
                    <a:pt x="27" y="27"/>
                  </a:cubicBezTo>
                  <a:cubicBezTo>
                    <a:pt x="26" y="29"/>
                    <a:pt x="23" y="32"/>
                    <a:pt x="19" y="37"/>
                  </a:cubicBezTo>
                  <a:cubicBezTo>
                    <a:pt x="17" y="40"/>
                    <a:pt x="14" y="43"/>
                    <a:pt x="11" y="46"/>
                  </a:cubicBezTo>
                  <a:cubicBezTo>
                    <a:pt x="9" y="49"/>
                    <a:pt x="7" y="51"/>
                    <a:pt x="5" y="51"/>
                  </a:cubicBezTo>
                  <a:cubicBezTo>
                    <a:pt x="4" y="51"/>
                    <a:pt x="3" y="52"/>
                    <a:pt x="2" y="53"/>
                  </a:cubicBezTo>
                  <a:cubicBezTo>
                    <a:pt x="1" y="54"/>
                    <a:pt x="0" y="55"/>
                    <a:pt x="0" y="56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09"/>
                    <a:pt x="1" y="110"/>
                    <a:pt x="2" y="111"/>
                  </a:cubicBezTo>
                  <a:cubicBezTo>
                    <a:pt x="3" y="112"/>
                    <a:pt x="4" y="113"/>
                    <a:pt x="5" y="113"/>
                  </a:cubicBezTo>
                  <a:cubicBezTo>
                    <a:pt x="7" y="113"/>
                    <a:pt x="12" y="114"/>
                    <a:pt x="18" y="116"/>
                  </a:cubicBezTo>
                  <a:cubicBezTo>
                    <a:pt x="22" y="118"/>
                    <a:pt x="25" y="119"/>
                    <a:pt x="28" y="119"/>
                  </a:cubicBezTo>
                  <a:cubicBezTo>
                    <a:pt x="30" y="120"/>
                    <a:pt x="33" y="121"/>
                    <a:pt x="38" y="122"/>
                  </a:cubicBezTo>
                  <a:cubicBezTo>
                    <a:pt x="42" y="123"/>
                    <a:pt x="46" y="123"/>
                    <a:pt x="49" y="123"/>
                  </a:cubicBezTo>
                  <a:cubicBezTo>
                    <a:pt x="59" y="123"/>
                    <a:pt x="59" y="123"/>
                    <a:pt x="59" y="123"/>
                  </a:cubicBezTo>
                  <a:cubicBezTo>
                    <a:pt x="66" y="123"/>
                    <a:pt x="72" y="121"/>
                    <a:pt x="75" y="117"/>
                  </a:cubicBezTo>
                  <a:cubicBezTo>
                    <a:pt x="78" y="113"/>
                    <a:pt x="80" y="108"/>
                    <a:pt x="79" y="102"/>
                  </a:cubicBezTo>
                  <a:cubicBezTo>
                    <a:pt x="81" y="100"/>
                    <a:pt x="83" y="98"/>
                    <a:pt x="83" y="95"/>
                  </a:cubicBezTo>
                  <a:cubicBezTo>
                    <a:pt x="84" y="91"/>
                    <a:pt x="84" y="88"/>
                    <a:pt x="83" y="85"/>
                  </a:cubicBezTo>
                  <a:cubicBezTo>
                    <a:pt x="86" y="82"/>
                    <a:pt x="87" y="78"/>
                    <a:pt x="87" y="74"/>
                  </a:cubicBezTo>
                  <a:cubicBezTo>
                    <a:pt x="87" y="73"/>
                    <a:pt x="86" y="71"/>
                    <a:pt x="86" y="68"/>
                  </a:cubicBezTo>
                  <a:cubicBezTo>
                    <a:pt x="89" y="65"/>
                    <a:pt x="90" y="61"/>
                    <a:pt x="90" y="56"/>
                  </a:cubicBezTo>
                  <a:cubicBezTo>
                    <a:pt x="90" y="52"/>
                    <a:pt x="88" y="49"/>
                    <a:pt x="85" y="46"/>
                  </a:cubicBezTo>
                  <a:cubicBezTo>
                    <a:pt x="82" y="42"/>
                    <a:pt x="79" y="41"/>
                    <a:pt x="75" y="41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53" y="40"/>
                    <a:pt x="53" y="40"/>
                    <a:pt x="53" y="39"/>
                  </a:cubicBezTo>
                  <a:cubicBezTo>
                    <a:pt x="53" y="39"/>
                    <a:pt x="54" y="38"/>
                    <a:pt x="54" y="37"/>
                  </a:cubicBezTo>
                  <a:cubicBezTo>
                    <a:pt x="54" y="37"/>
                    <a:pt x="55" y="36"/>
                    <a:pt x="55" y="36"/>
                  </a:cubicBezTo>
                  <a:cubicBezTo>
                    <a:pt x="56" y="34"/>
                    <a:pt x="56" y="33"/>
                    <a:pt x="57" y="31"/>
                  </a:cubicBezTo>
                  <a:cubicBezTo>
                    <a:pt x="58" y="30"/>
                    <a:pt x="58" y="29"/>
                    <a:pt x="59" y="27"/>
                  </a:cubicBezTo>
                  <a:cubicBezTo>
                    <a:pt x="59" y="25"/>
                    <a:pt x="59" y="23"/>
                    <a:pt x="59" y="20"/>
                  </a:cubicBezTo>
                  <a:cubicBezTo>
                    <a:pt x="59" y="19"/>
                    <a:pt x="59" y="18"/>
                    <a:pt x="59" y="17"/>
                  </a:cubicBezTo>
                  <a:cubicBezTo>
                    <a:pt x="59" y="17"/>
                    <a:pt x="59" y="15"/>
                    <a:pt x="59" y="14"/>
                  </a:cubicBezTo>
                  <a:cubicBezTo>
                    <a:pt x="59" y="12"/>
                    <a:pt x="58" y="11"/>
                    <a:pt x="58" y="10"/>
                  </a:cubicBezTo>
                  <a:cubicBezTo>
                    <a:pt x="57" y="9"/>
                    <a:pt x="57" y="7"/>
                    <a:pt x="56" y="6"/>
                  </a:cubicBezTo>
                  <a:cubicBezTo>
                    <a:pt x="55" y="5"/>
                    <a:pt x="54" y="4"/>
                    <a:pt x="53" y="3"/>
                  </a:cubicBezTo>
                  <a:cubicBezTo>
                    <a:pt x="51" y="2"/>
                    <a:pt x="50" y="1"/>
                    <a:pt x="48" y="1"/>
                  </a:cubicBezTo>
                  <a:cubicBezTo>
                    <a:pt x="46" y="0"/>
                    <a:pt x="44" y="0"/>
                    <a:pt x="41" y="0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9" name="Freeform 46">
              <a:extLst>
                <a:ext uri="{FF2B5EF4-FFF2-40B4-BE49-F238E27FC236}">
                  <a16:creationId xmlns:a16="http://schemas.microsoft.com/office/drawing/2014/main" id="{B17E1086-24C4-4ADC-9C89-7C4C59449D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0" y="2083"/>
              <a:ext cx="16" cy="16"/>
            </a:xfrm>
            <a:custGeom>
              <a:avLst/>
              <a:gdLst>
                <a:gd name="T0" fmla="*/ 5 w 10"/>
                <a:gd name="T1" fmla="*/ 3 h 10"/>
                <a:gd name="T2" fmla="*/ 6 w 10"/>
                <a:gd name="T3" fmla="*/ 5 h 10"/>
                <a:gd name="T4" fmla="*/ 5 w 10"/>
                <a:gd name="T5" fmla="*/ 7 h 10"/>
                <a:gd name="T6" fmla="*/ 3 w 10"/>
                <a:gd name="T7" fmla="*/ 5 h 10"/>
                <a:gd name="T8" fmla="*/ 5 w 10"/>
                <a:gd name="T9" fmla="*/ 3 h 10"/>
                <a:gd name="T10" fmla="*/ 5 w 10"/>
                <a:gd name="T11" fmla="*/ 0 h 10"/>
                <a:gd name="T12" fmla="*/ 0 w 10"/>
                <a:gd name="T13" fmla="*/ 5 h 10"/>
                <a:gd name="T14" fmla="*/ 5 w 10"/>
                <a:gd name="T15" fmla="*/ 10 h 10"/>
                <a:gd name="T16" fmla="*/ 10 w 10"/>
                <a:gd name="T17" fmla="*/ 5 h 10"/>
                <a:gd name="T18" fmla="*/ 5 w 10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5" y="3"/>
                  </a:moveTo>
                  <a:cubicBezTo>
                    <a:pt x="6" y="3"/>
                    <a:pt x="6" y="4"/>
                    <a:pt x="6" y="5"/>
                  </a:cubicBezTo>
                  <a:cubicBezTo>
                    <a:pt x="6" y="6"/>
                    <a:pt x="6" y="7"/>
                    <a:pt x="5" y="7"/>
                  </a:cubicBezTo>
                  <a:cubicBezTo>
                    <a:pt x="4" y="7"/>
                    <a:pt x="3" y="6"/>
                    <a:pt x="3" y="5"/>
                  </a:cubicBezTo>
                  <a:cubicBezTo>
                    <a:pt x="3" y="4"/>
                    <a:pt x="4" y="3"/>
                    <a:pt x="5" y="3"/>
                  </a:cubicBezTo>
                  <a:moveTo>
                    <a:pt x="5" y="0"/>
                  </a:moveTo>
                  <a:cubicBezTo>
                    <a:pt x="2" y="0"/>
                    <a:pt x="0" y="3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7" y="10"/>
                    <a:pt x="10" y="8"/>
                    <a:pt x="10" y="5"/>
                  </a:cubicBezTo>
                  <a:cubicBezTo>
                    <a:pt x="10" y="3"/>
                    <a:pt x="7" y="0"/>
                    <a:pt x="5" y="0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21" name="Group 49">
            <a:extLst>
              <a:ext uri="{FF2B5EF4-FFF2-40B4-BE49-F238E27FC236}">
                <a16:creationId xmlns:a16="http://schemas.microsoft.com/office/drawing/2014/main" id="{16D61BA1-E5CD-45B0-B0A7-7653FAE2D375}"/>
              </a:ext>
            </a:extLst>
          </p:cNvPr>
          <p:cNvGrpSpPr>
            <a:grpSpLocks/>
          </p:cNvGrpSpPr>
          <p:nvPr/>
        </p:nvGrpSpPr>
        <p:grpSpPr bwMode="auto">
          <a:xfrm>
            <a:off x="1321633" y="4519143"/>
            <a:ext cx="673439" cy="673439"/>
            <a:chOff x="497" y="2250"/>
            <a:chExt cx="558" cy="558"/>
          </a:xfrm>
        </p:grpSpPr>
        <p:sp>
          <p:nvSpPr>
            <p:cNvPr id="342" name="Oval 50">
              <a:extLst>
                <a:ext uri="{FF2B5EF4-FFF2-40B4-BE49-F238E27FC236}">
                  <a16:creationId xmlns:a16="http://schemas.microsoft.com/office/drawing/2014/main" id="{F64F1C2E-B62C-441D-B348-9041BCAED3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" y="2250"/>
              <a:ext cx="558" cy="558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3" name="Freeform 51">
              <a:extLst>
                <a:ext uri="{FF2B5EF4-FFF2-40B4-BE49-F238E27FC236}">
                  <a16:creationId xmlns:a16="http://schemas.microsoft.com/office/drawing/2014/main" id="{B35C4388-631C-479B-95D5-772653ACF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" y="2392"/>
              <a:ext cx="92" cy="173"/>
            </a:xfrm>
            <a:custGeom>
              <a:avLst/>
              <a:gdLst>
                <a:gd name="T0" fmla="*/ 5 w 33"/>
                <a:gd name="T1" fmla="*/ 62 h 62"/>
                <a:gd name="T2" fmla="*/ 28 w 33"/>
                <a:gd name="T3" fmla="*/ 62 h 62"/>
                <a:gd name="T4" fmla="*/ 31 w 33"/>
                <a:gd name="T5" fmla="*/ 60 h 62"/>
                <a:gd name="T6" fmla="*/ 33 w 33"/>
                <a:gd name="T7" fmla="*/ 57 h 62"/>
                <a:gd name="T8" fmla="*/ 33 w 33"/>
                <a:gd name="T9" fmla="*/ 5 h 62"/>
                <a:gd name="T10" fmla="*/ 31 w 33"/>
                <a:gd name="T11" fmla="*/ 2 h 62"/>
                <a:gd name="T12" fmla="*/ 28 w 33"/>
                <a:gd name="T13" fmla="*/ 0 h 62"/>
                <a:gd name="T14" fmla="*/ 5 w 33"/>
                <a:gd name="T15" fmla="*/ 0 h 62"/>
                <a:gd name="T16" fmla="*/ 1 w 33"/>
                <a:gd name="T17" fmla="*/ 2 h 62"/>
                <a:gd name="T18" fmla="*/ 0 w 33"/>
                <a:gd name="T19" fmla="*/ 5 h 62"/>
                <a:gd name="T20" fmla="*/ 0 w 33"/>
                <a:gd name="T21" fmla="*/ 57 h 62"/>
                <a:gd name="T22" fmla="*/ 1 w 33"/>
                <a:gd name="T23" fmla="*/ 60 h 62"/>
                <a:gd name="T24" fmla="*/ 5 w 33"/>
                <a:gd name="T25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62">
                  <a:moveTo>
                    <a:pt x="5" y="62"/>
                  </a:moveTo>
                  <a:cubicBezTo>
                    <a:pt x="28" y="62"/>
                    <a:pt x="28" y="62"/>
                    <a:pt x="28" y="62"/>
                  </a:cubicBezTo>
                  <a:cubicBezTo>
                    <a:pt x="29" y="62"/>
                    <a:pt x="30" y="61"/>
                    <a:pt x="31" y="60"/>
                  </a:cubicBezTo>
                  <a:cubicBezTo>
                    <a:pt x="32" y="59"/>
                    <a:pt x="33" y="58"/>
                    <a:pt x="33" y="57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3" y="4"/>
                    <a:pt x="32" y="3"/>
                    <a:pt x="31" y="2"/>
                  </a:cubicBezTo>
                  <a:cubicBezTo>
                    <a:pt x="30" y="1"/>
                    <a:pt x="29" y="0"/>
                    <a:pt x="28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1"/>
                    <a:pt x="1" y="2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8"/>
                    <a:pt x="0" y="59"/>
                    <a:pt x="1" y="60"/>
                  </a:cubicBezTo>
                  <a:cubicBezTo>
                    <a:pt x="2" y="61"/>
                    <a:pt x="3" y="62"/>
                    <a:pt x="5" y="6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4" name="Freeform 52">
              <a:extLst>
                <a:ext uri="{FF2B5EF4-FFF2-40B4-BE49-F238E27FC236}">
                  <a16:creationId xmlns:a16="http://schemas.microsoft.com/office/drawing/2014/main" id="{24AE4D5A-FCFF-4EC5-BA26-5C8C477B4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" y="2364"/>
              <a:ext cx="250" cy="344"/>
            </a:xfrm>
            <a:custGeom>
              <a:avLst/>
              <a:gdLst>
                <a:gd name="T0" fmla="*/ 5 w 90"/>
                <a:gd name="T1" fmla="*/ 77 h 123"/>
                <a:gd name="T2" fmla="*/ 15 w 90"/>
                <a:gd name="T3" fmla="*/ 82 h 123"/>
                <a:gd name="T4" fmla="*/ 37 w 90"/>
                <a:gd name="T5" fmla="*/ 82 h 123"/>
                <a:gd name="T6" fmla="*/ 37 w 90"/>
                <a:gd name="T7" fmla="*/ 84 h 123"/>
                <a:gd name="T8" fmla="*/ 36 w 90"/>
                <a:gd name="T9" fmla="*/ 86 h 123"/>
                <a:gd name="T10" fmla="*/ 35 w 90"/>
                <a:gd name="T11" fmla="*/ 87 h 123"/>
                <a:gd name="T12" fmla="*/ 33 w 90"/>
                <a:gd name="T13" fmla="*/ 92 h 123"/>
                <a:gd name="T14" fmla="*/ 31 w 90"/>
                <a:gd name="T15" fmla="*/ 96 h 123"/>
                <a:gd name="T16" fmla="*/ 31 w 90"/>
                <a:gd name="T17" fmla="*/ 103 h 123"/>
                <a:gd name="T18" fmla="*/ 31 w 90"/>
                <a:gd name="T19" fmla="*/ 106 h 123"/>
                <a:gd name="T20" fmla="*/ 31 w 90"/>
                <a:gd name="T21" fmla="*/ 109 h 123"/>
                <a:gd name="T22" fmla="*/ 32 w 90"/>
                <a:gd name="T23" fmla="*/ 113 h 123"/>
                <a:gd name="T24" fmla="*/ 34 w 90"/>
                <a:gd name="T25" fmla="*/ 117 h 123"/>
                <a:gd name="T26" fmla="*/ 37 w 90"/>
                <a:gd name="T27" fmla="*/ 120 h 123"/>
                <a:gd name="T28" fmla="*/ 42 w 90"/>
                <a:gd name="T29" fmla="*/ 122 h 123"/>
                <a:gd name="T30" fmla="*/ 49 w 90"/>
                <a:gd name="T31" fmla="*/ 123 h 123"/>
                <a:gd name="T32" fmla="*/ 52 w 90"/>
                <a:gd name="T33" fmla="*/ 121 h 123"/>
                <a:gd name="T34" fmla="*/ 55 w 90"/>
                <a:gd name="T35" fmla="*/ 117 h 123"/>
                <a:gd name="T36" fmla="*/ 56 w 90"/>
                <a:gd name="T37" fmla="*/ 113 h 123"/>
                <a:gd name="T38" fmla="*/ 57 w 90"/>
                <a:gd name="T39" fmla="*/ 108 h 123"/>
                <a:gd name="T40" fmla="*/ 59 w 90"/>
                <a:gd name="T41" fmla="*/ 104 h 123"/>
                <a:gd name="T42" fmla="*/ 60 w 90"/>
                <a:gd name="T43" fmla="*/ 100 h 123"/>
                <a:gd name="T44" fmla="*/ 62 w 90"/>
                <a:gd name="T45" fmla="*/ 96 h 123"/>
                <a:gd name="T46" fmla="*/ 71 w 90"/>
                <a:gd name="T47" fmla="*/ 86 h 123"/>
                <a:gd name="T48" fmla="*/ 79 w 90"/>
                <a:gd name="T49" fmla="*/ 77 h 123"/>
                <a:gd name="T50" fmla="*/ 85 w 90"/>
                <a:gd name="T51" fmla="*/ 72 h 123"/>
                <a:gd name="T52" fmla="*/ 88 w 90"/>
                <a:gd name="T53" fmla="*/ 70 h 123"/>
                <a:gd name="T54" fmla="*/ 90 w 90"/>
                <a:gd name="T55" fmla="*/ 67 h 123"/>
                <a:gd name="T56" fmla="*/ 90 w 90"/>
                <a:gd name="T57" fmla="*/ 15 h 123"/>
                <a:gd name="T58" fmla="*/ 88 w 90"/>
                <a:gd name="T59" fmla="*/ 12 h 123"/>
                <a:gd name="T60" fmla="*/ 84 w 90"/>
                <a:gd name="T61" fmla="*/ 10 h 123"/>
                <a:gd name="T62" fmla="*/ 72 w 90"/>
                <a:gd name="T63" fmla="*/ 7 h 123"/>
                <a:gd name="T64" fmla="*/ 62 w 90"/>
                <a:gd name="T65" fmla="*/ 4 h 123"/>
                <a:gd name="T66" fmla="*/ 52 w 90"/>
                <a:gd name="T67" fmla="*/ 1 h 123"/>
                <a:gd name="T68" fmla="*/ 41 w 90"/>
                <a:gd name="T69" fmla="*/ 0 h 123"/>
                <a:gd name="T70" fmla="*/ 31 w 90"/>
                <a:gd name="T71" fmla="*/ 0 h 123"/>
                <a:gd name="T72" fmla="*/ 15 w 90"/>
                <a:gd name="T73" fmla="*/ 6 h 123"/>
                <a:gd name="T74" fmla="*/ 11 w 90"/>
                <a:gd name="T75" fmla="*/ 21 h 123"/>
                <a:gd name="T76" fmla="*/ 7 w 90"/>
                <a:gd name="T77" fmla="*/ 28 h 123"/>
                <a:gd name="T78" fmla="*/ 7 w 90"/>
                <a:gd name="T79" fmla="*/ 38 h 123"/>
                <a:gd name="T80" fmla="*/ 3 w 90"/>
                <a:gd name="T81" fmla="*/ 49 h 123"/>
                <a:gd name="T82" fmla="*/ 4 w 90"/>
                <a:gd name="T83" fmla="*/ 55 h 123"/>
                <a:gd name="T84" fmla="*/ 0 w 90"/>
                <a:gd name="T85" fmla="*/ 67 h 123"/>
                <a:gd name="T86" fmla="*/ 5 w 90"/>
                <a:gd name="T87" fmla="*/ 77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0" h="123">
                  <a:moveTo>
                    <a:pt x="5" y="77"/>
                  </a:moveTo>
                  <a:cubicBezTo>
                    <a:pt x="8" y="81"/>
                    <a:pt x="11" y="82"/>
                    <a:pt x="15" y="82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37" y="83"/>
                    <a:pt x="37" y="83"/>
                    <a:pt x="37" y="84"/>
                  </a:cubicBezTo>
                  <a:cubicBezTo>
                    <a:pt x="37" y="84"/>
                    <a:pt x="36" y="85"/>
                    <a:pt x="36" y="86"/>
                  </a:cubicBezTo>
                  <a:cubicBezTo>
                    <a:pt x="36" y="86"/>
                    <a:pt x="35" y="87"/>
                    <a:pt x="35" y="87"/>
                  </a:cubicBezTo>
                  <a:cubicBezTo>
                    <a:pt x="34" y="89"/>
                    <a:pt x="33" y="90"/>
                    <a:pt x="33" y="92"/>
                  </a:cubicBezTo>
                  <a:cubicBezTo>
                    <a:pt x="32" y="93"/>
                    <a:pt x="32" y="94"/>
                    <a:pt x="31" y="96"/>
                  </a:cubicBezTo>
                  <a:cubicBezTo>
                    <a:pt x="31" y="98"/>
                    <a:pt x="31" y="100"/>
                    <a:pt x="31" y="103"/>
                  </a:cubicBezTo>
                  <a:cubicBezTo>
                    <a:pt x="31" y="104"/>
                    <a:pt x="31" y="105"/>
                    <a:pt x="31" y="106"/>
                  </a:cubicBezTo>
                  <a:cubicBezTo>
                    <a:pt x="31" y="106"/>
                    <a:pt x="31" y="108"/>
                    <a:pt x="31" y="109"/>
                  </a:cubicBezTo>
                  <a:cubicBezTo>
                    <a:pt x="31" y="111"/>
                    <a:pt x="32" y="112"/>
                    <a:pt x="32" y="113"/>
                  </a:cubicBezTo>
                  <a:cubicBezTo>
                    <a:pt x="32" y="114"/>
                    <a:pt x="33" y="116"/>
                    <a:pt x="34" y="117"/>
                  </a:cubicBezTo>
                  <a:cubicBezTo>
                    <a:pt x="35" y="118"/>
                    <a:pt x="36" y="119"/>
                    <a:pt x="37" y="120"/>
                  </a:cubicBezTo>
                  <a:cubicBezTo>
                    <a:pt x="38" y="121"/>
                    <a:pt x="40" y="122"/>
                    <a:pt x="42" y="122"/>
                  </a:cubicBezTo>
                  <a:cubicBezTo>
                    <a:pt x="44" y="123"/>
                    <a:pt x="46" y="123"/>
                    <a:pt x="49" y="123"/>
                  </a:cubicBezTo>
                  <a:cubicBezTo>
                    <a:pt x="50" y="123"/>
                    <a:pt x="51" y="122"/>
                    <a:pt x="52" y="121"/>
                  </a:cubicBezTo>
                  <a:cubicBezTo>
                    <a:pt x="53" y="120"/>
                    <a:pt x="54" y="119"/>
                    <a:pt x="55" y="117"/>
                  </a:cubicBezTo>
                  <a:cubicBezTo>
                    <a:pt x="56" y="116"/>
                    <a:pt x="56" y="114"/>
                    <a:pt x="56" y="113"/>
                  </a:cubicBezTo>
                  <a:cubicBezTo>
                    <a:pt x="57" y="112"/>
                    <a:pt x="57" y="111"/>
                    <a:pt x="57" y="108"/>
                  </a:cubicBezTo>
                  <a:cubicBezTo>
                    <a:pt x="58" y="106"/>
                    <a:pt x="58" y="105"/>
                    <a:pt x="59" y="104"/>
                  </a:cubicBezTo>
                  <a:cubicBezTo>
                    <a:pt x="59" y="103"/>
                    <a:pt x="59" y="101"/>
                    <a:pt x="60" y="100"/>
                  </a:cubicBezTo>
                  <a:cubicBezTo>
                    <a:pt x="61" y="98"/>
                    <a:pt x="61" y="97"/>
                    <a:pt x="62" y="96"/>
                  </a:cubicBezTo>
                  <a:cubicBezTo>
                    <a:pt x="64" y="94"/>
                    <a:pt x="67" y="91"/>
                    <a:pt x="71" y="86"/>
                  </a:cubicBezTo>
                  <a:cubicBezTo>
                    <a:pt x="73" y="83"/>
                    <a:pt x="76" y="80"/>
                    <a:pt x="79" y="77"/>
                  </a:cubicBezTo>
                  <a:cubicBezTo>
                    <a:pt x="81" y="74"/>
                    <a:pt x="83" y="72"/>
                    <a:pt x="85" y="72"/>
                  </a:cubicBezTo>
                  <a:cubicBezTo>
                    <a:pt x="86" y="72"/>
                    <a:pt x="87" y="71"/>
                    <a:pt x="88" y="70"/>
                  </a:cubicBezTo>
                  <a:cubicBezTo>
                    <a:pt x="89" y="69"/>
                    <a:pt x="90" y="68"/>
                    <a:pt x="90" y="67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90" y="14"/>
                    <a:pt x="89" y="13"/>
                    <a:pt x="88" y="12"/>
                  </a:cubicBezTo>
                  <a:cubicBezTo>
                    <a:pt x="87" y="11"/>
                    <a:pt x="86" y="10"/>
                    <a:pt x="84" y="10"/>
                  </a:cubicBezTo>
                  <a:cubicBezTo>
                    <a:pt x="83" y="10"/>
                    <a:pt x="78" y="9"/>
                    <a:pt x="72" y="7"/>
                  </a:cubicBezTo>
                  <a:cubicBezTo>
                    <a:pt x="68" y="5"/>
                    <a:pt x="65" y="4"/>
                    <a:pt x="62" y="4"/>
                  </a:cubicBezTo>
                  <a:cubicBezTo>
                    <a:pt x="60" y="3"/>
                    <a:pt x="57" y="2"/>
                    <a:pt x="52" y="1"/>
                  </a:cubicBezTo>
                  <a:cubicBezTo>
                    <a:pt x="48" y="0"/>
                    <a:pt x="44" y="0"/>
                    <a:pt x="4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4" y="0"/>
                    <a:pt x="18" y="2"/>
                    <a:pt x="15" y="6"/>
                  </a:cubicBezTo>
                  <a:cubicBezTo>
                    <a:pt x="12" y="10"/>
                    <a:pt x="10" y="15"/>
                    <a:pt x="11" y="21"/>
                  </a:cubicBezTo>
                  <a:cubicBezTo>
                    <a:pt x="9" y="23"/>
                    <a:pt x="7" y="25"/>
                    <a:pt x="7" y="28"/>
                  </a:cubicBezTo>
                  <a:cubicBezTo>
                    <a:pt x="6" y="32"/>
                    <a:pt x="6" y="35"/>
                    <a:pt x="7" y="38"/>
                  </a:cubicBezTo>
                  <a:cubicBezTo>
                    <a:pt x="4" y="41"/>
                    <a:pt x="3" y="45"/>
                    <a:pt x="3" y="49"/>
                  </a:cubicBezTo>
                  <a:cubicBezTo>
                    <a:pt x="3" y="50"/>
                    <a:pt x="4" y="52"/>
                    <a:pt x="4" y="55"/>
                  </a:cubicBezTo>
                  <a:cubicBezTo>
                    <a:pt x="1" y="58"/>
                    <a:pt x="0" y="62"/>
                    <a:pt x="0" y="67"/>
                  </a:cubicBezTo>
                  <a:cubicBezTo>
                    <a:pt x="0" y="71"/>
                    <a:pt x="1" y="74"/>
                    <a:pt x="5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5" name="Freeform 53">
              <a:extLst>
                <a:ext uri="{FF2B5EF4-FFF2-40B4-BE49-F238E27FC236}">
                  <a16:creationId xmlns:a16="http://schemas.microsoft.com/office/drawing/2014/main" id="{09AF6EBE-9C52-4F35-A639-BE4CE64640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3" y="2423"/>
              <a:ext cx="28" cy="28"/>
            </a:xfrm>
            <a:custGeom>
              <a:avLst/>
              <a:gdLst>
                <a:gd name="T0" fmla="*/ 5 w 10"/>
                <a:gd name="T1" fmla="*/ 3 h 10"/>
                <a:gd name="T2" fmla="*/ 7 w 10"/>
                <a:gd name="T3" fmla="*/ 5 h 10"/>
                <a:gd name="T4" fmla="*/ 5 w 10"/>
                <a:gd name="T5" fmla="*/ 7 h 10"/>
                <a:gd name="T6" fmla="*/ 4 w 10"/>
                <a:gd name="T7" fmla="*/ 5 h 10"/>
                <a:gd name="T8" fmla="*/ 5 w 10"/>
                <a:gd name="T9" fmla="*/ 3 h 10"/>
                <a:gd name="T10" fmla="*/ 5 w 10"/>
                <a:gd name="T11" fmla="*/ 0 h 10"/>
                <a:gd name="T12" fmla="*/ 0 w 10"/>
                <a:gd name="T13" fmla="*/ 5 h 10"/>
                <a:gd name="T14" fmla="*/ 5 w 10"/>
                <a:gd name="T15" fmla="*/ 10 h 10"/>
                <a:gd name="T16" fmla="*/ 10 w 10"/>
                <a:gd name="T17" fmla="*/ 5 h 10"/>
                <a:gd name="T18" fmla="*/ 5 w 10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5" y="3"/>
                  </a:moveTo>
                  <a:cubicBezTo>
                    <a:pt x="6" y="3"/>
                    <a:pt x="7" y="4"/>
                    <a:pt x="7" y="5"/>
                  </a:cubicBezTo>
                  <a:cubicBezTo>
                    <a:pt x="7" y="6"/>
                    <a:pt x="6" y="7"/>
                    <a:pt x="5" y="7"/>
                  </a:cubicBezTo>
                  <a:cubicBezTo>
                    <a:pt x="4" y="7"/>
                    <a:pt x="4" y="6"/>
                    <a:pt x="4" y="5"/>
                  </a:cubicBezTo>
                  <a:cubicBezTo>
                    <a:pt x="4" y="4"/>
                    <a:pt x="4" y="3"/>
                    <a:pt x="5" y="3"/>
                  </a:cubicBezTo>
                  <a:moveTo>
                    <a:pt x="5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7"/>
                    <a:pt x="3" y="10"/>
                    <a:pt x="5" y="10"/>
                  </a:cubicBezTo>
                  <a:cubicBezTo>
                    <a:pt x="8" y="10"/>
                    <a:pt x="10" y="7"/>
                    <a:pt x="10" y="5"/>
                  </a:cubicBezTo>
                  <a:cubicBezTo>
                    <a:pt x="10" y="2"/>
                    <a:pt x="8" y="0"/>
                    <a:pt x="5" y="0"/>
                  </a:cubicBezTo>
                  <a:close/>
                </a:path>
              </a:pathLst>
            </a:custGeom>
            <a:solidFill>
              <a:srgbClr val="E31F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22" name="Group 56">
            <a:extLst>
              <a:ext uri="{FF2B5EF4-FFF2-40B4-BE49-F238E27FC236}">
                <a16:creationId xmlns:a16="http://schemas.microsoft.com/office/drawing/2014/main" id="{ED554DBA-3B53-4D71-BFA8-DF59FA5CBE89}"/>
              </a:ext>
            </a:extLst>
          </p:cNvPr>
          <p:cNvGrpSpPr>
            <a:grpSpLocks/>
          </p:cNvGrpSpPr>
          <p:nvPr/>
        </p:nvGrpSpPr>
        <p:grpSpPr bwMode="auto">
          <a:xfrm>
            <a:off x="1321631" y="3651977"/>
            <a:ext cx="673441" cy="673441"/>
            <a:chOff x="673" y="1909"/>
            <a:chExt cx="558" cy="558"/>
          </a:xfrm>
        </p:grpSpPr>
        <p:sp>
          <p:nvSpPr>
            <p:cNvPr id="338" name="Freeform 57">
              <a:extLst>
                <a:ext uri="{FF2B5EF4-FFF2-40B4-BE49-F238E27FC236}">
                  <a16:creationId xmlns:a16="http://schemas.microsoft.com/office/drawing/2014/main" id="{0B31EE82-175C-408F-A1E2-140921D031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3" y="1909"/>
              <a:ext cx="558" cy="558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200 w 200"/>
                <a:gd name="T7" fmla="*/ 100 h 200"/>
                <a:gd name="T8" fmla="*/ 100 w 200"/>
                <a:gd name="T9" fmla="*/ 0 h 200"/>
                <a:gd name="T10" fmla="*/ 100 w 200"/>
                <a:gd name="T11" fmla="*/ 194 h 200"/>
                <a:gd name="T12" fmla="*/ 6 w 200"/>
                <a:gd name="T13" fmla="*/ 100 h 200"/>
                <a:gd name="T14" fmla="*/ 100 w 200"/>
                <a:gd name="T15" fmla="*/ 6 h 200"/>
                <a:gd name="T16" fmla="*/ 194 w 200"/>
                <a:gd name="T17" fmla="*/ 100 h 200"/>
                <a:gd name="T18" fmla="*/ 100 w 200"/>
                <a:gd name="T19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55" y="200"/>
                    <a:pt x="200" y="155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  <a:moveTo>
                    <a:pt x="100" y="194"/>
                  </a:moveTo>
                  <a:cubicBezTo>
                    <a:pt x="48" y="194"/>
                    <a:pt x="6" y="152"/>
                    <a:pt x="6" y="100"/>
                  </a:cubicBezTo>
                  <a:cubicBezTo>
                    <a:pt x="6" y="48"/>
                    <a:pt x="48" y="6"/>
                    <a:pt x="100" y="6"/>
                  </a:cubicBezTo>
                  <a:cubicBezTo>
                    <a:pt x="152" y="6"/>
                    <a:pt x="194" y="48"/>
                    <a:pt x="194" y="100"/>
                  </a:cubicBezTo>
                  <a:cubicBezTo>
                    <a:pt x="194" y="152"/>
                    <a:pt x="152" y="194"/>
                    <a:pt x="100" y="194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" name="Freeform 58">
              <a:extLst>
                <a:ext uri="{FF2B5EF4-FFF2-40B4-BE49-F238E27FC236}">
                  <a16:creationId xmlns:a16="http://schemas.microsoft.com/office/drawing/2014/main" id="{E66CCA4B-E91F-4278-A343-9D9DBBDD10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8" y="2051"/>
              <a:ext cx="92" cy="173"/>
            </a:xfrm>
            <a:custGeom>
              <a:avLst/>
              <a:gdLst>
                <a:gd name="T0" fmla="*/ 27 w 33"/>
                <a:gd name="T1" fmla="*/ 6 h 62"/>
                <a:gd name="T2" fmla="*/ 27 w 33"/>
                <a:gd name="T3" fmla="*/ 56 h 62"/>
                <a:gd name="T4" fmla="*/ 6 w 33"/>
                <a:gd name="T5" fmla="*/ 56 h 62"/>
                <a:gd name="T6" fmla="*/ 6 w 33"/>
                <a:gd name="T7" fmla="*/ 6 h 62"/>
                <a:gd name="T8" fmla="*/ 27 w 33"/>
                <a:gd name="T9" fmla="*/ 6 h 62"/>
                <a:gd name="T10" fmla="*/ 28 w 33"/>
                <a:gd name="T11" fmla="*/ 0 h 62"/>
                <a:gd name="T12" fmla="*/ 5 w 33"/>
                <a:gd name="T13" fmla="*/ 0 h 62"/>
                <a:gd name="T14" fmla="*/ 1 w 33"/>
                <a:gd name="T15" fmla="*/ 2 h 62"/>
                <a:gd name="T16" fmla="*/ 0 w 33"/>
                <a:gd name="T17" fmla="*/ 5 h 62"/>
                <a:gd name="T18" fmla="*/ 0 w 33"/>
                <a:gd name="T19" fmla="*/ 57 h 62"/>
                <a:gd name="T20" fmla="*/ 1 w 33"/>
                <a:gd name="T21" fmla="*/ 60 h 62"/>
                <a:gd name="T22" fmla="*/ 5 w 33"/>
                <a:gd name="T23" fmla="*/ 62 h 62"/>
                <a:gd name="T24" fmla="*/ 28 w 33"/>
                <a:gd name="T25" fmla="*/ 62 h 62"/>
                <a:gd name="T26" fmla="*/ 31 w 33"/>
                <a:gd name="T27" fmla="*/ 60 h 62"/>
                <a:gd name="T28" fmla="*/ 33 w 33"/>
                <a:gd name="T29" fmla="*/ 57 h 62"/>
                <a:gd name="T30" fmla="*/ 33 w 33"/>
                <a:gd name="T31" fmla="*/ 5 h 62"/>
                <a:gd name="T32" fmla="*/ 31 w 33"/>
                <a:gd name="T33" fmla="*/ 2 h 62"/>
                <a:gd name="T34" fmla="*/ 28 w 33"/>
                <a:gd name="T35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" h="62">
                  <a:moveTo>
                    <a:pt x="27" y="6"/>
                  </a:moveTo>
                  <a:cubicBezTo>
                    <a:pt x="27" y="56"/>
                    <a:pt x="27" y="56"/>
                    <a:pt x="27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27" y="6"/>
                    <a:pt x="27" y="6"/>
                    <a:pt x="27" y="6"/>
                  </a:cubicBezTo>
                  <a:moveTo>
                    <a:pt x="28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1"/>
                    <a:pt x="1" y="2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8"/>
                    <a:pt x="0" y="59"/>
                    <a:pt x="1" y="60"/>
                  </a:cubicBezTo>
                  <a:cubicBezTo>
                    <a:pt x="2" y="61"/>
                    <a:pt x="3" y="62"/>
                    <a:pt x="5" y="62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9" y="62"/>
                    <a:pt x="30" y="61"/>
                    <a:pt x="31" y="60"/>
                  </a:cubicBezTo>
                  <a:cubicBezTo>
                    <a:pt x="32" y="59"/>
                    <a:pt x="33" y="58"/>
                    <a:pt x="33" y="57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3" y="4"/>
                    <a:pt x="32" y="3"/>
                    <a:pt x="31" y="2"/>
                  </a:cubicBezTo>
                  <a:cubicBezTo>
                    <a:pt x="30" y="1"/>
                    <a:pt x="29" y="0"/>
                    <a:pt x="28" y="0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40" name="Freeform 59">
              <a:extLst>
                <a:ext uri="{FF2B5EF4-FFF2-40B4-BE49-F238E27FC236}">
                  <a16:creationId xmlns:a16="http://schemas.microsoft.com/office/drawing/2014/main" id="{97F0F70F-FD1B-4C92-ACD8-4E8DCDCD4C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4" y="2023"/>
              <a:ext cx="250" cy="344"/>
            </a:xfrm>
            <a:custGeom>
              <a:avLst/>
              <a:gdLst>
                <a:gd name="T0" fmla="*/ 51 w 90"/>
                <a:gd name="T1" fmla="*/ 7 h 123"/>
                <a:gd name="T2" fmla="*/ 70 w 90"/>
                <a:gd name="T3" fmla="*/ 12 h 123"/>
                <a:gd name="T4" fmla="*/ 84 w 90"/>
                <a:gd name="T5" fmla="*/ 66 h 123"/>
                <a:gd name="T6" fmla="*/ 66 w 90"/>
                <a:gd name="T7" fmla="*/ 83 h 123"/>
                <a:gd name="T8" fmla="*/ 54 w 90"/>
                <a:gd name="T9" fmla="*/ 97 h 123"/>
                <a:gd name="T10" fmla="*/ 52 w 90"/>
                <a:gd name="T11" fmla="*/ 107 h 123"/>
                <a:gd name="T12" fmla="*/ 50 w 90"/>
                <a:gd name="T13" fmla="*/ 115 h 123"/>
                <a:gd name="T14" fmla="*/ 44 w 90"/>
                <a:gd name="T15" fmla="*/ 116 h 123"/>
                <a:gd name="T16" fmla="*/ 39 w 90"/>
                <a:gd name="T17" fmla="*/ 114 h 123"/>
                <a:gd name="T18" fmla="*/ 37 w 90"/>
                <a:gd name="T19" fmla="*/ 108 h 123"/>
                <a:gd name="T20" fmla="*/ 37 w 90"/>
                <a:gd name="T21" fmla="*/ 103 h 123"/>
                <a:gd name="T22" fmla="*/ 38 w 90"/>
                <a:gd name="T23" fmla="*/ 94 h 123"/>
                <a:gd name="T24" fmla="*/ 41 w 90"/>
                <a:gd name="T25" fmla="*/ 89 h 123"/>
                <a:gd name="T26" fmla="*/ 43 w 90"/>
                <a:gd name="T27" fmla="*/ 84 h 123"/>
                <a:gd name="T28" fmla="*/ 37 w 90"/>
                <a:gd name="T29" fmla="*/ 76 h 123"/>
                <a:gd name="T30" fmla="*/ 9 w 90"/>
                <a:gd name="T31" fmla="*/ 73 h 123"/>
                <a:gd name="T32" fmla="*/ 9 w 90"/>
                <a:gd name="T33" fmla="*/ 59 h 123"/>
                <a:gd name="T34" fmla="*/ 10 w 90"/>
                <a:gd name="T35" fmla="*/ 53 h 123"/>
                <a:gd name="T36" fmla="*/ 9 w 90"/>
                <a:gd name="T37" fmla="*/ 49 h 123"/>
                <a:gd name="T38" fmla="*/ 11 w 90"/>
                <a:gd name="T39" fmla="*/ 41 h 123"/>
                <a:gd name="T40" fmla="*/ 12 w 90"/>
                <a:gd name="T41" fmla="*/ 36 h 123"/>
                <a:gd name="T42" fmla="*/ 15 w 90"/>
                <a:gd name="T43" fmla="*/ 25 h 123"/>
                <a:gd name="T44" fmla="*/ 17 w 90"/>
                <a:gd name="T45" fmla="*/ 20 h 123"/>
                <a:gd name="T46" fmla="*/ 31 w 90"/>
                <a:gd name="T47" fmla="*/ 6 h 123"/>
                <a:gd name="T48" fmla="*/ 41 w 90"/>
                <a:gd name="T49" fmla="*/ 0 h 123"/>
                <a:gd name="T50" fmla="*/ 15 w 90"/>
                <a:gd name="T51" fmla="*/ 6 h 123"/>
                <a:gd name="T52" fmla="*/ 7 w 90"/>
                <a:gd name="T53" fmla="*/ 28 h 123"/>
                <a:gd name="T54" fmla="*/ 3 w 90"/>
                <a:gd name="T55" fmla="*/ 49 h 123"/>
                <a:gd name="T56" fmla="*/ 0 w 90"/>
                <a:gd name="T57" fmla="*/ 67 h 123"/>
                <a:gd name="T58" fmla="*/ 15 w 90"/>
                <a:gd name="T59" fmla="*/ 82 h 123"/>
                <a:gd name="T60" fmla="*/ 37 w 90"/>
                <a:gd name="T61" fmla="*/ 84 h 123"/>
                <a:gd name="T62" fmla="*/ 35 w 90"/>
                <a:gd name="T63" fmla="*/ 87 h 123"/>
                <a:gd name="T64" fmla="*/ 31 w 90"/>
                <a:gd name="T65" fmla="*/ 96 h 123"/>
                <a:gd name="T66" fmla="*/ 31 w 90"/>
                <a:gd name="T67" fmla="*/ 106 h 123"/>
                <a:gd name="T68" fmla="*/ 32 w 90"/>
                <a:gd name="T69" fmla="*/ 113 h 123"/>
                <a:gd name="T70" fmla="*/ 37 w 90"/>
                <a:gd name="T71" fmla="*/ 120 h 123"/>
                <a:gd name="T72" fmla="*/ 49 w 90"/>
                <a:gd name="T73" fmla="*/ 123 h 123"/>
                <a:gd name="T74" fmla="*/ 55 w 90"/>
                <a:gd name="T75" fmla="*/ 117 h 123"/>
                <a:gd name="T76" fmla="*/ 57 w 90"/>
                <a:gd name="T77" fmla="*/ 108 h 123"/>
                <a:gd name="T78" fmla="*/ 60 w 90"/>
                <a:gd name="T79" fmla="*/ 100 h 123"/>
                <a:gd name="T80" fmla="*/ 71 w 90"/>
                <a:gd name="T81" fmla="*/ 86 h 123"/>
                <a:gd name="T82" fmla="*/ 85 w 90"/>
                <a:gd name="T83" fmla="*/ 72 h 123"/>
                <a:gd name="T84" fmla="*/ 90 w 90"/>
                <a:gd name="T85" fmla="*/ 67 h 123"/>
                <a:gd name="T86" fmla="*/ 88 w 90"/>
                <a:gd name="T87" fmla="*/ 12 h 123"/>
                <a:gd name="T88" fmla="*/ 72 w 90"/>
                <a:gd name="T89" fmla="*/ 7 h 123"/>
                <a:gd name="T90" fmla="*/ 52 w 90"/>
                <a:gd name="T91" fmla="*/ 1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0" h="123">
                  <a:moveTo>
                    <a:pt x="41" y="6"/>
                  </a:moveTo>
                  <a:cubicBezTo>
                    <a:pt x="44" y="6"/>
                    <a:pt x="48" y="6"/>
                    <a:pt x="51" y="7"/>
                  </a:cubicBezTo>
                  <a:cubicBezTo>
                    <a:pt x="55" y="8"/>
                    <a:pt x="58" y="9"/>
                    <a:pt x="60" y="9"/>
                  </a:cubicBezTo>
                  <a:cubicBezTo>
                    <a:pt x="63" y="10"/>
                    <a:pt x="66" y="11"/>
                    <a:pt x="70" y="12"/>
                  </a:cubicBezTo>
                  <a:cubicBezTo>
                    <a:pt x="78" y="15"/>
                    <a:pt x="82" y="16"/>
                    <a:pt x="84" y="16"/>
                  </a:cubicBezTo>
                  <a:cubicBezTo>
                    <a:pt x="84" y="66"/>
                    <a:pt x="84" y="66"/>
                    <a:pt x="84" y="66"/>
                  </a:cubicBezTo>
                  <a:cubicBezTo>
                    <a:pt x="81" y="66"/>
                    <a:pt x="78" y="68"/>
                    <a:pt x="74" y="73"/>
                  </a:cubicBezTo>
                  <a:cubicBezTo>
                    <a:pt x="71" y="76"/>
                    <a:pt x="68" y="79"/>
                    <a:pt x="66" y="83"/>
                  </a:cubicBezTo>
                  <a:cubicBezTo>
                    <a:pt x="62" y="87"/>
                    <a:pt x="60" y="90"/>
                    <a:pt x="58" y="92"/>
                  </a:cubicBezTo>
                  <a:cubicBezTo>
                    <a:pt x="57" y="93"/>
                    <a:pt x="55" y="95"/>
                    <a:pt x="54" y="97"/>
                  </a:cubicBezTo>
                  <a:cubicBezTo>
                    <a:pt x="54" y="99"/>
                    <a:pt x="53" y="101"/>
                    <a:pt x="53" y="102"/>
                  </a:cubicBezTo>
                  <a:cubicBezTo>
                    <a:pt x="52" y="103"/>
                    <a:pt x="52" y="105"/>
                    <a:pt x="52" y="107"/>
                  </a:cubicBezTo>
                  <a:cubicBezTo>
                    <a:pt x="51" y="109"/>
                    <a:pt x="51" y="111"/>
                    <a:pt x="51" y="112"/>
                  </a:cubicBezTo>
                  <a:cubicBezTo>
                    <a:pt x="51" y="112"/>
                    <a:pt x="50" y="113"/>
                    <a:pt x="50" y="115"/>
                  </a:cubicBezTo>
                  <a:cubicBezTo>
                    <a:pt x="49" y="116"/>
                    <a:pt x="49" y="116"/>
                    <a:pt x="48" y="117"/>
                  </a:cubicBezTo>
                  <a:cubicBezTo>
                    <a:pt x="46" y="117"/>
                    <a:pt x="45" y="117"/>
                    <a:pt x="44" y="116"/>
                  </a:cubicBezTo>
                  <a:cubicBezTo>
                    <a:pt x="42" y="116"/>
                    <a:pt x="41" y="115"/>
                    <a:pt x="41" y="115"/>
                  </a:cubicBezTo>
                  <a:cubicBezTo>
                    <a:pt x="40" y="115"/>
                    <a:pt x="39" y="114"/>
                    <a:pt x="39" y="114"/>
                  </a:cubicBezTo>
                  <a:cubicBezTo>
                    <a:pt x="38" y="112"/>
                    <a:pt x="38" y="112"/>
                    <a:pt x="38" y="111"/>
                  </a:cubicBezTo>
                  <a:cubicBezTo>
                    <a:pt x="38" y="111"/>
                    <a:pt x="37" y="110"/>
                    <a:pt x="37" y="108"/>
                  </a:cubicBezTo>
                  <a:cubicBezTo>
                    <a:pt x="37" y="106"/>
                    <a:pt x="37" y="106"/>
                    <a:pt x="37" y="105"/>
                  </a:cubicBezTo>
                  <a:cubicBezTo>
                    <a:pt x="37" y="105"/>
                    <a:pt x="37" y="104"/>
                    <a:pt x="37" y="103"/>
                  </a:cubicBezTo>
                  <a:cubicBezTo>
                    <a:pt x="37" y="101"/>
                    <a:pt x="37" y="99"/>
                    <a:pt x="37" y="98"/>
                  </a:cubicBezTo>
                  <a:cubicBezTo>
                    <a:pt x="38" y="96"/>
                    <a:pt x="38" y="95"/>
                    <a:pt x="38" y="94"/>
                  </a:cubicBezTo>
                  <a:cubicBezTo>
                    <a:pt x="39" y="93"/>
                    <a:pt x="40" y="92"/>
                    <a:pt x="41" y="90"/>
                  </a:cubicBezTo>
                  <a:cubicBezTo>
                    <a:pt x="41" y="90"/>
                    <a:pt x="41" y="89"/>
                    <a:pt x="41" y="89"/>
                  </a:cubicBezTo>
                  <a:cubicBezTo>
                    <a:pt x="42" y="88"/>
                    <a:pt x="42" y="87"/>
                    <a:pt x="42" y="86"/>
                  </a:cubicBezTo>
                  <a:cubicBezTo>
                    <a:pt x="43" y="85"/>
                    <a:pt x="43" y="85"/>
                    <a:pt x="43" y="84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13" y="76"/>
                    <a:pt x="11" y="75"/>
                    <a:pt x="9" y="73"/>
                  </a:cubicBezTo>
                  <a:cubicBezTo>
                    <a:pt x="7" y="71"/>
                    <a:pt x="6" y="69"/>
                    <a:pt x="6" y="67"/>
                  </a:cubicBezTo>
                  <a:cubicBezTo>
                    <a:pt x="6" y="64"/>
                    <a:pt x="7" y="61"/>
                    <a:pt x="9" y="59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0" y="53"/>
                    <a:pt x="10" y="53"/>
                    <a:pt x="10" y="53"/>
                  </a:cubicBezTo>
                  <a:cubicBezTo>
                    <a:pt x="9" y="51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6"/>
                    <a:pt x="10" y="43"/>
                    <a:pt x="11" y="41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4"/>
                    <a:pt x="12" y="32"/>
                    <a:pt x="12" y="30"/>
                  </a:cubicBezTo>
                  <a:cubicBezTo>
                    <a:pt x="13" y="28"/>
                    <a:pt x="14" y="26"/>
                    <a:pt x="15" y="25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16"/>
                    <a:pt x="17" y="13"/>
                    <a:pt x="19" y="10"/>
                  </a:cubicBezTo>
                  <a:cubicBezTo>
                    <a:pt x="22" y="8"/>
                    <a:pt x="25" y="6"/>
                    <a:pt x="31" y="6"/>
                  </a:cubicBezTo>
                  <a:cubicBezTo>
                    <a:pt x="41" y="6"/>
                    <a:pt x="41" y="6"/>
                    <a:pt x="41" y="6"/>
                  </a:cubicBezTo>
                  <a:moveTo>
                    <a:pt x="4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24" y="0"/>
                    <a:pt x="18" y="2"/>
                    <a:pt x="15" y="6"/>
                  </a:cubicBezTo>
                  <a:cubicBezTo>
                    <a:pt x="12" y="10"/>
                    <a:pt x="10" y="15"/>
                    <a:pt x="11" y="21"/>
                  </a:cubicBezTo>
                  <a:cubicBezTo>
                    <a:pt x="9" y="23"/>
                    <a:pt x="7" y="25"/>
                    <a:pt x="7" y="28"/>
                  </a:cubicBezTo>
                  <a:cubicBezTo>
                    <a:pt x="6" y="32"/>
                    <a:pt x="6" y="35"/>
                    <a:pt x="7" y="38"/>
                  </a:cubicBezTo>
                  <a:cubicBezTo>
                    <a:pt x="4" y="41"/>
                    <a:pt x="3" y="45"/>
                    <a:pt x="3" y="49"/>
                  </a:cubicBezTo>
                  <a:cubicBezTo>
                    <a:pt x="3" y="50"/>
                    <a:pt x="4" y="52"/>
                    <a:pt x="4" y="55"/>
                  </a:cubicBezTo>
                  <a:cubicBezTo>
                    <a:pt x="1" y="58"/>
                    <a:pt x="0" y="62"/>
                    <a:pt x="0" y="67"/>
                  </a:cubicBezTo>
                  <a:cubicBezTo>
                    <a:pt x="0" y="71"/>
                    <a:pt x="1" y="74"/>
                    <a:pt x="5" y="77"/>
                  </a:cubicBezTo>
                  <a:cubicBezTo>
                    <a:pt x="8" y="81"/>
                    <a:pt x="11" y="82"/>
                    <a:pt x="15" y="82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37" y="83"/>
                    <a:pt x="37" y="83"/>
                    <a:pt x="37" y="84"/>
                  </a:cubicBezTo>
                  <a:cubicBezTo>
                    <a:pt x="37" y="84"/>
                    <a:pt x="36" y="85"/>
                    <a:pt x="36" y="86"/>
                  </a:cubicBezTo>
                  <a:cubicBezTo>
                    <a:pt x="36" y="86"/>
                    <a:pt x="35" y="87"/>
                    <a:pt x="35" y="87"/>
                  </a:cubicBezTo>
                  <a:cubicBezTo>
                    <a:pt x="34" y="89"/>
                    <a:pt x="33" y="90"/>
                    <a:pt x="33" y="92"/>
                  </a:cubicBezTo>
                  <a:cubicBezTo>
                    <a:pt x="32" y="93"/>
                    <a:pt x="32" y="94"/>
                    <a:pt x="31" y="96"/>
                  </a:cubicBezTo>
                  <a:cubicBezTo>
                    <a:pt x="31" y="98"/>
                    <a:pt x="31" y="100"/>
                    <a:pt x="31" y="103"/>
                  </a:cubicBezTo>
                  <a:cubicBezTo>
                    <a:pt x="31" y="104"/>
                    <a:pt x="31" y="105"/>
                    <a:pt x="31" y="106"/>
                  </a:cubicBezTo>
                  <a:cubicBezTo>
                    <a:pt x="31" y="106"/>
                    <a:pt x="31" y="108"/>
                    <a:pt x="31" y="109"/>
                  </a:cubicBezTo>
                  <a:cubicBezTo>
                    <a:pt x="31" y="111"/>
                    <a:pt x="32" y="112"/>
                    <a:pt x="32" y="113"/>
                  </a:cubicBezTo>
                  <a:cubicBezTo>
                    <a:pt x="32" y="114"/>
                    <a:pt x="33" y="116"/>
                    <a:pt x="34" y="117"/>
                  </a:cubicBezTo>
                  <a:cubicBezTo>
                    <a:pt x="35" y="118"/>
                    <a:pt x="36" y="119"/>
                    <a:pt x="37" y="120"/>
                  </a:cubicBezTo>
                  <a:cubicBezTo>
                    <a:pt x="38" y="121"/>
                    <a:pt x="40" y="122"/>
                    <a:pt x="42" y="122"/>
                  </a:cubicBezTo>
                  <a:cubicBezTo>
                    <a:pt x="44" y="123"/>
                    <a:pt x="46" y="123"/>
                    <a:pt x="49" y="123"/>
                  </a:cubicBezTo>
                  <a:cubicBezTo>
                    <a:pt x="50" y="123"/>
                    <a:pt x="51" y="122"/>
                    <a:pt x="52" y="121"/>
                  </a:cubicBezTo>
                  <a:cubicBezTo>
                    <a:pt x="53" y="120"/>
                    <a:pt x="54" y="119"/>
                    <a:pt x="55" y="117"/>
                  </a:cubicBezTo>
                  <a:cubicBezTo>
                    <a:pt x="56" y="116"/>
                    <a:pt x="56" y="114"/>
                    <a:pt x="56" y="113"/>
                  </a:cubicBezTo>
                  <a:cubicBezTo>
                    <a:pt x="57" y="112"/>
                    <a:pt x="57" y="111"/>
                    <a:pt x="57" y="108"/>
                  </a:cubicBezTo>
                  <a:cubicBezTo>
                    <a:pt x="58" y="106"/>
                    <a:pt x="58" y="105"/>
                    <a:pt x="59" y="104"/>
                  </a:cubicBezTo>
                  <a:cubicBezTo>
                    <a:pt x="59" y="103"/>
                    <a:pt x="59" y="101"/>
                    <a:pt x="60" y="100"/>
                  </a:cubicBezTo>
                  <a:cubicBezTo>
                    <a:pt x="61" y="98"/>
                    <a:pt x="61" y="97"/>
                    <a:pt x="62" y="96"/>
                  </a:cubicBezTo>
                  <a:cubicBezTo>
                    <a:pt x="64" y="94"/>
                    <a:pt x="67" y="91"/>
                    <a:pt x="71" y="86"/>
                  </a:cubicBezTo>
                  <a:cubicBezTo>
                    <a:pt x="73" y="83"/>
                    <a:pt x="76" y="80"/>
                    <a:pt x="79" y="77"/>
                  </a:cubicBezTo>
                  <a:cubicBezTo>
                    <a:pt x="81" y="74"/>
                    <a:pt x="83" y="72"/>
                    <a:pt x="85" y="72"/>
                  </a:cubicBezTo>
                  <a:cubicBezTo>
                    <a:pt x="86" y="72"/>
                    <a:pt x="87" y="71"/>
                    <a:pt x="88" y="70"/>
                  </a:cubicBezTo>
                  <a:cubicBezTo>
                    <a:pt x="89" y="69"/>
                    <a:pt x="90" y="68"/>
                    <a:pt x="90" y="67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90" y="14"/>
                    <a:pt x="89" y="13"/>
                    <a:pt x="88" y="12"/>
                  </a:cubicBezTo>
                  <a:cubicBezTo>
                    <a:pt x="87" y="11"/>
                    <a:pt x="86" y="10"/>
                    <a:pt x="84" y="10"/>
                  </a:cubicBezTo>
                  <a:cubicBezTo>
                    <a:pt x="83" y="10"/>
                    <a:pt x="78" y="9"/>
                    <a:pt x="72" y="7"/>
                  </a:cubicBezTo>
                  <a:cubicBezTo>
                    <a:pt x="68" y="5"/>
                    <a:pt x="65" y="4"/>
                    <a:pt x="62" y="4"/>
                  </a:cubicBezTo>
                  <a:cubicBezTo>
                    <a:pt x="60" y="3"/>
                    <a:pt x="57" y="2"/>
                    <a:pt x="52" y="1"/>
                  </a:cubicBezTo>
                  <a:cubicBezTo>
                    <a:pt x="48" y="0"/>
                    <a:pt x="44" y="0"/>
                    <a:pt x="41" y="0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" name="Freeform 60">
              <a:extLst>
                <a:ext uri="{FF2B5EF4-FFF2-40B4-BE49-F238E27FC236}">
                  <a16:creationId xmlns:a16="http://schemas.microsoft.com/office/drawing/2014/main" id="{201A74CE-8229-42BB-97C7-DE828B9113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9" y="2082"/>
              <a:ext cx="28" cy="28"/>
            </a:xfrm>
            <a:custGeom>
              <a:avLst/>
              <a:gdLst>
                <a:gd name="T0" fmla="*/ 5 w 10"/>
                <a:gd name="T1" fmla="*/ 3 h 10"/>
                <a:gd name="T2" fmla="*/ 7 w 10"/>
                <a:gd name="T3" fmla="*/ 5 h 10"/>
                <a:gd name="T4" fmla="*/ 5 w 10"/>
                <a:gd name="T5" fmla="*/ 7 h 10"/>
                <a:gd name="T6" fmla="*/ 4 w 10"/>
                <a:gd name="T7" fmla="*/ 5 h 10"/>
                <a:gd name="T8" fmla="*/ 5 w 10"/>
                <a:gd name="T9" fmla="*/ 3 h 10"/>
                <a:gd name="T10" fmla="*/ 5 w 10"/>
                <a:gd name="T11" fmla="*/ 0 h 10"/>
                <a:gd name="T12" fmla="*/ 0 w 10"/>
                <a:gd name="T13" fmla="*/ 5 h 10"/>
                <a:gd name="T14" fmla="*/ 5 w 10"/>
                <a:gd name="T15" fmla="*/ 10 h 10"/>
                <a:gd name="T16" fmla="*/ 10 w 10"/>
                <a:gd name="T17" fmla="*/ 5 h 10"/>
                <a:gd name="T18" fmla="*/ 5 w 10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5" y="3"/>
                  </a:moveTo>
                  <a:cubicBezTo>
                    <a:pt x="6" y="3"/>
                    <a:pt x="7" y="4"/>
                    <a:pt x="7" y="5"/>
                  </a:cubicBezTo>
                  <a:cubicBezTo>
                    <a:pt x="7" y="6"/>
                    <a:pt x="6" y="7"/>
                    <a:pt x="5" y="7"/>
                  </a:cubicBezTo>
                  <a:cubicBezTo>
                    <a:pt x="4" y="7"/>
                    <a:pt x="4" y="6"/>
                    <a:pt x="4" y="5"/>
                  </a:cubicBezTo>
                  <a:cubicBezTo>
                    <a:pt x="4" y="4"/>
                    <a:pt x="4" y="3"/>
                    <a:pt x="5" y="3"/>
                  </a:cubicBezTo>
                  <a:moveTo>
                    <a:pt x="5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7"/>
                    <a:pt x="3" y="10"/>
                    <a:pt x="5" y="10"/>
                  </a:cubicBezTo>
                  <a:cubicBezTo>
                    <a:pt x="8" y="10"/>
                    <a:pt x="10" y="7"/>
                    <a:pt x="10" y="5"/>
                  </a:cubicBezTo>
                  <a:cubicBezTo>
                    <a:pt x="10" y="2"/>
                    <a:pt x="8" y="0"/>
                    <a:pt x="5" y="0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23" name="Group 64">
            <a:extLst>
              <a:ext uri="{FF2B5EF4-FFF2-40B4-BE49-F238E27FC236}">
                <a16:creationId xmlns:a16="http://schemas.microsoft.com/office/drawing/2014/main" id="{68753268-10E5-4CF4-9D38-AAE9015B5258}"/>
              </a:ext>
            </a:extLst>
          </p:cNvPr>
          <p:cNvGrpSpPr>
            <a:grpSpLocks/>
          </p:cNvGrpSpPr>
          <p:nvPr/>
        </p:nvGrpSpPr>
        <p:grpSpPr bwMode="auto">
          <a:xfrm>
            <a:off x="4041758" y="4514140"/>
            <a:ext cx="673439" cy="673439"/>
            <a:chOff x="2211" y="2235"/>
            <a:chExt cx="559" cy="558"/>
          </a:xfrm>
        </p:grpSpPr>
        <p:sp>
          <p:nvSpPr>
            <p:cNvPr id="334" name="Oval 65">
              <a:extLst>
                <a:ext uri="{FF2B5EF4-FFF2-40B4-BE49-F238E27FC236}">
                  <a16:creationId xmlns:a16="http://schemas.microsoft.com/office/drawing/2014/main" id="{CB270325-13F6-4BA4-BFEA-1BE9A3C27A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11" y="2235"/>
              <a:ext cx="559" cy="558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5" name="Freeform 66">
              <a:extLst>
                <a:ext uri="{FF2B5EF4-FFF2-40B4-BE49-F238E27FC236}">
                  <a16:creationId xmlns:a16="http://schemas.microsoft.com/office/drawing/2014/main" id="{3882D867-E524-4F22-B7C0-0F9117BA8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2" y="2589"/>
              <a:ext cx="257" cy="65"/>
            </a:xfrm>
            <a:custGeom>
              <a:avLst/>
              <a:gdLst>
                <a:gd name="T0" fmla="*/ 0 w 92"/>
                <a:gd name="T1" fmla="*/ 23 h 23"/>
                <a:gd name="T2" fmla="*/ 46 w 92"/>
                <a:gd name="T3" fmla="*/ 0 h 23"/>
                <a:gd name="T4" fmla="*/ 92 w 92"/>
                <a:gd name="T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2" h="23">
                  <a:moveTo>
                    <a:pt x="0" y="23"/>
                  </a:moveTo>
                  <a:cubicBezTo>
                    <a:pt x="0" y="23"/>
                    <a:pt x="12" y="0"/>
                    <a:pt x="46" y="0"/>
                  </a:cubicBezTo>
                  <a:cubicBezTo>
                    <a:pt x="80" y="0"/>
                    <a:pt x="92" y="23"/>
                    <a:pt x="92" y="23"/>
                  </a:cubicBezTo>
                </a:path>
              </a:pathLst>
            </a:custGeom>
            <a:noFill/>
            <a:ln w="14288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6" name="Oval 67">
              <a:extLst>
                <a:ext uri="{FF2B5EF4-FFF2-40B4-BE49-F238E27FC236}">
                  <a16:creationId xmlns:a16="http://schemas.microsoft.com/office/drawing/2014/main" id="{B65C6D7D-6857-4E93-B586-4103378278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70" y="2389"/>
              <a:ext cx="90" cy="8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7" name="Oval 68">
              <a:extLst>
                <a:ext uri="{FF2B5EF4-FFF2-40B4-BE49-F238E27FC236}">
                  <a16:creationId xmlns:a16="http://schemas.microsoft.com/office/drawing/2014/main" id="{C61D1653-B9B0-45C1-840C-6258C45A47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1" y="2389"/>
              <a:ext cx="90" cy="8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24" name="Group 71">
            <a:extLst>
              <a:ext uri="{FF2B5EF4-FFF2-40B4-BE49-F238E27FC236}">
                <a16:creationId xmlns:a16="http://schemas.microsoft.com/office/drawing/2014/main" id="{0A227A28-FB8A-483A-80A8-EED5502D2E9C}"/>
              </a:ext>
            </a:extLst>
          </p:cNvPr>
          <p:cNvGrpSpPr>
            <a:grpSpLocks/>
          </p:cNvGrpSpPr>
          <p:nvPr/>
        </p:nvGrpSpPr>
        <p:grpSpPr bwMode="auto">
          <a:xfrm>
            <a:off x="4041755" y="3656979"/>
            <a:ext cx="673441" cy="673441"/>
            <a:chOff x="2601" y="1879"/>
            <a:chExt cx="558" cy="559"/>
          </a:xfrm>
        </p:grpSpPr>
        <p:sp>
          <p:nvSpPr>
            <p:cNvPr id="330" name="Freeform 72">
              <a:extLst>
                <a:ext uri="{FF2B5EF4-FFF2-40B4-BE49-F238E27FC236}">
                  <a16:creationId xmlns:a16="http://schemas.microsoft.com/office/drawing/2014/main" id="{A9B85764-F2DC-4EA6-86A8-59504A5CDF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" y="1879"/>
              <a:ext cx="558" cy="559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200 w 200"/>
                <a:gd name="T7" fmla="*/ 100 h 200"/>
                <a:gd name="T8" fmla="*/ 100 w 200"/>
                <a:gd name="T9" fmla="*/ 0 h 200"/>
                <a:gd name="T10" fmla="*/ 100 w 200"/>
                <a:gd name="T11" fmla="*/ 194 h 200"/>
                <a:gd name="T12" fmla="*/ 6 w 200"/>
                <a:gd name="T13" fmla="*/ 100 h 200"/>
                <a:gd name="T14" fmla="*/ 100 w 200"/>
                <a:gd name="T15" fmla="*/ 6 h 200"/>
                <a:gd name="T16" fmla="*/ 194 w 200"/>
                <a:gd name="T17" fmla="*/ 100 h 200"/>
                <a:gd name="T18" fmla="*/ 100 w 200"/>
                <a:gd name="T19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55" y="200"/>
                    <a:pt x="200" y="155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  <a:moveTo>
                    <a:pt x="100" y="194"/>
                  </a:moveTo>
                  <a:cubicBezTo>
                    <a:pt x="48" y="194"/>
                    <a:pt x="6" y="152"/>
                    <a:pt x="6" y="100"/>
                  </a:cubicBezTo>
                  <a:cubicBezTo>
                    <a:pt x="6" y="48"/>
                    <a:pt x="48" y="6"/>
                    <a:pt x="100" y="6"/>
                  </a:cubicBezTo>
                  <a:cubicBezTo>
                    <a:pt x="152" y="6"/>
                    <a:pt x="194" y="48"/>
                    <a:pt x="194" y="100"/>
                  </a:cubicBezTo>
                  <a:cubicBezTo>
                    <a:pt x="194" y="152"/>
                    <a:pt x="152" y="194"/>
                    <a:pt x="100" y="194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1" name="Freeform 73">
              <a:extLst>
                <a:ext uri="{FF2B5EF4-FFF2-40B4-BE49-F238E27FC236}">
                  <a16:creationId xmlns:a16="http://schemas.microsoft.com/office/drawing/2014/main" id="{C5BB03A6-F7AB-4567-988F-3FAB4E907D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9" y="2228"/>
              <a:ext cx="262" cy="76"/>
            </a:xfrm>
            <a:custGeom>
              <a:avLst/>
              <a:gdLst>
                <a:gd name="T0" fmla="*/ 1 w 94"/>
                <a:gd name="T1" fmla="*/ 27 h 27"/>
                <a:gd name="T2" fmla="*/ 1 w 94"/>
                <a:gd name="T3" fmla="*/ 27 h 27"/>
                <a:gd name="T4" fmla="*/ 0 w 94"/>
                <a:gd name="T5" fmla="*/ 25 h 27"/>
                <a:gd name="T6" fmla="*/ 47 w 94"/>
                <a:gd name="T7" fmla="*/ 0 h 27"/>
                <a:gd name="T8" fmla="*/ 94 w 94"/>
                <a:gd name="T9" fmla="*/ 25 h 27"/>
                <a:gd name="T10" fmla="*/ 93 w 94"/>
                <a:gd name="T11" fmla="*/ 27 h 27"/>
                <a:gd name="T12" fmla="*/ 91 w 94"/>
                <a:gd name="T13" fmla="*/ 26 h 27"/>
                <a:gd name="T14" fmla="*/ 47 w 94"/>
                <a:gd name="T15" fmla="*/ 3 h 27"/>
                <a:gd name="T16" fmla="*/ 3 w 94"/>
                <a:gd name="T17" fmla="*/ 26 h 27"/>
                <a:gd name="T18" fmla="*/ 1 w 94"/>
                <a:gd name="T1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" h="27">
                  <a:moveTo>
                    <a:pt x="1" y="27"/>
                  </a:moveTo>
                  <a:cubicBezTo>
                    <a:pt x="1" y="27"/>
                    <a:pt x="1" y="27"/>
                    <a:pt x="1" y="27"/>
                  </a:cubicBezTo>
                  <a:cubicBezTo>
                    <a:pt x="0" y="26"/>
                    <a:pt x="0" y="26"/>
                    <a:pt x="0" y="25"/>
                  </a:cubicBezTo>
                  <a:cubicBezTo>
                    <a:pt x="0" y="24"/>
                    <a:pt x="12" y="0"/>
                    <a:pt x="47" y="0"/>
                  </a:cubicBezTo>
                  <a:cubicBezTo>
                    <a:pt x="82" y="0"/>
                    <a:pt x="94" y="24"/>
                    <a:pt x="94" y="25"/>
                  </a:cubicBezTo>
                  <a:cubicBezTo>
                    <a:pt x="94" y="26"/>
                    <a:pt x="94" y="26"/>
                    <a:pt x="93" y="27"/>
                  </a:cubicBezTo>
                  <a:cubicBezTo>
                    <a:pt x="92" y="27"/>
                    <a:pt x="92" y="27"/>
                    <a:pt x="91" y="26"/>
                  </a:cubicBezTo>
                  <a:cubicBezTo>
                    <a:pt x="91" y="25"/>
                    <a:pt x="80" y="3"/>
                    <a:pt x="47" y="3"/>
                  </a:cubicBezTo>
                  <a:cubicBezTo>
                    <a:pt x="14" y="3"/>
                    <a:pt x="3" y="26"/>
                    <a:pt x="3" y="26"/>
                  </a:cubicBezTo>
                  <a:cubicBezTo>
                    <a:pt x="3" y="27"/>
                    <a:pt x="2" y="27"/>
                    <a:pt x="1" y="27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2" name="Oval 74">
              <a:extLst>
                <a:ext uri="{FF2B5EF4-FFF2-40B4-BE49-F238E27FC236}">
                  <a16:creationId xmlns:a16="http://schemas.microsoft.com/office/drawing/2014/main" id="{ADD3988E-E72F-4F96-BC63-C4F6A87D50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0" y="2033"/>
              <a:ext cx="89" cy="86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3" name="Oval 75">
              <a:extLst>
                <a:ext uri="{FF2B5EF4-FFF2-40B4-BE49-F238E27FC236}">
                  <a16:creationId xmlns:a16="http://schemas.microsoft.com/office/drawing/2014/main" id="{2897971B-3C5B-4815-9618-1691A34804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1" y="2033"/>
              <a:ext cx="89" cy="86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25" name="Group 78">
            <a:extLst>
              <a:ext uri="{FF2B5EF4-FFF2-40B4-BE49-F238E27FC236}">
                <a16:creationId xmlns:a16="http://schemas.microsoft.com/office/drawing/2014/main" id="{F517150E-5028-4C18-B2FF-52C516748CAE}"/>
              </a:ext>
            </a:extLst>
          </p:cNvPr>
          <p:cNvGrpSpPr>
            <a:grpSpLocks/>
          </p:cNvGrpSpPr>
          <p:nvPr/>
        </p:nvGrpSpPr>
        <p:grpSpPr bwMode="auto">
          <a:xfrm>
            <a:off x="3138355" y="4514140"/>
            <a:ext cx="673439" cy="673439"/>
            <a:chOff x="1449" y="2571"/>
            <a:chExt cx="558" cy="558"/>
          </a:xfrm>
        </p:grpSpPr>
        <p:sp>
          <p:nvSpPr>
            <p:cNvPr id="326" name="Oval 79">
              <a:extLst>
                <a:ext uri="{FF2B5EF4-FFF2-40B4-BE49-F238E27FC236}">
                  <a16:creationId xmlns:a16="http://schemas.microsoft.com/office/drawing/2014/main" id="{C40E2082-B1BA-4455-B284-3FC9631E30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9" y="2571"/>
              <a:ext cx="558" cy="558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7" name="Line 80">
              <a:extLst>
                <a:ext uri="{FF2B5EF4-FFF2-40B4-BE49-F238E27FC236}">
                  <a16:creationId xmlns:a16="http://schemas.microsoft.com/office/drawing/2014/main" id="{E06FECD8-B34A-402B-8B3E-BADB1377F1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00" y="2951"/>
              <a:ext cx="256" cy="0"/>
            </a:xfrm>
            <a:prstGeom prst="line">
              <a:avLst/>
            </a:prstGeom>
            <a:noFill/>
            <a:ln w="12700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8" name="Oval 81">
              <a:extLst>
                <a:ext uri="{FF2B5EF4-FFF2-40B4-BE49-F238E27FC236}">
                  <a16:creationId xmlns:a16="http://schemas.microsoft.com/office/drawing/2014/main" id="{011BBA26-CA5E-419D-9DF5-33E8D1DDCA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8" y="2725"/>
              <a:ext cx="89" cy="8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9" name="Oval 82">
              <a:extLst>
                <a:ext uri="{FF2B5EF4-FFF2-40B4-BE49-F238E27FC236}">
                  <a16:creationId xmlns:a16="http://schemas.microsoft.com/office/drawing/2014/main" id="{BDC13687-9F26-423E-94E2-3F605B8C69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59" y="2725"/>
              <a:ext cx="89" cy="8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01" name="Rectangle 100">
            <a:extLst>
              <a:ext uri="{FF2B5EF4-FFF2-40B4-BE49-F238E27FC236}">
                <a16:creationId xmlns:a16="http://schemas.microsoft.com/office/drawing/2014/main" id="{000ADB1B-3CBE-4CB8-9607-751C9B0A401F}"/>
              </a:ext>
            </a:extLst>
          </p:cNvPr>
          <p:cNvSpPr/>
          <p:nvPr/>
        </p:nvSpPr>
        <p:spPr>
          <a:xfrm>
            <a:off x="406401" y="5488716"/>
            <a:ext cx="786085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400"/>
              </a:spcBef>
            </a:pPr>
            <a:r>
              <a:rPr lang="fr-FR" dirty="0">
                <a:solidFill>
                  <a:srgbClr val="FC0D1A"/>
                </a:solidFill>
                <a:latin typeface="MAIF Medium"/>
              </a:rPr>
              <a:t>Banque de </a:t>
            </a:r>
            <a:r>
              <a:rPr lang="fr-FR" dirty="0" err="1">
                <a:solidFill>
                  <a:srgbClr val="FC0D1A"/>
                </a:solidFill>
                <a:latin typeface="MAIF Medium"/>
              </a:rPr>
              <a:t>pictos</a:t>
            </a:r>
            <a:r>
              <a:rPr lang="fr-FR" dirty="0">
                <a:solidFill>
                  <a:srgbClr val="FC0D1A"/>
                </a:solidFill>
                <a:latin typeface="MAIF Medium"/>
              </a:rPr>
              <a:t> : </a:t>
            </a:r>
            <a:r>
              <a:rPr lang="en-GB" u="sng" dirty="0">
                <a:hlinkClick r:id="rId46"/>
              </a:rPr>
              <a:t>https://bo.emedia.maif.fr/tw-MjA1NQ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2475202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EE47D8A5-FBAE-4C7C-8B1E-700954592E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8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EE47D8A5-FBAE-4C7C-8B1E-700954592E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8">
            <a:extLst>
              <a:ext uri="{FF2B5EF4-FFF2-40B4-BE49-F238E27FC236}">
                <a16:creationId xmlns:a16="http://schemas.microsoft.com/office/drawing/2014/main" id="{2B6003F0-4EB1-4105-A408-067571B40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Toolbox</a:t>
            </a:r>
            <a:endParaRPr lang="fr-FR" dirty="0"/>
          </a:p>
        </p:txBody>
      </p:sp>
      <p:sp>
        <p:nvSpPr>
          <p:cNvPr id="75" name="Espace réservé de la date 74">
            <a:extLst>
              <a:ext uri="{FF2B5EF4-FFF2-40B4-BE49-F238E27FC236}">
                <a16:creationId xmlns:a16="http://schemas.microsoft.com/office/drawing/2014/main" id="{6C7C2B0D-57CB-4C3E-96CE-70FB09DD77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0BE95-6B2E-4B30-8637-17CEDB70CCF7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77" name="Espace réservé du pied de page 76">
            <a:extLst>
              <a:ext uri="{FF2B5EF4-FFF2-40B4-BE49-F238E27FC236}">
                <a16:creationId xmlns:a16="http://schemas.microsoft.com/office/drawing/2014/main" id="{6BC4CC98-6913-497F-A126-9D0525CAE9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D163307-54D9-4563-AB2E-BBB6B8735D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49</a:t>
            </a:fld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DC8B859-1400-468A-8120-FEF70DD86C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6.2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E8598C9F-CEE5-4CFA-A7B3-349B38C6E9CD}"/>
              </a:ext>
            </a:extLst>
          </p:cNvPr>
          <p:cNvSpPr/>
          <p:nvPr/>
        </p:nvSpPr>
        <p:spPr>
          <a:xfrm>
            <a:off x="406401" y="1339200"/>
            <a:ext cx="1138917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fr-FR" dirty="0">
                <a:solidFill>
                  <a:srgbClr val="FC0D1A"/>
                </a:solidFill>
                <a:latin typeface="MAIF Medium"/>
              </a:rPr>
              <a:t>Réseaux sociaux</a:t>
            </a:r>
            <a:endParaRPr lang="fr-FR" dirty="0">
              <a:solidFill>
                <a:srgbClr val="000000"/>
              </a:solidFill>
            </a:endParaRPr>
          </a:p>
        </p:txBody>
      </p:sp>
      <p:pic>
        <p:nvPicPr>
          <p:cNvPr id="61" name="Graphic 62">
            <a:extLst>
              <a:ext uri="{FF2B5EF4-FFF2-40B4-BE49-F238E27FC236}">
                <a16:creationId xmlns:a16="http://schemas.microsoft.com/office/drawing/2014/main" id="{3587C27E-4405-486D-9CA7-7A4CFADF5415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13110" y="1888266"/>
            <a:ext cx="682232" cy="682232"/>
          </a:xfrm>
          <a:prstGeom prst="rect">
            <a:avLst/>
          </a:prstGeom>
        </p:spPr>
      </p:pic>
      <p:pic>
        <p:nvPicPr>
          <p:cNvPr id="64" name="Graphic 4">
            <a:extLst>
              <a:ext uri="{FF2B5EF4-FFF2-40B4-BE49-F238E27FC236}">
                <a16:creationId xmlns:a16="http://schemas.microsoft.com/office/drawing/2014/main" id="{0D041FFB-6F2F-4B31-B3F3-E12825BFD5AC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30637" y="1888266"/>
            <a:ext cx="682232" cy="682232"/>
          </a:xfrm>
          <a:prstGeom prst="rect">
            <a:avLst/>
          </a:prstGeom>
        </p:spPr>
      </p:pic>
      <p:pic>
        <p:nvPicPr>
          <p:cNvPr id="65" name="Graphic 7">
            <a:extLst>
              <a:ext uri="{FF2B5EF4-FFF2-40B4-BE49-F238E27FC236}">
                <a16:creationId xmlns:a16="http://schemas.microsoft.com/office/drawing/2014/main" id="{B8198FD1-4831-4218-9CD7-98618B78DF65}"/>
              </a:ext>
            </a:extLst>
          </p:cNvPr>
          <p:cNvPicPr>
            <a:picLocks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248164" y="1888267"/>
            <a:ext cx="682231" cy="682231"/>
          </a:xfrm>
          <a:prstGeom prst="rect">
            <a:avLst/>
          </a:prstGeom>
        </p:spPr>
      </p:pic>
      <p:pic>
        <p:nvPicPr>
          <p:cNvPr id="66" name="Graphic 11">
            <a:extLst>
              <a:ext uri="{FF2B5EF4-FFF2-40B4-BE49-F238E27FC236}">
                <a16:creationId xmlns:a16="http://schemas.microsoft.com/office/drawing/2014/main" id="{1A0BC64F-69CF-4867-9A20-F75EF6C231AA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165690" y="1888266"/>
            <a:ext cx="682232" cy="682232"/>
          </a:xfrm>
          <a:prstGeom prst="rect">
            <a:avLst/>
          </a:prstGeom>
        </p:spPr>
      </p:pic>
      <p:pic>
        <p:nvPicPr>
          <p:cNvPr id="67" name="Graphic 1">
            <a:extLst>
              <a:ext uri="{FF2B5EF4-FFF2-40B4-BE49-F238E27FC236}">
                <a16:creationId xmlns:a16="http://schemas.microsoft.com/office/drawing/2014/main" id="{F392FDA8-0CFF-468C-8A6B-170C07501012}"/>
              </a:ext>
            </a:extLst>
          </p:cNvPr>
          <p:cNvPicPr>
            <a:picLocks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083217" y="1888267"/>
            <a:ext cx="682231" cy="682231"/>
          </a:xfrm>
          <a:prstGeom prst="rect">
            <a:avLst/>
          </a:prstGeom>
        </p:spPr>
      </p:pic>
      <p:grpSp>
        <p:nvGrpSpPr>
          <p:cNvPr id="68" name="Group 11">
            <a:extLst>
              <a:ext uri="{FF2B5EF4-FFF2-40B4-BE49-F238E27FC236}">
                <a16:creationId xmlns:a16="http://schemas.microsoft.com/office/drawing/2014/main" id="{0211C8E9-4C2D-4188-92D6-F7DED3863823}"/>
              </a:ext>
            </a:extLst>
          </p:cNvPr>
          <p:cNvGrpSpPr>
            <a:grpSpLocks/>
          </p:cNvGrpSpPr>
          <p:nvPr/>
        </p:nvGrpSpPr>
        <p:grpSpPr bwMode="auto">
          <a:xfrm>
            <a:off x="5931307" y="2773595"/>
            <a:ext cx="682231" cy="682231"/>
            <a:chOff x="2601" y="1879"/>
            <a:chExt cx="558" cy="559"/>
          </a:xfrm>
        </p:grpSpPr>
        <p:sp>
          <p:nvSpPr>
            <p:cNvPr id="98" name="Oval 12">
              <a:extLst>
                <a:ext uri="{FF2B5EF4-FFF2-40B4-BE49-F238E27FC236}">
                  <a16:creationId xmlns:a16="http://schemas.microsoft.com/office/drawing/2014/main" id="{29AB4AF1-6FC6-4883-8BB7-91B519C8D7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1" y="1879"/>
              <a:ext cx="558" cy="559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Freeform 13">
              <a:extLst>
                <a:ext uri="{FF2B5EF4-FFF2-40B4-BE49-F238E27FC236}">
                  <a16:creationId xmlns:a16="http://schemas.microsoft.com/office/drawing/2014/main" id="{0AF2F84A-C82F-476A-B8C9-E59262849D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2" y="1996"/>
              <a:ext cx="296" cy="344"/>
            </a:xfrm>
            <a:custGeom>
              <a:avLst/>
              <a:gdLst>
                <a:gd name="T0" fmla="*/ 100 w 106"/>
                <a:gd name="T1" fmla="*/ 33 h 123"/>
                <a:gd name="T2" fmla="*/ 95 w 106"/>
                <a:gd name="T3" fmla="*/ 39 h 123"/>
                <a:gd name="T4" fmla="*/ 90 w 106"/>
                <a:gd name="T5" fmla="*/ 58 h 123"/>
                <a:gd name="T6" fmla="*/ 87 w 106"/>
                <a:gd name="T7" fmla="*/ 61 h 123"/>
                <a:gd name="T8" fmla="*/ 82 w 106"/>
                <a:gd name="T9" fmla="*/ 57 h 123"/>
                <a:gd name="T10" fmla="*/ 85 w 106"/>
                <a:gd name="T11" fmla="*/ 40 h 123"/>
                <a:gd name="T12" fmla="*/ 88 w 106"/>
                <a:gd name="T13" fmla="*/ 19 h 123"/>
                <a:gd name="T14" fmla="*/ 82 w 106"/>
                <a:gd name="T15" fmla="*/ 2 h 123"/>
                <a:gd name="T16" fmla="*/ 64 w 106"/>
                <a:gd name="T17" fmla="*/ 7 h 123"/>
                <a:gd name="T18" fmla="*/ 54 w 106"/>
                <a:gd name="T19" fmla="*/ 26 h 123"/>
                <a:gd name="T20" fmla="*/ 56 w 106"/>
                <a:gd name="T21" fmla="*/ 17 h 123"/>
                <a:gd name="T22" fmla="*/ 55 w 106"/>
                <a:gd name="T23" fmla="*/ 8 h 123"/>
                <a:gd name="T24" fmla="*/ 47 w 106"/>
                <a:gd name="T25" fmla="*/ 0 h 123"/>
                <a:gd name="T26" fmla="*/ 32 w 106"/>
                <a:gd name="T27" fmla="*/ 12 h 123"/>
                <a:gd name="T28" fmla="*/ 21 w 106"/>
                <a:gd name="T29" fmla="*/ 39 h 123"/>
                <a:gd name="T30" fmla="*/ 24 w 106"/>
                <a:gd name="T31" fmla="*/ 20 h 123"/>
                <a:gd name="T32" fmla="*/ 23 w 106"/>
                <a:gd name="T33" fmla="*/ 5 h 123"/>
                <a:gd name="T34" fmla="*/ 12 w 106"/>
                <a:gd name="T35" fmla="*/ 2 h 123"/>
                <a:gd name="T36" fmla="*/ 1 w 106"/>
                <a:gd name="T37" fmla="*/ 18 h 123"/>
                <a:gd name="T38" fmla="*/ 1 w 106"/>
                <a:gd name="T39" fmla="*/ 21 h 123"/>
                <a:gd name="T40" fmla="*/ 3 w 106"/>
                <a:gd name="T41" fmla="*/ 22 h 123"/>
                <a:gd name="T42" fmla="*/ 10 w 106"/>
                <a:gd name="T43" fmla="*/ 15 h 123"/>
                <a:gd name="T44" fmla="*/ 16 w 106"/>
                <a:gd name="T45" fmla="*/ 13 h 123"/>
                <a:gd name="T46" fmla="*/ 16 w 106"/>
                <a:gd name="T47" fmla="*/ 15 h 123"/>
                <a:gd name="T48" fmla="*/ 14 w 106"/>
                <a:gd name="T49" fmla="*/ 37 h 123"/>
                <a:gd name="T50" fmla="*/ 10 w 106"/>
                <a:gd name="T51" fmla="*/ 61 h 123"/>
                <a:gd name="T52" fmla="*/ 10 w 106"/>
                <a:gd name="T53" fmla="*/ 69 h 123"/>
                <a:gd name="T54" fmla="*/ 15 w 106"/>
                <a:gd name="T55" fmla="*/ 71 h 123"/>
                <a:gd name="T56" fmla="*/ 20 w 106"/>
                <a:gd name="T57" fmla="*/ 69 h 123"/>
                <a:gd name="T58" fmla="*/ 25 w 106"/>
                <a:gd name="T59" fmla="*/ 49 h 123"/>
                <a:gd name="T60" fmla="*/ 35 w 106"/>
                <a:gd name="T61" fmla="*/ 23 h 123"/>
                <a:gd name="T62" fmla="*/ 44 w 106"/>
                <a:gd name="T63" fmla="*/ 11 h 123"/>
                <a:gd name="T64" fmla="*/ 48 w 106"/>
                <a:gd name="T65" fmla="*/ 17 h 123"/>
                <a:gd name="T66" fmla="*/ 46 w 106"/>
                <a:gd name="T67" fmla="*/ 38 h 123"/>
                <a:gd name="T68" fmla="*/ 42 w 106"/>
                <a:gd name="T69" fmla="*/ 61 h 123"/>
                <a:gd name="T70" fmla="*/ 43 w 106"/>
                <a:gd name="T71" fmla="*/ 69 h 123"/>
                <a:gd name="T72" fmla="*/ 48 w 106"/>
                <a:gd name="T73" fmla="*/ 70 h 123"/>
                <a:gd name="T74" fmla="*/ 52 w 106"/>
                <a:gd name="T75" fmla="*/ 66 h 123"/>
                <a:gd name="T76" fmla="*/ 58 w 106"/>
                <a:gd name="T77" fmla="*/ 39 h 123"/>
                <a:gd name="T78" fmla="*/ 66 w 106"/>
                <a:gd name="T79" fmla="*/ 16 h 123"/>
                <a:gd name="T80" fmla="*/ 76 w 106"/>
                <a:gd name="T81" fmla="*/ 11 h 123"/>
                <a:gd name="T82" fmla="*/ 77 w 106"/>
                <a:gd name="T83" fmla="*/ 19 h 123"/>
                <a:gd name="T84" fmla="*/ 75 w 106"/>
                <a:gd name="T85" fmla="*/ 38 h 123"/>
                <a:gd name="T86" fmla="*/ 71 w 106"/>
                <a:gd name="T87" fmla="*/ 57 h 123"/>
                <a:gd name="T88" fmla="*/ 72 w 106"/>
                <a:gd name="T89" fmla="*/ 64 h 123"/>
                <a:gd name="T90" fmla="*/ 83 w 106"/>
                <a:gd name="T91" fmla="*/ 71 h 123"/>
                <a:gd name="T92" fmla="*/ 90 w 106"/>
                <a:gd name="T93" fmla="*/ 75 h 123"/>
                <a:gd name="T94" fmla="*/ 41 w 106"/>
                <a:gd name="T95" fmla="*/ 114 h 123"/>
                <a:gd name="T96" fmla="*/ 7 w 106"/>
                <a:gd name="T97" fmla="*/ 99 h 123"/>
                <a:gd name="T98" fmla="*/ 6 w 106"/>
                <a:gd name="T99" fmla="*/ 102 h 123"/>
                <a:gd name="T100" fmla="*/ 11 w 106"/>
                <a:gd name="T101" fmla="*/ 107 h 123"/>
                <a:gd name="T102" fmla="*/ 93 w 106"/>
                <a:gd name="T103" fmla="*/ 97 h 123"/>
                <a:gd name="T104" fmla="*/ 102 w 106"/>
                <a:gd name="T105" fmla="*/ 53 h 123"/>
                <a:gd name="T106" fmla="*/ 105 w 106"/>
                <a:gd name="T107" fmla="*/ 39 h 123"/>
                <a:gd name="T108" fmla="*/ 105 w 106"/>
                <a:gd name="T109" fmla="*/ 34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6" h="123">
                  <a:moveTo>
                    <a:pt x="105" y="34"/>
                  </a:moveTo>
                  <a:cubicBezTo>
                    <a:pt x="104" y="33"/>
                    <a:pt x="103" y="33"/>
                    <a:pt x="103" y="33"/>
                  </a:cubicBezTo>
                  <a:cubicBezTo>
                    <a:pt x="102" y="33"/>
                    <a:pt x="101" y="33"/>
                    <a:pt x="100" y="33"/>
                  </a:cubicBezTo>
                  <a:cubicBezTo>
                    <a:pt x="100" y="34"/>
                    <a:pt x="99" y="34"/>
                    <a:pt x="98" y="35"/>
                  </a:cubicBezTo>
                  <a:cubicBezTo>
                    <a:pt x="97" y="35"/>
                    <a:pt x="97" y="36"/>
                    <a:pt x="96" y="36"/>
                  </a:cubicBezTo>
                  <a:cubicBezTo>
                    <a:pt x="96" y="37"/>
                    <a:pt x="95" y="38"/>
                    <a:pt x="95" y="39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2"/>
                    <a:pt x="92" y="53"/>
                    <a:pt x="91" y="54"/>
                  </a:cubicBezTo>
                  <a:cubicBezTo>
                    <a:pt x="91" y="55"/>
                    <a:pt x="91" y="57"/>
                    <a:pt x="90" y="58"/>
                  </a:cubicBezTo>
                  <a:cubicBezTo>
                    <a:pt x="90" y="58"/>
                    <a:pt x="90" y="58"/>
                    <a:pt x="90" y="59"/>
                  </a:cubicBezTo>
                  <a:cubicBezTo>
                    <a:pt x="90" y="59"/>
                    <a:pt x="89" y="59"/>
                    <a:pt x="89" y="60"/>
                  </a:cubicBezTo>
                  <a:cubicBezTo>
                    <a:pt x="88" y="60"/>
                    <a:pt x="88" y="61"/>
                    <a:pt x="87" y="61"/>
                  </a:cubicBezTo>
                  <a:cubicBezTo>
                    <a:pt x="86" y="61"/>
                    <a:pt x="86" y="61"/>
                    <a:pt x="85" y="61"/>
                  </a:cubicBezTo>
                  <a:cubicBezTo>
                    <a:pt x="84" y="61"/>
                    <a:pt x="83" y="61"/>
                    <a:pt x="83" y="60"/>
                  </a:cubicBezTo>
                  <a:cubicBezTo>
                    <a:pt x="82" y="60"/>
                    <a:pt x="82" y="59"/>
                    <a:pt x="82" y="57"/>
                  </a:cubicBezTo>
                  <a:cubicBezTo>
                    <a:pt x="82" y="56"/>
                    <a:pt x="82" y="54"/>
                    <a:pt x="82" y="52"/>
                  </a:cubicBezTo>
                  <a:cubicBezTo>
                    <a:pt x="82" y="51"/>
                    <a:pt x="83" y="49"/>
                    <a:pt x="83" y="47"/>
                  </a:cubicBezTo>
                  <a:cubicBezTo>
                    <a:pt x="84" y="45"/>
                    <a:pt x="84" y="42"/>
                    <a:pt x="85" y="40"/>
                  </a:cubicBezTo>
                  <a:cubicBezTo>
                    <a:pt x="85" y="38"/>
                    <a:pt x="86" y="35"/>
                    <a:pt x="86" y="33"/>
                  </a:cubicBezTo>
                  <a:cubicBezTo>
                    <a:pt x="87" y="31"/>
                    <a:pt x="87" y="28"/>
                    <a:pt x="87" y="26"/>
                  </a:cubicBezTo>
                  <a:cubicBezTo>
                    <a:pt x="88" y="23"/>
                    <a:pt x="88" y="21"/>
                    <a:pt x="88" y="19"/>
                  </a:cubicBezTo>
                  <a:cubicBezTo>
                    <a:pt x="88" y="16"/>
                    <a:pt x="88" y="14"/>
                    <a:pt x="87" y="12"/>
                  </a:cubicBezTo>
                  <a:cubicBezTo>
                    <a:pt x="87" y="9"/>
                    <a:pt x="86" y="7"/>
                    <a:pt x="85" y="6"/>
                  </a:cubicBezTo>
                  <a:cubicBezTo>
                    <a:pt x="84" y="4"/>
                    <a:pt x="83" y="3"/>
                    <a:pt x="82" y="2"/>
                  </a:cubicBezTo>
                  <a:cubicBezTo>
                    <a:pt x="81" y="1"/>
                    <a:pt x="79" y="0"/>
                    <a:pt x="78" y="0"/>
                  </a:cubicBezTo>
                  <a:cubicBezTo>
                    <a:pt x="75" y="0"/>
                    <a:pt x="73" y="1"/>
                    <a:pt x="71" y="2"/>
                  </a:cubicBezTo>
                  <a:cubicBezTo>
                    <a:pt x="68" y="3"/>
                    <a:pt x="66" y="5"/>
                    <a:pt x="64" y="7"/>
                  </a:cubicBezTo>
                  <a:cubicBezTo>
                    <a:pt x="63" y="9"/>
                    <a:pt x="61" y="12"/>
                    <a:pt x="59" y="15"/>
                  </a:cubicBezTo>
                  <a:cubicBezTo>
                    <a:pt x="58" y="19"/>
                    <a:pt x="56" y="22"/>
                    <a:pt x="55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4"/>
                    <a:pt x="55" y="23"/>
                    <a:pt x="55" y="21"/>
                  </a:cubicBezTo>
                  <a:cubicBezTo>
                    <a:pt x="55" y="20"/>
                    <a:pt x="55" y="20"/>
                    <a:pt x="55" y="19"/>
                  </a:cubicBezTo>
                  <a:cubicBezTo>
                    <a:pt x="56" y="18"/>
                    <a:pt x="56" y="18"/>
                    <a:pt x="56" y="17"/>
                  </a:cubicBezTo>
                  <a:cubicBezTo>
                    <a:pt x="56" y="16"/>
                    <a:pt x="56" y="16"/>
                    <a:pt x="56" y="15"/>
                  </a:cubicBezTo>
                  <a:cubicBezTo>
                    <a:pt x="56" y="15"/>
                    <a:pt x="56" y="15"/>
                    <a:pt x="56" y="14"/>
                  </a:cubicBezTo>
                  <a:cubicBezTo>
                    <a:pt x="56" y="12"/>
                    <a:pt x="56" y="10"/>
                    <a:pt x="55" y="8"/>
                  </a:cubicBezTo>
                  <a:cubicBezTo>
                    <a:pt x="55" y="6"/>
                    <a:pt x="54" y="5"/>
                    <a:pt x="54" y="4"/>
                  </a:cubicBezTo>
                  <a:cubicBezTo>
                    <a:pt x="53" y="3"/>
                    <a:pt x="52" y="2"/>
                    <a:pt x="51" y="1"/>
                  </a:cubicBezTo>
                  <a:cubicBezTo>
                    <a:pt x="50" y="1"/>
                    <a:pt x="49" y="0"/>
                    <a:pt x="47" y="0"/>
                  </a:cubicBezTo>
                  <a:cubicBezTo>
                    <a:pt x="46" y="0"/>
                    <a:pt x="44" y="1"/>
                    <a:pt x="42" y="2"/>
                  </a:cubicBezTo>
                  <a:cubicBezTo>
                    <a:pt x="41" y="3"/>
                    <a:pt x="39" y="4"/>
                    <a:pt x="37" y="6"/>
                  </a:cubicBezTo>
                  <a:cubicBezTo>
                    <a:pt x="36" y="7"/>
                    <a:pt x="34" y="9"/>
                    <a:pt x="32" y="12"/>
                  </a:cubicBezTo>
                  <a:cubicBezTo>
                    <a:pt x="31" y="14"/>
                    <a:pt x="29" y="17"/>
                    <a:pt x="28" y="20"/>
                  </a:cubicBezTo>
                  <a:cubicBezTo>
                    <a:pt x="26" y="23"/>
                    <a:pt x="25" y="26"/>
                    <a:pt x="24" y="29"/>
                  </a:cubicBezTo>
                  <a:cubicBezTo>
                    <a:pt x="23" y="32"/>
                    <a:pt x="22" y="36"/>
                    <a:pt x="21" y="39"/>
                  </a:cubicBezTo>
                  <a:cubicBezTo>
                    <a:pt x="21" y="37"/>
                    <a:pt x="22" y="35"/>
                    <a:pt x="22" y="33"/>
                  </a:cubicBezTo>
                  <a:cubicBezTo>
                    <a:pt x="23" y="31"/>
                    <a:pt x="23" y="29"/>
                    <a:pt x="23" y="26"/>
                  </a:cubicBezTo>
                  <a:cubicBezTo>
                    <a:pt x="24" y="24"/>
                    <a:pt x="24" y="22"/>
                    <a:pt x="24" y="20"/>
                  </a:cubicBezTo>
                  <a:cubicBezTo>
                    <a:pt x="25" y="18"/>
                    <a:pt x="25" y="16"/>
                    <a:pt x="25" y="15"/>
                  </a:cubicBezTo>
                  <a:cubicBezTo>
                    <a:pt x="25" y="13"/>
                    <a:pt x="25" y="11"/>
                    <a:pt x="24" y="9"/>
                  </a:cubicBezTo>
                  <a:cubicBezTo>
                    <a:pt x="24" y="8"/>
                    <a:pt x="24" y="6"/>
                    <a:pt x="23" y="5"/>
                  </a:cubicBezTo>
                  <a:cubicBezTo>
                    <a:pt x="22" y="4"/>
                    <a:pt x="21" y="3"/>
                    <a:pt x="20" y="2"/>
                  </a:cubicBezTo>
                  <a:cubicBezTo>
                    <a:pt x="19" y="2"/>
                    <a:pt x="18" y="1"/>
                    <a:pt x="16" y="1"/>
                  </a:cubicBezTo>
                  <a:cubicBezTo>
                    <a:pt x="15" y="1"/>
                    <a:pt x="13" y="2"/>
                    <a:pt x="12" y="2"/>
                  </a:cubicBezTo>
                  <a:cubicBezTo>
                    <a:pt x="11" y="3"/>
                    <a:pt x="9" y="4"/>
                    <a:pt x="8" y="5"/>
                  </a:cubicBezTo>
                  <a:cubicBezTo>
                    <a:pt x="6" y="6"/>
                    <a:pt x="5" y="8"/>
                    <a:pt x="4" y="10"/>
                  </a:cubicBezTo>
                  <a:cubicBezTo>
                    <a:pt x="3" y="12"/>
                    <a:pt x="2" y="15"/>
                    <a:pt x="1" y="18"/>
                  </a:cubicBezTo>
                  <a:cubicBezTo>
                    <a:pt x="0" y="18"/>
                    <a:pt x="0" y="18"/>
                    <a:pt x="0" y="19"/>
                  </a:cubicBezTo>
                  <a:cubicBezTo>
                    <a:pt x="0" y="19"/>
                    <a:pt x="0" y="19"/>
                    <a:pt x="1" y="20"/>
                  </a:cubicBezTo>
                  <a:cubicBezTo>
                    <a:pt x="1" y="20"/>
                    <a:pt x="1" y="20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2"/>
                    <a:pt x="2" y="22"/>
                    <a:pt x="2" y="22"/>
                  </a:cubicBezTo>
                  <a:cubicBezTo>
                    <a:pt x="2" y="22"/>
                    <a:pt x="3" y="22"/>
                    <a:pt x="3" y="22"/>
                  </a:cubicBezTo>
                  <a:cubicBezTo>
                    <a:pt x="3" y="21"/>
                    <a:pt x="3" y="21"/>
                    <a:pt x="4" y="21"/>
                  </a:cubicBezTo>
                  <a:cubicBezTo>
                    <a:pt x="5" y="19"/>
                    <a:pt x="5" y="18"/>
                    <a:pt x="6" y="17"/>
                  </a:cubicBezTo>
                  <a:cubicBezTo>
                    <a:pt x="8" y="16"/>
                    <a:pt x="9" y="15"/>
                    <a:pt x="10" y="15"/>
                  </a:cubicBezTo>
                  <a:cubicBezTo>
                    <a:pt x="11" y="14"/>
                    <a:pt x="12" y="13"/>
                    <a:pt x="13" y="13"/>
                  </a:cubicBezTo>
                  <a:cubicBezTo>
                    <a:pt x="13" y="12"/>
                    <a:pt x="14" y="12"/>
                    <a:pt x="15" y="12"/>
                  </a:cubicBezTo>
                  <a:cubicBezTo>
                    <a:pt x="15" y="12"/>
                    <a:pt x="16" y="12"/>
                    <a:pt x="16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4"/>
                    <a:pt x="16" y="14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8"/>
                    <a:pt x="16" y="21"/>
                    <a:pt x="16" y="23"/>
                  </a:cubicBezTo>
                  <a:cubicBezTo>
                    <a:pt x="16" y="26"/>
                    <a:pt x="15" y="28"/>
                    <a:pt x="15" y="31"/>
                  </a:cubicBezTo>
                  <a:cubicBezTo>
                    <a:pt x="15" y="33"/>
                    <a:pt x="15" y="35"/>
                    <a:pt x="14" y="37"/>
                  </a:cubicBezTo>
                  <a:cubicBezTo>
                    <a:pt x="14" y="40"/>
                    <a:pt x="14" y="42"/>
                    <a:pt x="13" y="45"/>
                  </a:cubicBezTo>
                  <a:cubicBezTo>
                    <a:pt x="13" y="47"/>
                    <a:pt x="12" y="50"/>
                    <a:pt x="12" y="52"/>
                  </a:cubicBezTo>
                  <a:cubicBezTo>
                    <a:pt x="11" y="55"/>
                    <a:pt x="11" y="58"/>
                    <a:pt x="10" y="61"/>
                  </a:cubicBezTo>
                  <a:cubicBezTo>
                    <a:pt x="10" y="62"/>
                    <a:pt x="9" y="63"/>
                    <a:pt x="9" y="64"/>
                  </a:cubicBezTo>
                  <a:cubicBezTo>
                    <a:pt x="9" y="65"/>
                    <a:pt x="9" y="66"/>
                    <a:pt x="9" y="67"/>
                  </a:cubicBezTo>
                  <a:cubicBezTo>
                    <a:pt x="9" y="68"/>
                    <a:pt x="9" y="68"/>
                    <a:pt x="10" y="69"/>
                  </a:cubicBezTo>
                  <a:cubicBezTo>
                    <a:pt x="10" y="69"/>
                    <a:pt x="10" y="69"/>
                    <a:pt x="11" y="70"/>
                  </a:cubicBezTo>
                  <a:cubicBezTo>
                    <a:pt x="11" y="70"/>
                    <a:pt x="12" y="70"/>
                    <a:pt x="13" y="70"/>
                  </a:cubicBezTo>
                  <a:cubicBezTo>
                    <a:pt x="13" y="71"/>
                    <a:pt x="14" y="71"/>
                    <a:pt x="15" y="71"/>
                  </a:cubicBezTo>
                  <a:cubicBezTo>
                    <a:pt x="15" y="71"/>
                    <a:pt x="16" y="71"/>
                    <a:pt x="17" y="70"/>
                  </a:cubicBezTo>
                  <a:cubicBezTo>
                    <a:pt x="17" y="70"/>
                    <a:pt x="18" y="70"/>
                    <a:pt x="18" y="70"/>
                  </a:cubicBezTo>
                  <a:cubicBezTo>
                    <a:pt x="19" y="70"/>
                    <a:pt x="19" y="69"/>
                    <a:pt x="20" y="69"/>
                  </a:cubicBezTo>
                  <a:cubicBezTo>
                    <a:pt x="20" y="68"/>
                    <a:pt x="20" y="67"/>
                    <a:pt x="21" y="67"/>
                  </a:cubicBezTo>
                  <a:cubicBezTo>
                    <a:pt x="21" y="64"/>
                    <a:pt x="21" y="61"/>
                    <a:pt x="22" y="58"/>
                  </a:cubicBezTo>
                  <a:cubicBezTo>
                    <a:pt x="23" y="55"/>
                    <a:pt x="24" y="52"/>
                    <a:pt x="25" y="49"/>
                  </a:cubicBezTo>
                  <a:cubicBezTo>
                    <a:pt x="26" y="46"/>
                    <a:pt x="27" y="43"/>
                    <a:pt x="28" y="40"/>
                  </a:cubicBezTo>
                  <a:cubicBezTo>
                    <a:pt x="29" y="37"/>
                    <a:pt x="30" y="34"/>
                    <a:pt x="31" y="31"/>
                  </a:cubicBezTo>
                  <a:cubicBezTo>
                    <a:pt x="32" y="28"/>
                    <a:pt x="33" y="25"/>
                    <a:pt x="35" y="23"/>
                  </a:cubicBezTo>
                  <a:cubicBezTo>
                    <a:pt x="36" y="21"/>
                    <a:pt x="37" y="18"/>
                    <a:pt x="38" y="17"/>
                  </a:cubicBezTo>
                  <a:cubicBezTo>
                    <a:pt x="39" y="15"/>
                    <a:pt x="40" y="13"/>
                    <a:pt x="41" y="12"/>
                  </a:cubicBezTo>
                  <a:cubicBezTo>
                    <a:pt x="42" y="11"/>
                    <a:pt x="43" y="11"/>
                    <a:pt x="44" y="11"/>
                  </a:cubicBezTo>
                  <a:cubicBezTo>
                    <a:pt x="45" y="11"/>
                    <a:pt x="46" y="11"/>
                    <a:pt x="46" y="11"/>
                  </a:cubicBezTo>
                  <a:cubicBezTo>
                    <a:pt x="47" y="12"/>
                    <a:pt x="47" y="13"/>
                    <a:pt x="47" y="14"/>
                  </a:cubicBezTo>
                  <a:cubicBezTo>
                    <a:pt x="48" y="15"/>
                    <a:pt x="48" y="16"/>
                    <a:pt x="48" y="17"/>
                  </a:cubicBezTo>
                  <a:cubicBezTo>
                    <a:pt x="48" y="18"/>
                    <a:pt x="48" y="20"/>
                    <a:pt x="48" y="21"/>
                  </a:cubicBezTo>
                  <a:cubicBezTo>
                    <a:pt x="48" y="24"/>
                    <a:pt x="48" y="27"/>
                    <a:pt x="48" y="29"/>
                  </a:cubicBezTo>
                  <a:cubicBezTo>
                    <a:pt x="47" y="32"/>
                    <a:pt x="47" y="35"/>
                    <a:pt x="46" y="38"/>
                  </a:cubicBezTo>
                  <a:cubicBezTo>
                    <a:pt x="46" y="41"/>
                    <a:pt x="45" y="44"/>
                    <a:pt x="45" y="47"/>
                  </a:cubicBezTo>
                  <a:cubicBezTo>
                    <a:pt x="44" y="50"/>
                    <a:pt x="44" y="53"/>
                    <a:pt x="43" y="55"/>
                  </a:cubicBezTo>
                  <a:cubicBezTo>
                    <a:pt x="43" y="57"/>
                    <a:pt x="42" y="59"/>
                    <a:pt x="42" y="61"/>
                  </a:cubicBezTo>
                  <a:cubicBezTo>
                    <a:pt x="42" y="63"/>
                    <a:pt x="41" y="64"/>
                    <a:pt x="41" y="65"/>
                  </a:cubicBezTo>
                  <a:cubicBezTo>
                    <a:pt x="41" y="66"/>
                    <a:pt x="41" y="67"/>
                    <a:pt x="42" y="67"/>
                  </a:cubicBezTo>
                  <a:cubicBezTo>
                    <a:pt x="42" y="68"/>
                    <a:pt x="42" y="69"/>
                    <a:pt x="43" y="69"/>
                  </a:cubicBezTo>
                  <a:cubicBezTo>
                    <a:pt x="43" y="70"/>
                    <a:pt x="44" y="70"/>
                    <a:pt x="44" y="70"/>
                  </a:cubicBezTo>
                  <a:cubicBezTo>
                    <a:pt x="45" y="70"/>
                    <a:pt x="45" y="71"/>
                    <a:pt x="46" y="71"/>
                  </a:cubicBezTo>
                  <a:cubicBezTo>
                    <a:pt x="47" y="71"/>
                    <a:pt x="47" y="71"/>
                    <a:pt x="48" y="70"/>
                  </a:cubicBezTo>
                  <a:cubicBezTo>
                    <a:pt x="48" y="70"/>
                    <a:pt x="49" y="70"/>
                    <a:pt x="50" y="70"/>
                  </a:cubicBezTo>
                  <a:cubicBezTo>
                    <a:pt x="50" y="69"/>
                    <a:pt x="51" y="69"/>
                    <a:pt x="51" y="68"/>
                  </a:cubicBezTo>
                  <a:cubicBezTo>
                    <a:pt x="52" y="68"/>
                    <a:pt x="52" y="67"/>
                    <a:pt x="52" y="66"/>
                  </a:cubicBezTo>
                  <a:cubicBezTo>
                    <a:pt x="53" y="64"/>
                    <a:pt x="53" y="61"/>
                    <a:pt x="54" y="58"/>
                  </a:cubicBezTo>
                  <a:cubicBezTo>
                    <a:pt x="54" y="55"/>
                    <a:pt x="55" y="52"/>
                    <a:pt x="56" y="49"/>
                  </a:cubicBezTo>
                  <a:cubicBezTo>
                    <a:pt x="56" y="45"/>
                    <a:pt x="57" y="42"/>
                    <a:pt x="58" y="39"/>
                  </a:cubicBezTo>
                  <a:cubicBezTo>
                    <a:pt x="59" y="36"/>
                    <a:pt x="59" y="33"/>
                    <a:pt x="60" y="30"/>
                  </a:cubicBezTo>
                  <a:cubicBezTo>
                    <a:pt x="61" y="28"/>
                    <a:pt x="62" y="25"/>
                    <a:pt x="63" y="23"/>
                  </a:cubicBezTo>
                  <a:cubicBezTo>
                    <a:pt x="64" y="20"/>
                    <a:pt x="65" y="18"/>
                    <a:pt x="66" y="16"/>
                  </a:cubicBezTo>
                  <a:cubicBezTo>
                    <a:pt x="67" y="15"/>
                    <a:pt x="69" y="13"/>
                    <a:pt x="70" y="12"/>
                  </a:cubicBezTo>
                  <a:cubicBezTo>
                    <a:pt x="71" y="11"/>
                    <a:pt x="72" y="11"/>
                    <a:pt x="74" y="11"/>
                  </a:cubicBezTo>
                  <a:cubicBezTo>
                    <a:pt x="75" y="11"/>
                    <a:pt x="75" y="11"/>
                    <a:pt x="76" y="11"/>
                  </a:cubicBezTo>
                  <a:cubicBezTo>
                    <a:pt x="76" y="12"/>
                    <a:pt x="77" y="12"/>
                    <a:pt x="77" y="13"/>
                  </a:cubicBezTo>
                  <a:cubicBezTo>
                    <a:pt x="77" y="14"/>
                    <a:pt x="77" y="14"/>
                    <a:pt x="77" y="15"/>
                  </a:cubicBezTo>
                  <a:cubicBezTo>
                    <a:pt x="77" y="16"/>
                    <a:pt x="77" y="18"/>
                    <a:pt x="77" y="19"/>
                  </a:cubicBezTo>
                  <a:cubicBezTo>
                    <a:pt x="77" y="21"/>
                    <a:pt x="77" y="23"/>
                    <a:pt x="77" y="25"/>
                  </a:cubicBezTo>
                  <a:cubicBezTo>
                    <a:pt x="77" y="27"/>
                    <a:pt x="76" y="29"/>
                    <a:pt x="76" y="32"/>
                  </a:cubicBezTo>
                  <a:cubicBezTo>
                    <a:pt x="76" y="34"/>
                    <a:pt x="75" y="36"/>
                    <a:pt x="75" y="38"/>
                  </a:cubicBezTo>
                  <a:cubicBezTo>
                    <a:pt x="74" y="41"/>
                    <a:pt x="74" y="43"/>
                    <a:pt x="73" y="45"/>
                  </a:cubicBezTo>
                  <a:cubicBezTo>
                    <a:pt x="73" y="47"/>
                    <a:pt x="72" y="49"/>
                    <a:pt x="72" y="51"/>
                  </a:cubicBezTo>
                  <a:cubicBezTo>
                    <a:pt x="72" y="53"/>
                    <a:pt x="71" y="55"/>
                    <a:pt x="71" y="57"/>
                  </a:cubicBezTo>
                  <a:cubicBezTo>
                    <a:pt x="71" y="57"/>
                    <a:pt x="71" y="58"/>
                    <a:pt x="71" y="58"/>
                  </a:cubicBezTo>
                  <a:cubicBezTo>
                    <a:pt x="71" y="58"/>
                    <a:pt x="71" y="58"/>
                    <a:pt x="71" y="59"/>
                  </a:cubicBezTo>
                  <a:cubicBezTo>
                    <a:pt x="71" y="61"/>
                    <a:pt x="72" y="62"/>
                    <a:pt x="72" y="64"/>
                  </a:cubicBezTo>
                  <a:cubicBezTo>
                    <a:pt x="73" y="65"/>
                    <a:pt x="74" y="67"/>
                    <a:pt x="75" y="68"/>
                  </a:cubicBezTo>
                  <a:cubicBezTo>
                    <a:pt x="76" y="69"/>
                    <a:pt x="77" y="69"/>
                    <a:pt x="79" y="70"/>
                  </a:cubicBezTo>
                  <a:cubicBezTo>
                    <a:pt x="80" y="70"/>
                    <a:pt x="81" y="71"/>
                    <a:pt x="83" y="71"/>
                  </a:cubicBezTo>
                  <a:cubicBezTo>
                    <a:pt x="84" y="71"/>
                    <a:pt x="86" y="70"/>
                    <a:pt x="87" y="70"/>
                  </a:cubicBezTo>
                  <a:cubicBezTo>
                    <a:pt x="88" y="70"/>
                    <a:pt x="89" y="69"/>
                    <a:pt x="90" y="69"/>
                  </a:cubicBezTo>
                  <a:cubicBezTo>
                    <a:pt x="90" y="71"/>
                    <a:pt x="90" y="74"/>
                    <a:pt x="90" y="75"/>
                  </a:cubicBezTo>
                  <a:cubicBezTo>
                    <a:pt x="89" y="79"/>
                    <a:pt x="88" y="83"/>
                    <a:pt x="87" y="87"/>
                  </a:cubicBezTo>
                  <a:cubicBezTo>
                    <a:pt x="84" y="94"/>
                    <a:pt x="80" y="102"/>
                    <a:pt x="74" y="107"/>
                  </a:cubicBezTo>
                  <a:cubicBezTo>
                    <a:pt x="65" y="114"/>
                    <a:pt x="52" y="116"/>
                    <a:pt x="41" y="114"/>
                  </a:cubicBezTo>
                  <a:cubicBezTo>
                    <a:pt x="35" y="113"/>
                    <a:pt x="29" y="111"/>
                    <a:pt x="23" y="108"/>
                  </a:cubicBezTo>
                  <a:cubicBezTo>
                    <a:pt x="18" y="106"/>
                    <a:pt x="13" y="101"/>
                    <a:pt x="8" y="100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9"/>
                    <a:pt x="6" y="100"/>
                    <a:pt x="6" y="100"/>
                  </a:cubicBezTo>
                  <a:cubicBezTo>
                    <a:pt x="6" y="100"/>
                    <a:pt x="6" y="101"/>
                    <a:pt x="6" y="101"/>
                  </a:cubicBezTo>
                  <a:cubicBezTo>
                    <a:pt x="6" y="101"/>
                    <a:pt x="6" y="102"/>
                    <a:pt x="6" y="102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6" y="103"/>
                    <a:pt x="6" y="103"/>
                    <a:pt x="6" y="103"/>
                  </a:cubicBezTo>
                  <a:cubicBezTo>
                    <a:pt x="6" y="103"/>
                    <a:pt x="8" y="106"/>
                    <a:pt x="11" y="107"/>
                  </a:cubicBezTo>
                  <a:cubicBezTo>
                    <a:pt x="22" y="115"/>
                    <a:pt x="35" y="121"/>
                    <a:pt x="49" y="122"/>
                  </a:cubicBezTo>
                  <a:cubicBezTo>
                    <a:pt x="60" y="123"/>
                    <a:pt x="71" y="120"/>
                    <a:pt x="79" y="114"/>
                  </a:cubicBezTo>
                  <a:cubicBezTo>
                    <a:pt x="85" y="110"/>
                    <a:pt x="90" y="103"/>
                    <a:pt x="93" y="97"/>
                  </a:cubicBezTo>
                  <a:cubicBezTo>
                    <a:pt x="94" y="93"/>
                    <a:pt x="95" y="90"/>
                    <a:pt x="97" y="86"/>
                  </a:cubicBezTo>
                  <a:cubicBezTo>
                    <a:pt x="97" y="85"/>
                    <a:pt x="100" y="68"/>
                    <a:pt x="101" y="59"/>
                  </a:cubicBezTo>
                  <a:cubicBezTo>
                    <a:pt x="102" y="56"/>
                    <a:pt x="102" y="54"/>
                    <a:pt x="102" y="53"/>
                  </a:cubicBezTo>
                  <a:cubicBezTo>
                    <a:pt x="103" y="52"/>
                    <a:pt x="103" y="50"/>
                    <a:pt x="103" y="48"/>
                  </a:cubicBezTo>
                  <a:cubicBezTo>
                    <a:pt x="103" y="46"/>
                    <a:pt x="104" y="45"/>
                    <a:pt x="104" y="43"/>
                  </a:cubicBezTo>
                  <a:cubicBezTo>
                    <a:pt x="104" y="42"/>
                    <a:pt x="105" y="40"/>
                    <a:pt x="105" y="39"/>
                  </a:cubicBezTo>
                  <a:cubicBezTo>
                    <a:pt x="105" y="38"/>
                    <a:pt x="105" y="37"/>
                    <a:pt x="105" y="36"/>
                  </a:cubicBezTo>
                  <a:cubicBezTo>
                    <a:pt x="106" y="36"/>
                    <a:pt x="106" y="36"/>
                    <a:pt x="106" y="35"/>
                  </a:cubicBezTo>
                  <a:cubicBezTo>
                    <a:pt x="106" y="35"/>
                    <a:pt x="105" y="34"/>
                    <a:pt x="105" y="3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Freeform 14">
              <a:extLst>
                <a:ext uri="{FF2B5EF4-FFF2-40B4-BE49-F238E27FC236}">
                  <a16:creationId xmlns:a16="http://schemas.microsoft.com/office/drawing/2014/main" id="{9FCD5681-73A4-484A-972E-6E868FF171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0" y="2228"/>
              <a:ext cx="30" cy="37"/>
            </a:xfrm>
            <a:custGeom>
              <a:avLst/>
              <a:gdLst>
                <a:gd name="T0" fmla="*/ 11 w 11"/>
                <a:gd name="T1" fmla="*/ 13 h 13"/>
                <a:gd name="T2" fmla="*/ 1 w 11"/>
                <a:gd name="T3" fmla="*/ 9 h 13"/>
                <a:gd name="T4" fmla="*/ 2 w 11"/>
                <a:gd name="T5" fmla="*/ 2 h 13"/>
                <a:gd name="T6" fmla="*/ 9 w 11"/>
                <a:gd name="T7" fmla="*/ 2 h 13"/>
                <a:gd name="T8" fmla="*/ 11 w 11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3">
                  <a:moveTo>
                    <a:pt x="11" y="13"/>
                  </a:moveTo>
                  <a:cubicBezTo>
                    <a:pt x="11" y="13"/>
                    <a:pt x="3" y="11"/>
                    <a:pt x="1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4" y="0"/>
                    <a:pt x="7" y="0"/>
                    <a:pt x="9" y="2"/>
                  </a:cubicBezTo>
                  <a:cubicBezTo>
                    <a:pt x="11" y="4"/>
                    <a:pt x="11" y="13"/>
                    <a:pt x="11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Freeform 15">
              <a:extLst>
                <a:ext uri="{FF2B5EF4-FFF2-40B4-BE49-F238E27FC236}">
                  <a16:creationId xmlns:a16="http://schemas.microsoft.com/office/drawing/2014/main" id="{11848CE5-2C2A-4584-8B19-0FCD0BD023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0" y="2212"/>
              <a:ext cx="31" cy="39"/>
            </a:xfrm>
            <a:custGeom>
              <a:avLst/>
              <a:gdLst>
                <a:gd name="T0" fmla="*/ 9 w 11"/>
                <a:gd name="T1" fmla="*/ 14 h 14"/>
                <a:gd name="T2" fmla="*/ 1 w 11"/>
                <a:gd name="T3" fmla="*/ 7 h 14"/>
                <a:gd name="T4" fmla="*/ 4 w 11"/>
                <a:gd name="T5" fmla="*/ 1 h 14"/>
                <a:gd name="T6" fmla="*/ 11 w 11"/>
                <a:gd name="T7" fmla="*/ 4 h 14"/>
                <a:gd name="T8" fmla="*/ 9 w 11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4">
                  <a:moveTo>
                    <a:pt x="9" y="14"/>
                  </a:moveTo>
                  <a:cubicBezTo>
                    <a:pt x="9" y="14"/>
                    <a:pt x="2" y="9"/>
                    <a:pt x="1" y="7"/>
                  </a:cubicBezTo>
                  <a:cubicBezTo>
                    <a:pt x="0" y="4"/>
                    <a:pt x="2" y="1"/>
                    <a:pt x="4" y="1"/>
                  </a:cubicBezTo>
                  <a:cubicBezTo>
                    <a:pt x="7" y="0"/>
                    <a:pt x="10" y="1"/>
                    <a:pt x="11" y="4"/>
                  </a:cubicBezTo>
                  <a:cubicBezTo>
                    <a:pt x="11" y="6"/>
                    <a:pt x="9" y="14"/>
                    <a:pt x="9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69" name="Group 18">
            <a:extLst>
              <a:ext uri="{FF2B5EF4-FFF2-40B4-BE49-F238E27FC236}">
                <a16:creationId xmlns:a16="http://schemas.microsoft.com/office/drawing/2014/main" id="{A9CBFA0E-A203-4C10-A6FD-1E1DF621B3E8}"/>
              </a:ext>
            </a:extLst>
          </p:cNvPr>
          <p:cNvGrpSpPr>
            <a:grpSpLocks/>
          </p:cNvGrpSpPr>
          <p:nvPr/>
        </p:nvGrpSpPr>
        <p:grpSpPr bwMode="auto">
          <a:xfrm>
            <a:off x="5931307" y="1888267"/>
            <a:ext cx="682231" cy="682231"/>
            <a:chOff x="3149" y="692"/>
            <a:chExt cx="559" cy="558"/>
          </a:xfrm>
        </p:grpSpPr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id="{AA046E77-2CFD-4656-AC1E-6A7756693B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9" y="692"/>
              <a:ext cx="559" cy="558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200 w 200"/>
                <a:gd name="T7" fmla="*/ 100 h 200"/>
                <a:gd name="T8" fmla="*/ 100 w 200"/>
                <a:gd name="T9" fmla="*/ 0 h 200"/>
                <a:gd name="T10" fmla="*/ 100 w 200"/>
                <a:gd name="T11" fmla="*/ 194 h 200"/>
                <a:gd name="T12" fmla="*/ 6 w 200"/>
                <a:gd name="T13" fmla="*/ 100 h 200"/>
                <a:gd name="T14" fmla="*/ 100 w 200"/>
                <a:gd name="T15" fmla="*/ 6 h 200"/>
                <a:gd name="T16" fmla="*/ 194 w 200"/>
                <a:gd name="T17" fmla="*/ 100 h 200"/>
                <a:gd name="T18" fmla="*/ 100 w 200"/>
                <a:gd name="T19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55" y="200"/>
                    <a:pt x="200" y="155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  <a:moveTo>
                    <a:pt x="100" y="194"/>
                  </a:moveTo>
                  <a:cubicBezTo>
                    <a:pt x="48" y="194"/>
                    <a:pt x="6" y="152"/>
                    <a:pt x="6" y="100"/>
                  </a:cubicBezTo>
                  <a:cubicBezTo>
                    <a:pt x="6" y="48"/>
                    <a:pt x="48" y="6"/>
                    <a:pt x="100" y="6"/>
                  </a:cubicBezTo>
                  <a:cubicBezTo>
                    <a:pt x="152" y="6"/>
                    <a:pt x="194" y="48"/>
                    <a:pt x="194" y="100"/>
                  </a:cubicBezTo>
                  <a:cubicBezTo>
                    <a:pt x="194" y="152"/>
                    <a:pt x="152" y="194"/>
                    <a:pt x="100" y="194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Freeform 20">
              <a:extLst>
                <a:ext uri="{FF2B5EF4-FFF2-40B4-BE49-F238E27FC236}">
                  <a16:creationId xmlns:a16="http://schemas.microsoft.com/office/drawing/2014/main" id="{3C1A28FC-0A84-4548-92CA-D093636F1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0" y="809"/>
              <a:ext cx="297" cy="343"/>
            </a:xfrm>
            <a:custGeom>
              <a:avLst/>
              <a:gdLst>
                <a:gd name="T0" fmla="*/ 100 w 106"/>
                <a:gd name="T1" fmla="*/ 33 h 123"/>
                <a:gd name="T2" fmla="*/ 95 w 106"/>
                <a:gd name="T3" fmla="*/ 39 h 123"/>
                <a:gd name="T4" fmla="*/ 90 w 106"/>
                <a:gd name="T5" fmla="*/ 58 h 123"/>
                <a:gd name="T6" fmla="*/ 87 w 106"/>
                <a:gd name="T7" fmla="*/ 61 h 123"/>
                <a:gd name="T8" fmla="*/ 82 w 106"/>
                <a:gd name="T9" fmla="*/ 57 h 123"/>
                <a:gd name="T10" fmla="*/ 85 w 106"/>
                <a:gd name="T11" fmla="*/ 40 h 123"/>
                <a:gd name="T12" fmla="*/ 88 w 106"/>
                <a:gd name="T13" fmla="*/ 19 h 123"/>
                <a:gd name="T14" fmla="*/ 82 w 106"/>
                <a:gd name="T15" fmla="*/ 2 h 123"/>
                <a:gd name="T16" fmla="*/ 64 w 106"/>
                <a:gd name="T17" fmla="*/ 7 h 123"/>
                <a:gd name="T18" fmla="*/ 54 w 106"/>
                <a:gd name="T19" fmla="*/ 26 h 123"/>
                <a:gd name="T20" fmla="*/ 56 w 106"/>
                <a:gd name="T21" fmla="*/ 17 h 123"/>
                <a:gd name="T22" fmla="*/ 55 w 106"/>
                <a:gd name="T23" fmla="*/ 8 h 123"/>
                <a:gd name="T24" fmla="*/ 47 w 106"/>
                <a:gd name="T25" fmla="*/ 0 h 123"/>
                <a:gd name="T26" fmla="*/ 32 w 106"/>
                <a:gd name="T27" fmla="*/ 12 h 123"/>
                <a:gd name="T28" fmla="*/ 21 w 106"/>
                <a:gd name="T29" fmla="*/ 39 h 123"/>
                <a:gd name="T30" fmla="*/ 24 w 106"/>
                <a:gd name="T31" fmla="*/ 20 h 123"/>
                <a:gd name="T32" fmla="*/ 23 w 106"/>
                <a:gd name="T33" fmla="*/ 5 h 123"/>
                <a:gd name="T34" fmla="*/ 12 w 106"/>
                <a:gd name="T35" fmla="*/ 2 h 123"/>
                <a:gd name="T36" fmla="*/ 1 w 106"/>
                <a:gd name="T37" fmla="*/ 18 h 123"/>
                <a:gd name="T38" fmla="*/ 1 w 106"/>
                <a:gd name="T39" fmla="*/ 21 h 123"/>
                <a:gd name="T40" fmla="*/ 3 w 106"/>
                <a:gd name="T41" fmla="*/ 22 h 123"/>
                <a:gd name="T42" fmla="*/ 10 w 106"/>
                <a:gd name="T43" fmla="*/ 15 h 123"/>
                <a:gd name="T44" fmla="*/ 16 w 106"/>
                <a:gd name="T45" fmla="*/ 13 h 123"/>
                <a:gd name="T46" fmla="*/ 16 w 106"/>
                <a:gd name="T47" fmla="*/ 15 h 123"/>
                <a:gd name="T48" fmla="*/ 14 w 106"/>
                <a:gd name="T49" fmla="*/ 37 h 123"/>
                <a:gd name="T50" fmla="*/ 10 w 106"/>
                <a:gd name="T51" fmla="*/ 61 h 123"/>
                <a:gd name="T52" fmla="*/ 10 w 106"/>
                <a:gd name="T53" fmla="*/ 69 h 123"/>
                <a:gd name="T54" fmla="*/ 15 w 106"/>
                <a:gd name="T55" fmla="*/ 71 h 123"/>
                <a:gd name="T56" fmla="*/ 20 w 106"/>
                <a:gd name="T57" fmla="*/ 69 h 123"/>
                <a:gd name="T58" fmla="*/ 25 w 106"/>
                <a:gd name="T59" fmla="*/ 49 h 123"/>
                <a:gd name="T60" fmla="*/ 35 w 106"/>
                <a:gd name="T61" fmla="*/ 23 h 123"/>
                <a:gd name="T62" fmla="*/ 44 w 106"/>
                <a:gd name="T63" fmla="*/ 11 h 123"/>
                <a:gd name="T64" fmla="*/ 48 w 106"/>
                <a:gd name="T65" fmla="*/ 17 h 123"/>
                <a:gd name="T66" fmla="*/ 46 w 106"/>
                <a:gd name="T67" fmla="*/ 38 h 123"/>
                <a:gd name="T68" fmla="*/ 42 w 106"/>
                <a:gd name="T69" fmla="*/ 61 h 123"/>
                <a:gd name="T70" fmla="*/ 43 w 106"/>
                <a:gd name="T71" fmla="*/ 69 h 123"/>
                <a:gd name="T72" fmla="*/ 48 w 106"/>
                <a:gd name="T73" fmla="*/ 70 h 123"/>
                <a:gd name="T74" fmla="*/ 52 w 106"/>
                <a:gd name="T75" fmla="*/ 66 h 123"/>
                <a:gd name="T76" fmla="*/ 58 w 106"/>
                <a:gd name="T77" fmla="*/ 39 h 123"/>
                <a:gd name="T78" fmla="*/ 66 w 106"/>
                <a:gd name="T79" fmla="*/ 16 h 123"/>
                <a:gd name="T80" fmla="*/ 76 w 106"/>
                <a:gd name="T81" fmla="*/ 11 h 123"/>
                <a:gd name="T82" fmla="*/ 77 w 106"/>
                <a:gd name="T83" fmla="*/ 19 h 123"/>
                <a:gd name="T84" fmla="*/ 75 w 106"/>
                <a:gd name="T85" fmla="*/ 38 h 123"/>
                <a:gd name="T86" fmla="*/ 71 w 106"/>
                <a:gd name="T87" fmla="*/ 57 h 123"/>
                <a:gd name="T88" fmla="*/ 72 w 106"/>
                <a:gd name="T89" fmla="*/ 64 h 123"/>
                <a:gd name="T90" fmla="*/ 83 w 106"/>
                <a:gd name="T91" fmla="*/ 71 h 123"/>
                <a:gd name="T92" fmla="*/ 90 w 106"/>
                <a:gd name="T93" fmla="*/ 75 h 123"/>
                <a:gd name="T94" fmla="*/ 41 w 106"/>
                <a:gd name="T95" fmla="*/ 114 h 123"/>
                <a:gd name="T96" fmla="*/ 7 w 106"/>
                <a:gd name="T97" fmla="*/ 99 h 123"/>
                <a:gd name="T98" fmla="*/ 6 w 106"/>
                <a:gd name="T99" fmla="*/ 102 h 123"/>
                <a:gd name="T100" fmla="*/ 11 w 106"/>
                <a:gd name="T101" fmla="*/ 107 h 123"/>
                <a:gd name="T102" fmla="*/ 93 w 106"/>
                <a:gd name="T103" fmla="*/ 97 h 123"/>
                <a:gd name="T104" fmla="*/ 102 w 106"/>
                <a:gd name="T105" fmla="*/ 53 h 123"/>
                <a:gd name="T106" fmla="*/ 105 w 106"/>
                <a:gd name="T107" fmla="*/ 39 h 123"/>
                <a:gd name="T108" fmla="*/ 105 w 106"/>
                <a:gd name="T109" fmla="*/ 34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6" h="123">
                  <a:moveTo>
                    <a:pt x="105" y="34"/>
                  </a:moveTo>
                  <a:cubicBezTo>
                    <a:pt x="104" y="33"/>
                    <a:pt x="103" y="33"/>
                    <a:pt x="103" y="33"/>
                  </a:cubicBezTo>
                  <a:cubicBezTo>
                    <a:pt x="102" y="33"/>
                    <a:pt x="101" y="33"/>
                    <a:pt x="100" y="33"/>
                  </a:cubicBezTo>
                  <a:cubicBezTo>
                    <a:pt x="100" y="34"/>
                    <a:pt x="99" y="34"/>
                    <a:pt x="98" y="35"/>
                  </a:cubicBezTo>
                  <a:cubicBezTo>
                    <a:pt x="97" y="35"/>
                    <a:pt x="97" y="36"/>
                    <a:pt x="96" y="36"/>
                  </a:cubicBezTo>
                  <a:cubicBezTo>
                    <a:pt x="96" y="37"/>
                    <a:pt x="95" y="38"/>
                    <a:pt x="95" y="39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2"/>
                    <a:pt x="92" y="53"/>
                    <a:pt x="91" y="54"/>
                  </a:cubicBezTo>
                  <a:cubicBezTo>
                    <a:pt x="91" y="55"/>
                    <a:pt x="91" y="57"/>
                    <a:pt x="90" y="58"/>
                  </a:cubicBezTo>
                  <a:cubicBezTo>
                    <a:pt x="90" y="58"/>
                    <a:pt x="90" y="58"/>
                    <a:pt x="90" y="59"/>
                  </a:cubicBezTo>
                  <a:cubicBezTo>
                    <a:pt x="90" y="59"/>
                    <a:pt x="89" y="59"/>
                    <a:pt x="89" y="60"/>
                  </a:cubicBezTo>
                  <a:cubicBezTo>
                    <a:pt x="88" y="60"/>
                    <a:pt x="88" y="61"/>
                    <a:pt x="87" y="61"/>
                  </a:cubicBezTo>
                  <a:cubicBezTo>
                    <a:pt x="86" y="61"/>
                    <a:pt x="86" y="61"/>
                    <a:pt x="85" y="61"/>
                  </a:cubicBezTo>
                  <a:cubicBezTo>
                    <a:pt x="84" y="61"/>
                    <a:pt x="83" y="61"/>
                    <a:pt x="83" y="60"/>
                  </a:cubicBezTo>
                  <a:cubicBezTo>
                    <a:pt x="82" y="60"/>
                    <a:pt x="82" y="59"/>
                    <a:pt x="82" y="57"/>
                  </a:cubicBezTo>
                  <a:cubicBezTo>
                    <a:pt x="82" y="56"/>
                    <a:pt x="82" y="54"/>
                    <a:pt x="82" y="52"/>
                  </a:cubicBezTo>
                  <a:cubicBezTo>
                    <a:pt x="82" y="51"/>
                    <a:pt x="83" y="49"/>
                    <a:pt x="83" y="47"/>
                  </a:cubicBezTo>
                  <a:cubicBezTo>
                    <a:pt x="84" y="45"/>
                    <a:pt x="84" y="42"/>
                    <a:pt x="85" y="40"/>
                  </a:cubicBezTo>
                  <a:cubicBezTo>
                    <a:pt x="85" y="38"/>
                    <a:pt x="86" y="35"/>
                    <a:pt x="86" y="33"/>
                  </a:cubicBezTo>
                  <a:cubicBezTo>
                    <a:pt x="87" y="31"/>
                    <a:pt x="87" y="28"/>
                    <a:pt x="87" y="26"/>
                  </a:cubicBezTo>
                  <a:cubicBezTo>
                    <a:pt x="88" y="23"/>
                    <a:pt x="88" y="21"/>
                    <a:pt x="88" y="19"/>
                  </a:cubicBezTo>
                  <a:cubicBezTo>
                    <a:pt x="88" y="16"/>
                    <a:pt x="88" y="14"/>
                    <a:pt x="87" y="12"/>
                  </a:cubicBezTo>
                  <a:cubicBezTo>
                    <a:pt x="87" y="9"/>
                    <a:pt x="86" y="7"/>
                    <a:pt x="85" y="6"/>
                  </a:cubicBezTo>
                  <a:cubicBezTo>
                    <a:pt x="84" y="4"/>
                    <a:pt x="83" y="3"/>
                    <a:pt x="82" y="2"/>
                  </a:cubicBezTo>
                  <a:cubicBezTo>
                    <a:pt x="81" y="1"/>
                    <a:pt x="79" y="0"/>
                    <a:pt x="78" y="0"/>
                  </a:cubicBezTo>
                  <a:cubicBezTo>
                    <a:pt x="75" y="0"/>
                    <a:pt x="73" y="1"/>
                    <a:pt x="71" y="2"/>
                  </a:cubicBezTo>
                  <a:cubicBezTo>
                    <a:pt x="68" y="3"/>
                    <a:pt x="66" y="5"/>
                    <a:pt x="64" y="7"/>
                  </a:cubicBezTo>
                  <a:cubicBezTo>
                    <a:pt x="63" y="9"/>
                    <a:pt x="61" y="12"/>
                    <a:pt x="59" y="15"/>
                  </a:cubicBezTo>
                  <a:cubicBezTo>
                    <a:pt x="58" y="19"/>
                    <a:pt x="56" y="22"/>
                    <a:pt x="55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4"/>
                    <a:pt x="55" y="23"/>
                    <a:pt x="55" y="21"/>
                  </a:cubicBezTo>
                  <a:cubicBezTo>
                    <a:pt x="55" y="20"/>
                    <a:pt x="55" y="20"/>
                    <a:pt x="55" y="19"/>
                  </a:cubicBezTo>
                  <a:cubicBezTo>
                    <a:pt x="56" y="18"/>
                    <a:pt x="56" y="18"/>
                    <a:pt x="56" y="17"/>
                  </a:cubicBezTo>
                  <a:cubicBezTo>
                    <a:pt x="56" y="16"/>
                    <a:pt x="56" y="16"/>
                    <a:pt x="56" y="15"/>
                  </a:cubicBezTo>
                  <a:cubicBezTo>
                    <a:pt x="56" y="15"/>
                    <a:pt x="56" y="15"/>
                    <a:pt x="56" y="14"/>
                  </a:cubicBezTo>
                  <a:cubicBezTo>
                    <a:pt x="56" y="12"/>
                    <a:pt x="56" y="10"/>
                    <a:pt x="55" y="8"/>
                  </a:cubicBezTo>
                  <a:cubicBezTo>
                    <a:pt x="55" y="6"/>
                    <a:pt x="54" y="5"/>
                    <a:pt x="54" y="4"/>
                  </a:cubicBezTo>
                  <a:cubicBezTo>
                    <a:pt x="53" y="3"/>
                    <a:pt x="52" y="2"/>
                    <a:pt x="51" y="1"/>
                  </a:cubicBezTo>
                  <a:cubicBezTo>
                    <a:pt x="50" y="1"/>
                    <a:pt x="49" y="0"/>
                    <a:pt x="47" y="0"/>
                  </a:cubicBezTo>
                  <a:cubicBezTo>
                    <a:pt x="46" y="0"/>
                    <a:pt x="44" y="1"/>
                    <a:pt x="42" y="2"/>
                  </a:cubicBezTo>
                  <a:cubicBezTo>
                    <a:pt x="41" y="3"/>
                    <a:pt x="39" y="4"/>
                    <a:pt x="37" y="6"/>
                  </a:cubicBezTo>
                  <a:cubicBezTo>
                    <a:pt x="36" y="7"/>
                    <a:pt x="34" y="9"/>
                    <a:pt x="32" y="12"/>
                  </a:cubicBezTo>
                  <a:cubicBezTo>
                    <a:pt x="31" y="14"/>
                    <a:pt x="29" y="17"/>
                    <a:pt x="28" y="20"/>
                  </a:cubicBezTo>
                  <a:cubicBezTo>
                    <a:pt x="26" y="23"/>
                    <a:pt x="25" y="26"/>
                    <a:pt x="24" y="29"/>
                  </a:cubicBezTo>
                  <a:cubicBezTo>
                    <a:pt x="23" y="32"/>
                    <a:pt x="22" y="36"/>
                    <a:pt x="21" y="39"/>
                  </a:cubicBezTo>
                  <a:cubicBezTo>
                    <a:pt x="21" y="37"/>
                    <a:pt x="22" y="35"/>
                    <a:pt x="22" y="33"/>
                  </a:cubicBezTo>
                  <a:cubicBezTo>
                    <a:pt x="23" y="31"/>
                    <a:pt x="23" y="29"/>
                    <a:pt x="23" y="26"/>
                  </a:cubicBezTo>
                  <a:cubicBezTo>
                    <a:pt x="24" y="24"/>
                    <a:pt x="24" y="22"/>
                    <a:pt x="24" y="20"/>
                  </a:cubicBezTo>
                  <a:cubicBezTo>
                    <a:pt x="25" y="18"/>
                    <a:pt x="25" y="16"/>
                    <a:pt x="25" y="15"/>
                  </a:cubicBezTo>
                  <a:cubicBezTo>
                    <a:pt x="25" y="13"/>
                    <a:pt x="25" y="11"/>
                    <a:pt x="24" y="9"/>
                  </a:cubicBezTo>
                  <a:cubicBezTo>
                    <a:pt x="24" y="8"/>
                    <a:pt x="24" y="6"/>
                    <a:pt x="23" y="5"/>
                  </a:cubicBezTo>
                  <a:cubicBezTo>
                    <a:pt x="22" y="4"/>
                    <a:pt x="21" y="3"/>
                    <a:pt x="20" y="2"/>
                  </a:cubicBezTo>
                  <a:cubicBezTo>
                    <a:pt x="19" y="2"/>
                    <a:pt x="18" y="1"/>
                    <a:pt x="16" y="1"/>
                  </a:cubicBezTo>
                  <a:cubicBezTo>
                    <a:pt x="15" y="1"/>
                    <a:pt x="13" y="2"/>
                    <a:pt x="12" y="2"/>
                  </a:cubicBezTo>
                  <a:cubicBezTo>
                    <a:pt x="11" y="3"/>
                    <a:pt x="9" y="4"/>
                    <a:pt x="8" y="5"/>
                  </a:cubicBezTo>
                  <a:cubicBezTo>
                    <a:pt x="6" y="6"/>
                    <a:pt x="5" y="8"/>
                    <a:pt x="4" y="10"/>
                  </a:cubicBezTo>
                  <a:cubicBezTo>
                    <a:pt x="3" y="12"/>
                    <a:pt x="2" y="15"/>
                    <a:pt x="1" y="18"/>
                  </a:cubicBezTo>
                  <a:cubicBezTo>
                    <a:pt x="0" y="18"/>
                    <a:pt x="0" y="18"/>
                    <a:pt x="0" y="19"/>
                  </a:cubicBezTo>
                  <a:cubicBezTo>
                    <a:pt x="0" y="19"/>
                    <a:pt x="0" y="19"/>
                    <a:pt x="1" y="20"/>
                  </a:cubicBezTo>
                  <a:cubicBezTo>
                    <a:pt x="1" y="20"/>
                    <a:pt x="1" y="20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2"/>
                    <a:pt x="2" y="22"/>
                    <a:pt x="2" y="22"/>
                  </a:cubicBezTo>
                  <a:cubicBezTo>
                    <a:pt x="2" y="22"/>
                    <a:pt x="3" y="22"/>
                    <a:pt x="3" y="22"/>
                  </a:cubicBezTo>
                  <a:cubicBezTo>
                    <a:pt x="3" y="21"/>
                    <a:pt x="3" y="21"/>
                    <a:pt x="4" y="21"/>
                  </a:cubicBezTo>
                  <a:cubicBezTo>
                    <a:pt x="5" y="19"/>
                    <a:pt x="5" y="18"/>
                    <a:pt x="6" y="17"/>
                  </a:cubicBezTo>
                  <a:cubicBezTo>
                    <a:pt x="8" y="16"/>
                    <a:pt x="9" y="15"/>
                    <a:pt x="10" y="15"/>
                  </a:cubicBezTo>
                  <a:cubicBezTo>
                    <a:pt x="11" y="14"/>
                    <a:pt x="12" y="13"/>
                    <a:pt x="13" y="13"/>
                  </a:cubicBezTo>
                  <a:cubicBezTo>
                    <a:pt x="13" y="12"/>
                    <a:pt x="14" y="12"/>
                    <a:pt x="15" y="12"/>
                  </a:cubicBezTo>
                  <a:cubicBezTo>
                    <a:pt x="15" y="12"/>
                    <a:pt x="16" y="12"/>
                    <a:pt x="16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4"/>
                    <a:pt x="16" y="14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8"/>
                    <a:pt x="16" y="21"/>
                    <a:pt x="16" y="23"/>
                  </a:cubicBezTo>
                  <a:cubicBezTo>
                    <a:pt x="16" y="26"/>
                    <a:pt x="15" y="28"/>
                    <a:pt x="15" y="31"/>
                  </a:cubicBezTo>
                  <a:cubicBezTo>
                    <a:pt x="15" y="33"/>
                    <a:pt x="15" y="35"/>
                    <a:pt x="14" y="37"/>
                  </a:cubicBezTo>
                  <a:cubicBezTo>
                    <a:pt x="14" y="40"/>
                    <a:pt x="14" y="42"/>
                    <a:pt x="13" y="45"/>
                  </a:cubicBezTo>
                  <a:cubicBezTo>
                    <a:pt x="13" y="47"/>
                    <a:pt x="12" y="50"/>
                    <a:pt x="12" y="52"/>
                  </a:cubicBezTo>
                  <a:cubicBezTo>
                    <a:pt x="11" y="55"/>
                    <a:pt x="11" y="58"/>
                    <a:pt x="10" y="61"/>
                  </a:cubicBezTo>
                  <a:cubicBezTo>
                    <a:pt x="10" y="62"/>
                    <a:pt x="9" y="63"/>
                    <a:pt x="9" y="64"/>
                  </a:cubicBezTo>
                  <a:cubicBezTo>
                    <a:pt x="9" y="65"/>
                    <a:pt x="9" y="66"/>
                    <a:pt x="9" y="67"/>
                  </a:cubicBezTo>
                  <a:cubicBezTo>
                    <a:pt x="9" y="68"/>
                    <a:pt x="9" y="68"/>
                    <a:pt x="10" y="69"/>
                  </a:cubicBezTo>
                  <a:cubicBezTo>
                    <a:pt x="10" y="69"/>
                    <a:pt x="10" y="69"/>
                    <a:pt x="11" y="70"/>
                  </a:cubicBezTo>
                  <a:cubicBezTo>
                    <a:pt x="11" y="70"/>
                    <a:pt x="12" y="70"/>
                    <a:pt x="13" y="70"/>
                  </a:cubicBezTo>
                  <a:cubicBezTo>
                    <a:pt x="13" y="71"/>
                    <a:pt x="14" y="71"/>
                    <a:pt x="15" y="71"/>
                  </a:cubicBezTo>
                  <a:cubicBezTo>
                    <a:pt x="15" y="71"/>
                    <a:pt x="16" y="71"/>
                    <a:pt x="17" y="70"/>
                  </a:cubicBezTo>
                  <a:cubicBezTo>
                    <a:pt x="17" y="70"/>
                    <a:pt x="18" y="70"/>
                    <a:pt x="18" y="70"/>
                  </a:cubicBezTo>
                  <a:cubicBezTo>
                    <a:pt x="19" y="70"/>
                    <a:pt x="19" y="69"/>
                    <a:pt x="20" y="69"/>
                  </a:cubicBezTo>
                  <a:cubicBezTo>
                    <a:pt x="20" y="68"/>
                    <a:pt x="20" y="67"/>
                    <a:pt x="21" y="67"/>
                  </a:cubicBezTo>
                  <a:cubicBezTo>
                    <a:pt x="21" y="64"/>
                    <a:pt x="21" y="61"/>
                    <a:pt x="22" y="58"/>
                  </a:cubicBezTo>
                  <a:cubicBezTo>
                    <a:pt x="23" y="55"/>
                    <a:pt x="24" y="52"/>
                    <a:pt x="25" y="49"/>
                  </a:cubicBezTo>
                  <a:cubicBezTo>
                    <a:pt x="26" y="46"/>
                    <a:pt x="27" y="43"/>
                    <a:pt x="28" y="40"/>
                  </a:cubicBezTo>
                  <a:cubicBezTo>
                    <a:pt x="29" y="37"/>
                    <a:pt x="30" y="34"/>
                    <a:pt x="31" y="31"/>
                  </a:cubicBezTo>
                  <a:cubicBezTo>
                    <a:pt x="32" y="28"/>
                    <a:pt x="33" y="25"/>
                    <a:pt x="35" y="23"/>
                  </a:cubicBezTo>
                  <a:cubicBezTo>
                    <a:pt x="36" y="21"/>
                    <a:pt x="37" y="18"/>
                    <a:pt x="38" y="17"/>
                  </a:cubicBezTo>
                  <a:cubicBezTo>
                    <a:pt x="39" y="15"/>
                    <a:pt x="40" y="13"/>
                    <a:pt x="41" y="12"/>
                  </a:cubicBezTo>
                  <a:cubicBezTo>
                    <a:pt x="42" y="11"/>
                    <a:pt x="43" y="11"/>
                    <a:pt x="44" y="11"/>
                  </a:cubicBezTo>
                  <a:cubicBezTo>
                    <a:pt x="45" y="11"/>
                    <a:pt x="46" y="11"/>
                    <a:pt x="46" y="11"/>
                  </a:cubicBezTo>
                  <a:cubicBezTo>
                    <a:pt x="47" y="12"/>
                    <a:pt x="47" y="13"/>
                    <a:pt x="47" y="14"/>
                  </a:cubicBezTo>
                  <a:cubicBezTo>
                    <a:pt x="48" y="15"/>
                    <a:pt x="48" y="16"/>
                    <a:pt x="48" y="17"/>
                  </a:cubicBezTo>
                  <a:cubicBezTo>
                    <a:pt x="48" y="18"/>
                    <a:pt x="48" y="20"/>
                    <a:pt x="48" y="21"/>
                  </a:cubicBezTo>
                  <a:cubicBezTo>
                    <a:pt x="48" y="24"/>
                    <a:pt x="48" y="27"/>
                    <a:pt x="48" y="29"/>
                  </a:cubicBezTo>
                  <a:cubicBezTo>
                    <a:pt x="47" y="32"/>
                    <a:pt x="47" y="35"/>
                    <a:pt x="46" y="38"/>
                  </a:cubicBezTo>
                  <a:cubicBezTo>
                    <a:pt x="46" y="41"/>
                    <a:pt x="45" y="44"/>
                    <a:pt x="45" y="47"/>
                  </a:cubicBezTo>
                  <a:cubicBezTo>
                    <a:pt x="44" y="50"/>
                    <a:pt x="44" y="53"/>
                    <a:pt x="43" y="55"/>
                  </a:cubicBezTo>
                  <a:cubicBezTo>
                    <a:pt x="43" y="57"/>
                    <a:pt x="42" y="59"/>
                    <a:pt x="42" y="61"/>
                  </a:cubicBezTo>
                  <a:cubicBezTo>
                    <a:pt x="42" y="63"/>
                    <a:pt x="41" y="64"/>
                    <a:pt x="41" y="65"/>
                  </a:cubicBezTo>
                  <a:cubicBezTo>
                    <a:pt x="41" y="66"/>
                    <a:pt x="41" y="67"/>
                    <a:pt x="42" y="67"/>
                  </a:cubicBezTo>
                  <a:cubicBezTo>
                    <a:pt x="42" y="68"/>
                    <a:pt x="42" y="69"/>
                    <a:pt x="43" y="69"/>
                  </a:cubicBezTo>
                  <a:cubicBezTo>
                    <a:pt x="43" y="70"/>
                    <a:pt x="44" y="70"/>
                    <a:pt x="44" y="70"/>
                  </a:cubicBezTo>
                  <a:cubicBezTo>
                    <a:pt x="45" y="70"/>
                    <a:pt x="45" y="71"/>
                    <a:pt x="46" y="71"/>
                  </a:cubicBezTo>
                  <a:cubicBezTo>
                    <a:pt x="47" y="71"/>
                    <a:pt x="47" y="71"/>
                    <a:pt x="48" y="70"/>
                  </a:cubicBezTo>
                  <a:cubicBezTo>
                    <a:pt x="48" y="70"/>
                    <a:pt x="49" y="70"/>
                    <a:pt x="50" y="70"/>
                  </a:cubicBezTo>
                  <a:cubicBezTo>
                    <a:pt x="50" y="69"/>
                    <a:pt x="51" y="69"/>
                    <a:pt x="51" y="68"/>
                  </a:cubicBezTo>
                  <a:cubicBezTo>
                    <a:pt x="52" y="68"/>
                    <a:pt x="52" y="67"/>
                    <a:pt x="52" y="66"/>
                  </a:cubicBezTo>
                  <a:cubicBezTo>
                    <a:pt x="53" y="64"/>
                    <a:pt x="53" y="61"/>
                    <a:pt x="54" y="58"/>
                  </a:cubicBezTo>
                  <a:cubicBezTo>
                    <a:pt x="54" y="55"/>
                    <a:pt x="55" y="52"/>
                    <a:pt x="56" y="49"/>
                  </a:cubicBezTo>
                  <a:cubicBezTo>
                    <a:pt x="56" y="45"/>
                    <a:pt x="57" y="42"/>
                    <a:pt x="58" y="39"/>
                  </a:cubicBezTo>
                  <a:cubicBezTo>
                    <a:pt x="59" y="36"/>
                    <a:pt x="59" y="33"/>
                    <a:pt x="60" y="30"/>
                  </a:cubicBezTo>
                  <a:cubicBezTo>
                    <a:pt x="61" y="28"/>
                    <a:pt x="62" y="25"/>
                    <a:pt x="63" y="23"/>
                  </a:cubicBezTo>
                  <a:cubicBezTo>
                    <a:pt x="64" y="20"/>
                    <a:pt x="65" y="18"/>
                    <a:pt x="66" y="16"/>
                  </a:cubicBezTo>
                  <a:cubicBezTo>
                    <a:pt x="67" y="15"/>
                    <a:pt x="69" y="13"/>
                    <a:pt x="70" y="12"/>
                  </a:cubicBezTo>
                  <a:cubicBezTo>
                    <a:pt x="71" y="11"/>
                    <a:pt x="72" y="11"/>
                    <a:pt x="74" y="11"/>
                  </a:cubicBezTo>
                  <a:cubicBezTo>
                    <a:pt x="75" y="11"/>
                    <a:pt x="75" y="11"/>
                    <a:pt x="76" y="11"/>
                  </a:cubicBezTo>
                  <a:cubicBezTo>
                    <a:pt x="76" y="12"/>
                    <a:pt x="77" y="12"/>
                    <a:pt x="77" y="13"/>
                  </a:cubicBezTo>
                  <a:cubicBezTo>
                    <a:pt x="77" y="14"/>
                    <a:pt x="77" y="14"/>
                    <a:pt x="77" y="15"/>
                  </a:cubicBezTo>
                  <a:cubicBezTo>
                    <a:pt x="77" y="16"/>
                    <a:pt x="77" y="18"/>
                    <a:pt x="77" y="19"/>
                  </a:cubicBezTo>
                  <a:cubicBezTo>
                    <a:pt x="77" y="21"/>
                    <a:pt x="77" y="23"/>
                    <a:pt x="77" y="25"/>
                  </a:cubicBezTo>
                  <a:cubicBezTo>
                    <a:pt x="77" y="27"/>
                    <a:pt x="76" y="29"/>
                    <a:pt x="76" y="32"/>
                  </a:cubicBezTo>
                  <a:cubicBezTo>
                    <a:pt x="76" y="34"/>
                    <a:pt x="75" y="36"/>
                    <a:pt x="75" y="38"/>
                  </a:cubicBezTo>
                  <a:cubicBezTo>
                    <a:pt x="74" y="41"/>
                    <a:pt x="74" y="43"/>
                    <a:pt x="73" y="45"/>
                  </a:cubicBezTo>
                  <a:cubicBezTo>
                    <a:pt x="73" y="47"/>
                    <a:pt x="72" y="49"/>
                    <a:pt x="72" y="51"/>
                  </a:cubicBezTo>
                  <a:cubicBezTo>
                    <a:pt x="72" y="53"/>
                    <a:pt x="71" y="55"/>
                    <a:pt x="71" y="57"/>
                  </a:cubicBezTo>
                  <a:cubicBezTo>
                    <a:pt x="71" y="57"/>
                    <a:pt x="71" y="58"/>
                    <a:pt x="71" y="58"/>
                  </a:cubicBezTo>
                  <a:cubicBezTo>
                    <a:pt x="71" y="58"/>
                    <a:pt x="71" y="58"/>
                    <a:pt x="71" y="59"/>
                  </a:cubicBezTo>
                  <a:cubicBezTo>
                    <a:pt x="71" y="61"/>
                    <a:pt x="72" y="62"/>
                    <a:pt x="72" y="64"/>
                  </a:cubicBezTo>
                  <a:cubicBezTo>
                    <a:pt x="73" y="65"/>
                    <a:pt x="74" y="67"/>
                    <a:pt x="75" y="68"/>
                  </a:cubicBezTo>
                  <a:cubicBezTo>
                    <a:pt x="76" y="69"/>
                    <a:pt x="77" y="69"/>
                    <a:pt x="79" y="70"/>
                  </a:cubicBezTo>
                  <a:cubicBezTo>
                    <a:pt x="80" y="70"/>
                    <a:pt x="81" y="71"/>
                    <a:pt x="83" y="71"/>
                  </a:cubicBezTo>
                  <a:cubicBezTo>
                    <a:pt x="84" y="71"/>
                    <a:pt x="86" y="70"/>
                    <a:pt x="87" y="70"/>
                  </a:cubicBezTo>
                  <a:cubicBezTo>
                    <a:pt x="88" y="70"/>
                    <a:pt x="89" y="69"/>
                    <a:pt x="90" y="69"/>
                  </a:cubicBezTo>
                  <a:cubicBezTo>
                    <a:pt x="90" y="71"/>
                    <a:pt x="90" y="74"/>
                    <a:pt x="90" y="75"/>
                  </a:cubicBezTo>
                  <a:cubicBezTo>
                    <a:pt x="89" y="79"/>
                    <a:pt x="88" y="83"/>
                    <a:pt x="87" y="87"/>
                  </a:cubicBezTo>
                  <a:cubicBezTo>
                    <a:pt x="84" y="94"/>
                    <a:pt x="80" y="102"/>
                    <a:pt x="74" y="107"/>
                  </a:cubicBezTo>
                  <a:cubicBezTo>
                    <a:pt x="65" y="114"/>
                    <a:pt x="52" y="116"/>
                    <a:pt x="41" y="114"/>
                  </a:cubicBezTo>
                  <a:cubicBezTo>
                    <a:pt x="35" y="113"/>
                    <a:pt x="29" y="111"/>
                    <a:pt x="23" y="108"/>
                  </a:cubicBezTo>
                  <a:cubicBezTo>
                    <a:pt x="18" y="106"/>
                    <a:pt x="13" y="101"/>
                    <a:pt x="8" y="100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9"/>
                    <a:pt x="6" y="100"/>
                    <a:pt x="6" y="100"/>
                  </a:cubicBezTo>
                  <a:cubicBezTo>
                    <a:pt x="6" y="100"/>
                    <a:pt x="6" y="101"/>
                    <a:pt x="6" y="101"/>
                  </a:cubicBezTo>
                  <a:cubicBezTo>
                    <a:pt x="6" y="101"/>
                    <a:pt x="6" y="102"/>
                    <a:pt x="6" y="102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6" y="103"/>
                    <a:pt x="6" y="103"/>
                    <a:pt x="6" y="103"/>
                  </a:cubicBezTo>
                  <a:cubicBezTo>
                    <a:pt x="6" y="103"/>
                    <a:pt x="8" y="106"/>
                    <a:pt x="11" y="107"/>
                  </a:cubicBezTo>
                  <a:cubicBezTo>
                    <a:pt x="22" y="115"/>
                    <a:pt x="35" y="121"/>
                    <a:pt x="49" y="122"/>
                  </a:cubicBezTo>
                  <a:cubicBezTo>
                    <a:pt x="60" y="123"/>
                    <a:pt x="71" y="120"/>
                    <a:pt x="79" y="114"/>
                  </a:cubicBezTo>
                  <a:cubicBezTo>
                    <a:pt x="85" y="110"/>
                    <a:pt x="90" y="103"/>
                    <a:pt x="93" y="97"/>
                  </a:cubicBezTo>
                  <a:cubicBezTo>
                    <a:pt x="94" y="93"/>
                    <a:pt x="95" y="90"/>
                    <a:pt x="97" y="86"/>
                  </a:cubicBezTo>
                  <a:cubicBezTo>
                    <a:pt x="97" y="85"/>
                    <a:pt x="100" y="68"/>
                    <a:pt x="101" y="59"/>
                  </a:cubicBezTo>
                  <a:cubicBezTo>
                    <a:pt x="102" y="56"/>
                    <a:pt x="102" y="54"/>
                    <a:pt x="102" y="53"/>
                  </a:cubicBezTo>
                  <a:cubicBezTo>
                    <a:pt x="103" y="52"/>
                    <a:pt x="103" y="50"/>
                    <a:pt x="103" y="48"/>
                  </a:cubicBezTo>
                  <a:cubicBezTo>
                    <a:pt x="103" y="46"/>
                    <a:pt x="104" y="45"/>
                    <a:pt x="104" y="43"/>
                  </a:cubicBezTo>
                  <a:cubicBezTo>
                    <a:pt x="104" y="42"/>
                    <a:pt x="105" y="40"/>
                    <a:pt x="105" y="39"/>
                  </a:cubicBezTo>
                  <a:cubicBezTo>
                    <a:pt x="105" y="38"/>
                    <a:pt x="105" y="37"/>
                    <a:pt x="105" y="36"/>
                  </a:cubicBezTo>
                  <a:cubicBezTo>
                    <a:pt x="106" y="36"/>
                    <a:pt x="106" y="36"/>
                    <a:pt x="106" y="35"/>
                  </a:cubicBezTo>
                  <a:cubicBezTo>
                    <a:pt x="106" y="35"/>
                    <a:pt x="105" y="34"/>
                    <a:pt x="105" y="34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Freeform 21">
              <a:extLst>
                <a:ext uri="{FF2B5EF4-FFF2-40B4-BE49-F238E27FC236}">
                  <a16:creationId xmlns:a16="http://schemas.microsoft.com/office/drawing/2014/main" id="{6C74940E-8A3D-4828-9678-611D7E425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8" y="1041"/>
              <a:ext cx="31" cy="36"/>
            </a:xfrm>
            <a:custGeom>
              <a:avLst/>
              <a:gdLst>
                <a:gd name="T0" fmla="*/ 11 w 11"/>
                <a:gd name="T1" fmla="*/ 13 h 13"/>
                <a:gd name="T2" fmla="*/ 1 w 11"/>
                <a:gd name="T3" fmla="*/ 9 h 13"/>
                <a:gd name="T4" fmla="*/ 2 w 11"/>
                <a:gd name="T5" fmla="*/ 2 h 13"/>
                <a:gd name="T6" fmla="*/ 9 w 11"/>
                <a:gd name="T7" fmla="*/ 2 h 13"/>
                <a:gd name="T8" fmla="*/ 11 w 11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3">
                  <a:moveTo>
                    <a:pt x="11" y="13"/>
                  </a:moveTo>
                  <a:cubicBezTo>
                    <a:pt x="11" y="13"/>
                    <a:pt x="3" y="11"/>
                    <a:pt x="1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4" y="0"/>
                    <a:pt x="7" y="0"/>
                    <a:pt x="9" y="2"/>
                  </a:cubicBezTo>
                  <a:cubicBezTo>
                    <a:pt x="11" y="4"/>
                    <a:pt x="11" y="13"/>
                    <a:pt x="11" y="13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Freeform 22">
              <a:extLst>
                <a:ext uri="{FF2B5EF4-FFF2-40B4-BE49-F238E27FC236}">
                  <a16:creationId xmlns:a16="http://schemas.microsoft.com/office/drawing/2014/main" id="{4C27CF0F-4F0F-42BF-9A81-1B1BD96E6E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9" y="1024"/>
              <a:ext cx="30" cy="39"/>
            </a:xfrm>
            <a:custGeom>
              <a:avLst/>
              <a:gdLst>
                <a:gd name="T0" fmla="*/ 9 w 11"/>
                <a:gd name="T1" fmla="*/ 14 h 14"/>
                <a:gd name="T2" fmla="*/ 1 w 11"/>
                <a:gd name="T3" fmla="*/ 7 h 14"/>
                <a:gd name="T4" fmla="*/ 4 w 11"/>
                <a:gd name="T5" fmla="*/ 1 h 14"/>
                <a:gd name="T6" fmla="*/ 11 w 11"/>
                <a:gd name="T7" fmla="*/ 4 h 14"/>
                <a:gd name="T8" fmla="*/ 9 w 11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4">
                  <a:moveTo>
                    <a:pt x="9" y="14"/>
                  </a:moveTo>
                  <a:cubicBezTo>
                    <a:pt x="9" y="14"/>
                    <a:pt x="2" y="9"/>
                    <a:pt x="1" y="7"/>
                  </a:cubicBezTo>
                  <a:cubicBezTo>
                    <a:pt x="0" y="4"/>
                    <a:pt x="2" y="1"/>
                    <a:pt x="4" y="1"/>
                  </a:cubicBezTo>
                  <a:cubicBezTo>
                    <a:pt x="7" y="0"/>
                    <a:pt x="10" y="1"/>
                    <a:pt x="11" y="4"/>
                  </a:cubicBezTo>
                  <a:cubicBezTo>
                    <a:pt x="11" y="6"/>
                    <a:pt x="9" y="14"/>
                    <a:pt x="9" y="14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70" name="Picture 28">
            <a:extLst>
              <a:ext uri="{FF2B5EF4-FFF2-40B4-BE49-F238E27FC236}">
                <a16:creationId xmlns:a16="http://schemas.microsoft.com/office/drawing/2014/main" id="{4E5F5066-A5F9-4A24-BBF1-482920F55DDD}"/>
              </a:ext>
            </a:extLst>
          </p:cNvPr>
          <p:cNvPicPr>
            <a:picLocks/>
          </p:cNvPicPr>
          <p:nvPr/>
        </p:nvPicPr>
        <p:blipFill>
          <a:blip r:embed="rId16"/>
          <a:stretch>
            <a:fillRect/>
          </a:stretch>
        </p:blipFill>
        <p:spPr>
          <a:xfrm>
            <a:off x="2248164" y="2761892"/>
            <a:ext cx="682231" cy="682231"/>
          </a:xfrm>
          <a:prstGeom prst="rect">
            <a:avLst/>
          </a:prstGeom>
        </p:spPr>
      </p:pic>
      <p:grpSp>
        <p:nvGrpSpPr>
          <p:cNvPr id="71" name="Group 28">
            <a:extLst>
              <a:ext uri="{FF2B5EF4-FFF2-40B4-BE49-F238E27FC236}">
                <a16:creationId xmlns:a16="http://schemas.microsoft.com/office/drawing/2014/main" id="{B2A4FAA7-EF7D-4537-B96B-B700A48A2C7E}"/>
              </a:ext>
            </a:extLst>
          </p:cNvPr>
          <p:cNvGrpSpPr>
            <a:grpSpLocks/>
          </p:cNvGrpSpPr>
          <p:nvPr/>
        </p:nvGrpSpPr>
        <p:grpSpPr bwMode="auto">
          <a:xfrm>
            <a:off x="1325695" y="2766960"/>
            <a:ext cx="692116" cy="677163"/>
            <a:chOff x="194" y="1394"/>
            <a:chExt cx="324" cy="317"/>
          </a:xfrm>
        </p:grpSpPr>
        <p:sp>
          <p:nvSpPr>
            <p:cNvPr id="90" name="Oval 29">
              <a:extLst>
                <a:ext uri="{FF2B5EF4-FFF2-40B4-BE49-F238E27FC236}">
                  <a16:creationId xmlns:a16="http://schemas.microsoft.com/office/drawing/2014/main" id="{54DD30EC-F7BC-4C52-B173-361B0DBD5A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" y="1394"/>
              <a:ext cx="324" cy="317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Freeform 30">
              <a:extLst>
                <a:ext uri="{FF2B5EF4-FFF2-40B4-BE49-F238E27FC236}">
                  <a16:creationId xmlns:a16="http://schemas.microsoft.com/office/drawing/2014/main" id="{0BD363B8-47E4-4BC6-9AC4-FF31CDA253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" y="1476"/>
              <a:ext cx="156" cy="152"/>
            </a:xfrm>
            <a:custGeom>
              <a:avLst/>
              <a:gdLst>
                <a:gd name="T0" fmla="*/ 93 w 96"/>
                <a:gd name="T1" fmla="*/ 17 h 96"/>
                <a:gd name="T2" fmla="*/ 88 w 96"/>
                <a:gd name="T3" fmla="*/ 8 h 96"/>
                <a:gd name="T4" fmla="*/ 79 w 96"/>
                <a:gd name="T5" fmla="*/ 3 h 96"/>
                <a:gd name="T6" fmla="*/ 68 w 96"/>
                <a:gd name="T7" fmla="*/ 0 h 96"/>
                <a:gd name="T8" fmla="*/ 48 w 96"/>
                <a:gd name="T9" fmla="*/ 0 h 96"/>
                <a:gd name="T10" fmla="*/ 28 w 96"/>
                <a:gd name="T11" fmla="*/ 0 h 96"/>
                <a:gd name="T12" fmla="*/ 17 w 96"/>
                <a:gd name="T13" fmla="*/ 3 h 96"/>
                <a:gd name="T14" fmla="*/ 8 w 96"/>
                <a:gd name="T15" fmla="*/ 8 h 96"/>
                <a:gd name="T16" fmla="*/ 3 w 96"/>
                <a:gd name="T17" fmla="*/ 17 h 96"/>
                <a:gd name="T18" fmla="*/ 0 w 96"/>
                <a:gd name="T19" fmla="*/ 28 h 96"/>
                <a:gd name="T20" fmla="*/ 0 w 96"/>
                <a:gd name="T21" fmla="*/ 48 h 96"/>
                <a:gd name="T22" fmla="*/ 0 w 96"/>
                <a:gd name="T23" fmla="*/ 68 h 96"/>
                <a:gd name="T24" fmla="*/ 3 w 96"/>
                <a:gd name="T25" fmla="*/ 79 h 96"/>
                <a:gd name="T26" fmla="*/ 8 w 96"/>
                <a:gd name="T27" fmla="*/ 88 h 96"/>
                <a:gd name="T28" fmla="*/ 17 w 96"/>
                <a:gd name="T29" fmla="*/ 93 h 96"/>
                <a:gd name="T30" fmla="*/ 28 w 96"/>
                <a:gd name="T31" fmla="*/ 96 h 96"/>
                <a:gd name="T32" fmla="*/ 48 w 96"/>
                <a:gd name="T33" fmla="*/ 96 h 96"/>
                <a:gd name="T34" fmla="*/ 68 w 96"/>
                <a:gd name="T35" fmla="*/ 96 h 96"/>
                <a:gd name="T36" fmla="*/ 79 w 96"/>
                <a:gd name="T37" fmla="*/ 93 h 96"/>
                <a:gd name="T38" fmla="*/ 88 w 96"/>
                <a:gd name="T39" fmla="*/ 88 h 96"/>
                <a:gd name="T40" fmla="*/ 93 w 96"/>
                <a:gd name="T41" fmla="*/ 79 h 96"/>
                <a:gd name="T42" fmla="*/ 96 w 96"/>
                <a:gd name="T43" fmla="*/ 68 h 96"/>
                <a:gd name="T44" fmla="*/ 96 w 96"/>
                <a:gd name="T45" fmla="*/ 48 h 96"/>
                <a:gd name="T46" fmla="*/ 96 w 96"/>
                <a:gd name="T47" fmla="*/ 28 h 96"/>
                <a:gd name="T48" fmla="*/ 93 w 96"/>
                <a:gd name="T49" fmla="*/ 17 h 96"/>
                <a:gd name="T50" fmla="*/ 87 w 96"/>
                <a:gd name="T51" fmla="*/ 67 h 96"/>
                <a:gd name="T52" fmla="*/ 85 w 96"/>
                <a:gd name="T53" fmla="*/ 76 h 96"/>
                <a:gd name="T54" fmla="*/ 82 w 96"/>
                <a:gd name="T55" fmla="*/ 82 h 96"/>
                <a:gd name="T56" fmla="*/ 76 w 96"/>
                <a:gd name="T57" fmla="*/ 85 h 96"/>
                <a:gd name="T58" fmla="*/ 67 w 96"/>
                <a:gd name="T59" fmla="*/ 87 h 96"/>
                <a:gd name="T60" fmla="*/ 48 w 96"/>
                <a:gd name="T61" fmla="*/ 87 h 96"/>
                <a:gd name="T62" fmla="*/ 29 w 96"/>
                <a:gd name="T63" fmla="*/ 87 h 96"/>
                <a:gd name="T64" fmla="*/ 20 w 96"/>
                <a:gd name="T65" fmla="*/ 85 h 96"/>
                <a:gd name="T66" fmla="*/ 14 w 96"/>
                <a:gd name="T67" fmla="*/ 82 h 96"/>
                <a:gd name="T68" fmla="*/ 11 w 96"/>
                <a:gd name="T69" fmla="*/ 76 h 96"/>
                <a:gd name="T70" fmla="*/ 9 w 96"/>
                <a:gd name="T71" fmla="*/ 67 h 96"/>
                <a:gd name="T72" fmla="*/ 9 w 96"/>
                <a:gd name="T73" fmla="*/ 48 h 96"/>
                <a:gd name="T74" fmla="*/ 9 w 96"/>
                <a:gd name="T75" fmla="*/ 29 h 96"/>
                <a:gd name="T76" fmla="*/ 11 w 96"/>
                <a:gd name="T77" fmla="*/ 20 h 96"/>
                <a:gd name="T78" fmla="*/ 14 w 96"/>
                <a:gd name="T79" fmla="*/ 14 h 96"/>
                <a:gd name="T80" fmla="*/ 20 w 96"/>
                <a:gd name="T81" fmla="*/ 11 h 96"/>
                <a:gd name="T82" fmla="*/ 29 w 96"/>
                <a:gd name="T83" fmla="*/ 9 h 96"/>
                <a:gd name="T84" fmla="*/ 48 w 96"/>
                <a:gd name="T85" fmla="*/ 9 h 96"/>
                <a:gd name="T86" fmla="*/ 67 w 96"/>
                <a:gd name="T87" fmla="*/ 9 h 96"/>
                <a:gd name="T88" fmla="*/ 76 w 96"/>
                <a:gd name="T89" fmla="*/ 11 h 96"/>
                <a:gd name="T90" fmla="*/ 82 w 96"/>
                <a:gd name="T91" fmla="*/ 14 h 96"/>
                <a:gd name="T92" fmla="*/ 85 w 96"/>
                <a:gd name="T93" fmla="*/ 20 h 96"/>
                <a:gd name="T94" fmla="*/ 87 w 96"/>
                <a:gd name="T95" fmla="*/ 29 h 96"/>
                <a:gd name="T96" fmla="*/ 87 w 96"/>
                <a:gd name="T97" fmla="*/ 48 h 96"/>
                <a:gd name="T98" fmla="*/ 87 w 96"/>
                <a:gd name="T99" fmla="*/ 6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6" h="96">
                  <a:moveTo>
                    <a:pt x="93" y="17"/>
                  </a:moveTo>
                  <a:cubicBezTo>
                    <a:pt x="92" y="13"/>
                    <a:pt x="91" y="11"/>
                    <a:pt x="88" y="8"/>
                  </a:cubicBezTo>
                  <a:cubicBezTo>
                    <a:pt x="85" y="5"/>
                    <a:pt x="83" y="4"/>
                    <a:pt x="79" y="3"/>
                  </a:cubicBezTo>
                  <a:cubicBezTo>
                    <a:pt x="76" y="1"/>
                    <a:pt x="73" y="1"/>
                    <a:pt x="68" y="0"/>
                  </a:cubicBezTo>
                  <a:cubicBezTo>
                    <a:pt x="63" y="0"/>
                    <a:pt x="61" y="0"/>
                    <a:pt x="48" y="0"/>
                  </a:cubicBezTo>
                  <a:cubicBezTo>
                    <a:pt x="35" y="0"/>
                    <a:pt x="33" y="0"/>
                    <a:pt x="28" y="0"/>
                  </a:cubicBezTo>
                  <a:cubicBezTo>
                    <a:pt x="23" y="1"/>
                    <a:pt x="20" y="1"/>
                    <a:pt x="17" y="3"/>
                  </a:cubicBezTo>
                  <a:cubicBezTo>
                    <a:pt x="13" y="4"/>
                    <a:pt x="11" y="5"/>
                    <a:pt x="8" y="8"/>
                  </a:cubicBezTo>
                  <a:cubicBezTo>
                    <a:pt x="5" y="11"/>
                    <a:pt x="4" y="13"/>
                    <a:pt x="3" y="17"/>
                  </a:cubicBezTo>
                  <a:cubicBezTo>
                    <a:pt x="1" y="20"/>
                    <a:pt x="1" y="23"/>
                    <a:pt x="0" y="28"/>
                  </a:cubicBezTo>
                  <a:cubicBezTo>
                    <a:pt x="0" y="33"/>
                    <a:pt x="0" y="35"/>
                    <a:pt x="0" y="48"/>
                  </a:cubicBezTo>
                  <a:cubicBezTo>
                    <a:pt x="0" y="61"/>
                    <a:pt x="0" y="63"/>
                    <a:pt x="0" y="68"/>
                  </a:cubicBezTo>
                  <a:cubicBezTo>
                    <a:pt x="1" y="73"/>
                    <a:pt x="1" y="76"/>
                    <a:pt x="3" y="79"/>
                  </a:cubicBezTo>
                  <a:cubicBezTo>
                    <a:pt x="4" y="83"/>
                    <a:pt x="5" y="85"/>
                    <a:pt x="8" y="88"/>
                  </a:cubicBezTo>
                  <a:cubicBezTo>
                    <a:pt x="11" y="91"/>
                    <a:pt x="13" y="92"/>
                    <a:pt x="17" y="93"/>
                  </a:cubicBezTo>
                  <a:cubicBezTo>
                    <a:pt x="20" y="95"/>
                    <a:pt x="23" y="95"/>
                    <a:pt x="28" y="96"/>
                  </a:cubicBezTo>
                  <a:cubicBezTo>
                    <a:pt x="33" y="96"/>
                    <a:pt x="35" y="96"/>
                    <a:pt x="48" y="96"/>
                  </a:cubicBezTo>
                  <a:cubicBezTo>
                    <a:pt x="61" y="96"/>
                    <a:pt x="63" y="96"/>
                    <a:pt x="68" y="96"/>
                  </a:cubicBezTo>
                  <a:cubicBezTo>
                    <a:pt x="73" y="95"/>
                    <a:pt x="76" y="95"/>
                    <a:pt x="79" y="93"/>
                  </a:cubicBezTo>
                  <a:cubicBezTo>
                    <a:pt x="83" y="92"/>
                    <a:pt x="85" y="91"/>
                    <a:pt x="88" y="88"/>
                  </a:cubicBezTo>
                  <a:cubicBezTo>
                    <a:pt x="91" y="85"/>
                    <a:pt x="92" y="83"/>
                    <a:pt x="93" y="79"/>
                  </a:cubicBezTo>
                  <a:cubicBezTo>
                    <a:pt x="95" y="76"/>
                    <a:pt x="95" y="73"/>
                    <a:pt x="96" y="68"/>
                  </a:cubicBezTo>
                  <a:cubicBezTo>
                    <a:pt x="96" y="63"/>
                    <a:pt x="96" y="61"/>
                    <a:pt x="96" y="48"/>
                  </a:cubicBezTo>
                  <a:cubicBezTo>
                    <a:pt x="96" y="35"/>
                    <a:pt x="96" y="33"/>
                    <a:pt x="96" y="28"/>
                  </a:cubicBezTo>
                  <a:cubicBezTo>
                    <a:pt x="95" y="23"/>
                    <a:pt x="95" y="20"/>
                    <a:pt x="93" y="17"/>
                  </a:cubicBezTo>
                  <a:close/>
                  <a:moveTo>
                    <a:pt x="87" y="67"/>
                  </a:moveTo>
                  <a:cubicBezTo>
                    <a:pt x="87" y="72"/>
                    <a:pt x="86" y="75"/>
                    <a:pt x="85" y="76"/>
                  </a:cubicBezTo>
                  <a:cubicBezTo>
                    <a:pt x="85" y="79"/>
                    <a:pt x="84" y="80"/>
                    <a:pt x="82" y="82"/>
                  </a:cubicBezTo>
                  <a:cubicBezTo>
                    <a:pt x="80" y="84"/>
                    <a:pt x="79" y="85"/>
                    <a:pt x="76" y="85"/>
                  </a:cubicBezTo>
                  <a:cubicBezTo>
                    <a:pt x="75" y="86"/>
                    <a:pt x="72" y="87"/>
                    <a:pt x="67" y="87"/>
                  </a:cubicBezTo>
                  <a:cubicBezTo>
                    <a:pt x="62" y="87"/>
                    <a:pt x="61" y="87"/>
                    <a:pt x="48" y="87"/>
                  </a:cubicBezTo>
                  <a:cubicBezTo>
                    <a:pt x="35" y="87"/>
                    <a:pt x="34" y="87"/>
                    <a:pt x="29" y="87"/>
                  </a:cubicBezTo>
                  <a:cubicBezTo>
                    <a:pt x="24" y="87"/>
                    <a:pt x="21" y="86"/>
                    <a:pt x="20" y="85"/>
                  </a:cubicBezTo>
                  <a:cubicBezTo>
                    <a:pt x="17" y="85"/>
                    <a:pt x="16" y="84"/>
                    <a:pt x="14" y="82"/>
                  </a:cubicBezTo>
                  <a:cubicBezTo>
                    <a:pt x="12" y="80"/>
                    <a:pt x="11" y="79"/>
                    <a:pt x="11" y="76"/>
                  </a:cubicBezTo>
                  <a:cubicBezTo>
                    <a:pt x="10" y="75"/>
                    <a:pt x="9" y="72"/>
                    <a:pt x="9" y="67"/>
                  </a:cubicBezTo>
                  <a:cubicBezTo>
                    <a:pt x="9" y="62"/>
                    <a:pt x="9" y="61"/>
                    <a:pt x="9" y="48"/>
                  </a:cubicBezTo>
                  <a:cubicBezTo>
                    <a:pt x="9" y="35"/>
                    <a:pt x="9" y="34"/>
                    <a:pt x="9" y="29"/>
                  </a:cubicBezTo>
                  <a:cubicBezTo>
                    <a:pt x="9" y="24"/>
                    <a:pt x="10" y="21"/>
                    <a:pt x="11" y="20"/>
                  </a:cubicBezTo>
                  <a:cubicBezTo>
                    <a:pt x="11" y="17"/>
                    <a:pt x="12" y="16"/>
                    <a:pt x="14" y="14"/>
                  </a:cubicBezTo>
                  <a:cubicBezTo>
                    <a:pt x="16" y="12"/>
                    <a:pt x="17" y="11"/>
                    <a:pt x="20" y="11"/>
                  </a:cubicBezTo>
                  <a:cubicBezTo>
                    <a:pt x="21" y="10"/>
                    <a:pt x="24" y="9"/>
                    <a:pt x="29" y="9"/>
                  </a:cubicBezTo>
                  <a:cubicBezTo>
                    <a:pt x="34" y="9"/>
                    <a:pt x="35" y="9"/>
                    <a:pt x="48" y="9"/>
                  </a:cubicBezTo>
                  <a:cubicBezTo>
                    <a:pt x="61" y="9"/>
                    <a:pt x="62" y="9"/>
                    <a:pt x="67" y="9"/>
                  </a:cubicBezTo>
                  <a:cubicBezTo>
                    <a:pt x="72" y="9"/>
                    <a:pt x="75" y="10"/>
                    <a:pt x="76" y="11"/>
                  </a:cubicBezTo>
                  <a:cubicBezTo>
                    <a:pt x="79" y="11"/>
                    <a:pt x="80" y="12"/>
                    <a:pt x="82" y="14"/>
                  </a:cubicBezTo>
                  <a:cubicBezTo>
                    <a:pt x="84" y="16"/>
                    <a:pt x="85" y="17"/>
                    <a:pt x="85" y="20"/>
                  </a:cubicBezTo>
                  <a:cubicBezTo>
                    <a:pt x="86" y="21"/>
                    <a:pt x="87" y="24"/>
                    <a:pt x="87" y="29"/>
                  </a:cubicBezTo>
                  <a:cubicBezTo>
                    <a:pt x="87" y="34"/>
                    <a:pt x="87" y="35"/>
                    <a:pt x="87" y="48"/>
                  </a:cubicBezTo>
                  <a:cubicBezTo>
                    <a:pt x="87" y="61"/>
                    <a:pt x="87" y="62"/>
                    <a:pt x="87" y="6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Freeform 31">
              <a:extLst>
                <a:ext uri="{FF2B5EF4-FFF2-40B4-BE49-F238E27FC236}">
                  <a16:creationId xmlns:a16="http://schemas.microsoft.com/office/drawing/2014/main" id="{967692F0-6BB4-4680-A553-5C9BAE30DA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" y="1513"/>
              <a:ext cx="80" cy="79"/>
            </a:xfrm>
            <a:custGeom>
              <a:avLst/>
              <a:gdLst>
                <a:gd name="T0" fmla="*/ 25 w 50"/>
                <a:gd name="T1" fmla="*/ 0 h 50"/>
                <a:gd name="T2" fmla="*/ 0 w 50"/>
                <a:gd name="T3" fmla="*/ 25 h 50"/>
                <a:gd name="T4" fmla="*/ 25 w 50"/>
                <a:gd name="T5" fmla="*/ 50 h 50"/>
                <a:gd name="T6" fmla="*/ 50 w 50"/>
                <a:gd name="T7" fmla="*/ 25 h 50"/>
                <a:gd name="T8" fmla="*/ 25 w 50"/>
                <a:gd name="T9" fmla="*/ 0 h 50"/>
                <a:gd name="T10" fmla="*/ 25 w 50"/>
                <a:gd name="T11" fmla="*/ 41 h 50"/>
                <a:gd name="T12" fmla="*/ 9 w 50"/>
                <a:gd name="T13" fmla="*/ 25 h 50"/>
                <a:gd name="T14" fmla="*/ 25 w 50"/>
                <a:gd name="T15" fmla="*/ 9 h 50"/>
                <a:gd name="T16" fmla="*/ 41 w 50"/>
                <a:gd name="T17" fmla="*/ 25 h 50"/>
                <a:gd name="T18" fmla="*/ 25 w 50"/>
                <a:gd name="T19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25" y="0"/>
                  </a:moveTo>
                  <a:cubicBezTo>
                    <a:pt x="11" y="0"/>
                    <a:pt x="0" y="11"/>
                    <a:pt x="0" y="25"/>
                  </a:cubicBezTo>
                  <a:cubicBezTo>
                    <a:pt x="0" y="39"/>
                    <a:pt x="11" y="50"/>
                    <a:pt x="25" y="50"/>
                  </a:cubicBezTo>
                  <a:cubicBezTo>
                    <a:pt x="39" y="50"/>
                    <a:pt x="50" y="39"/>
                    <a:pt x="50" y="25"/>
                  </a:cubicBezTo>
                  <a:cubicBezTo>
                    <a:pt x="50" y="11"/>
                    <a:pt x="39" y="0"/>
                    <a:pt x="25" y="0"/>
                  </a:cubicBezTo>
                  <a:close/>
                  <a:moveTo>
                    <a:pt x="25" y="41"/>
                  </a:moveTo>
                  <a:cubicBezTo>
                    <a:pt x="16" y="41"/>
                    <a:pt x="9" y="34"/>
                    <a:pt x="9" y="25"/>
                  </a:cubicBezTo>
                  <a:cubicBezTo>
                    <a:pt x="9" y="16"/>
                    <a:pt x="16" y="9"/>
                    <a:pt x="25" y="9"/>
                  </a:cubicBezTo>
                  <a:cubicBezTo>
                    <a:pt x="34" y="9"/>
                    <a:pt x="41" y="16"/>
                    <a:pt x="41" y="25"/>
                  </a:cubicBezTo>
                  <a:cubicBezTo>
                    <a:pt x="41" y="34"/>
                    <a:pt x="34" y="41"/>
                    <a:pt x="25" y="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Oval 32">
              <a:extLst>
                <a:ext uri="{FF2B5EF4-FFF2-40B4-BE49-F238E27FC236}">
                  <a16:creationId xmlns:a16="http://schemas.microsoft.com/office/drawing/2014/main" id="{A33CA9D7-C9DC-435A-96A4-3ED059C19C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" y="1503"/>
              <a:ext cx="18" cy="1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2" name="Group 35">
            <a:extLst>
              <a:ext uri="{FF2B5EF4-FFF2-40B4-BE49-F238E27FC236}">
                <a16:creationId xmlns:a16="http://schemas.microsoft.com/office/drawing/2014/main" id="{64A42D10-F150-4EC3-8771-F0BD008CE9D1}"/>
              </a:ext>
            </a:extLst>
          </p:cNvPr>
          <p:cNvGrpSpPr>
            <a:grpSpLocks/>
          </p:cNvGrpSpPr>
          <p:nvPr/>
        </p:nvGrpSpPr>
        <p:grpSpPr bwMode="auto">
          <a:xfrm>
            <a:off x="403225" y="2766960"/>
            <a:ext cx="692116" cy="677163"/>
            <a:chOff x="-164" y="1411"/>
            <a:chExt cx="559" cy="558"/>
          </a:xfrm>
        </p:grpSpPr>
        <p:sp>
          <p:nvSpPr>
            <p:cNvPr id="88" name="Oval 36">
              <a:extLst>
                <a:ext uri="{FF2B5EF4-FFF2-40B4-BE49-F238E27FC236}">
                  <a16:creationId xmlns:a16="http://schemas.microsoft.com/office/drawing/2014/main" id="{FC33E8E8-796F-4F01-B55B-7E0F6C9FA2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64" y="1411"/>
              <a:ext cx="559" cy="558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Freeform 37">
              <a:extLst>
                <a:ext uri="{FF2B5EF4-FFF2-40B4-BE49-F238E27FC236}">
                  <a16:creationId xmlns:a16="http://schemas.microsoft.com/office/drawing/2014/main" id="{1FCB1EDB-D097-4229-B344-88361CC17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9" y="1556"/>
              <a:ext cx="269" cy="268"/>
            </a:xfrm>
            <a:custGeom>
              <a:avLst/>
              <a:gdLst>
                <a:gd name="T0" fmla="*/ 91 w 96"/>
                <a:gd name="T1" fmla="*/ 0 h 96"/>
                <a:gd name="T2" fmla="*/ 5 w 96"/>
                <a:gd name="T3" fmla="*/ 0 h 96"/>
                <a:gd name="T4" fmla="*/ 0 w 96"/>
                <a:gd name="T5" fmla="*/ 5 h 96"/>
                <a:gd name="T6" fmla="*/ 0 w 96"/>
                <a:gd name="T7" fmla="*/ 91 h 96"/>
                <a:gd name="T8" fmla="*/ 5 w 96"/>
                <a:gd name="T9" fmla="*/ 96 h 96"/>
                <a:gd name="T10" fmla="*/ 51 w 96"/>
                <a:gd name="T11" fmla="*/ 96 h 96"/>
                <a:gd name="T12" fmla="*/ 51 w 96"/>
                <a:gd name="T13" fmla="*/ 59 h 96"/>
                <a:gd name="T14" fmla="*/ 39 w 96"/>
                <a:gd name="T15" fmla="*/ 59 h 96"/>
                <a:gd name="T16" fmla="*/ 39 w 96"/>
                <a:gd name="T17" fmla="*/ 44 h 96"/>
                <a:gd name="T18" fmla="*/ 51 w 96"/>
                <a:gd name="T19" fmla="*/ 44 h 96"/>
                <a:gd name="T20" fmla="*/ 51 w 96"/>
                <a:gd name="T21" fmla="*/ 34 h 96"/>
                <a:gd name="T22" fmla="*/ 70 w 96"/>
                <a:gd name="T23" fmla="*/ 15 h 96"/>
                <a:gd name="T24" fmla="*/ 81 w 96"/>
                <a:gd name="T25" fmla="*/ 15 h 96"/>
                <a:gd name="T26" fmla="*/ 81 w 96"/>
                <a:gd name="T27" fmla="*/ 28 h 96"/>
                <a:gd name="T28" fmla="*/ 73 w 96"/>
                <a:gd name="T29" fmla="*/ 28 h 96"/>
                <a:gd name="T30" fmla="*/ 66 w 96"/>
                <a:gd name="T31" fmla="*/ 35 h 96"/>
                <a:gd name="T32" fmla="*/ 66 w 96"/>
                <a:gd name="T33" fmla="*/ 44 h 96"/>
                <a:gd name="T34" fmla="*/ 81 w 96"/>
                <a:gd name="T35" fmla="*/ 44 h 96"/>
                <a:gd name="T36" fmla="*/ 79 w 96"/>
                <a:gd name="T37" fmla="*/ 59 h 96"/>
                <a:gd name="T38" fmla="*/ 66 w 96"/>
                <a:gd name="T39" fmla="*/ 59 h 96"/>
                <a:gd name="T40" fmla="*/ 66 w 96"/>
                <a:gd name="T41" fmla="*/ 96 h 96"/>
                <a:gd name="T42" fmla="*/ 91 w 96"/>
                <a:gd name="T43" fmla="*/ 96 h 96"/>
                <a:gd name="T44" fmla="*/ 96 w 96"/>
                <a:gd name="T45" fmla="*/ 91 h 96"/>
                <a:gd name="T46" fmla="*/ 96 w 96"/>
                <a:gd name="T47" fmla="*/ 5 h 96"/>
                <a:gd name="T48" fmla="*/ 91 w 96"/>
                <a:gd name="T4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6" h="96">
                  <a:moveTo>
                    <a:pt x="91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0" y="94"/>
                    <a:pt x="2" y="96"/>
                    <a:pt x="5" y="96"/>
                  </a:cubicBezTo>
                  <a:cubicBezTo>
                    <a:pt x="51" y="96"/>
                    <a:pt x="51" y="96"/>
                    <a:pt x="51" y="96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51" y="44"/>
                    <a:pt x="51" y="44"/>
                    <a:pt x="51" y="44"/>
                  </a:cubicBezTo>
                  <a:cubicBezTo>
                    <a:pt x="51" y="34"/>
                    <a:pt x="51" y="34"/>
                    <a:pt x="51" y="34"/>
                  </a:cubicBezTo>
                  <a:cubicBezTo>
                    <a:pt x="51" y="21"/>
                    <a:pt x="59" y="15"/>
                    <a:pt x="70" y="15"/>
                  </a:cubicBezTo>
                  <a:cubicBezTo>
                    <a:pt x="74" y="14"/>
                    <a:pt x="77" y="15"/>
                    <a:pt x="81" y="15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67" y="28"/>
                    <a:pt x="66" y="31"/>
                    <a:pt x="66" y="35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79" y="59"/>
                    <a:pt x="79" y="59"/>
                    <a:pt x="79" y="59"/>
                  </a:cubicBezTo>
                  <a:cubicBezTo>
                    <a:pt x="66" y="59"/>
                    <a:pt x="66" y="59"/>
                    <a:pt x="66" y="59"/>
                  </a:cubicBezTo>
                  <a:cubicBezTo>
                    <a:pt x="66" y="96"/>
                    <a:pt x="66" y="96"/>
                    <a:pt x="66" y="96"/>
                  </a:cubicBezTo>
                  <a:cubicBezTo>
                    <a:pt x="91" y="96"/>
                    <a:pt x="91" y="96"/>
                    <a:pt x="91" y="96"/>
                  </a:cubicBezTo>
                  <a:cubicBezTo>
                    <a:pt x="94" y="96"/>
                    <a:pt x="96" y="94"/>
                    <a:pt x="96" y="91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2"/>
                    <a:pt x="94" y="0"/>
                    <a:pt x="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3" name="Group 40">
            <a:extLst>
              <a:ext uri="{FF2B5EF4-FFF2-40B4-BE49-F238E27FC236}">
                <a16:creationId xmlns:a16="http://schemas.microsoft.com/office/drawing/2014/main" id="{072F2099-04AE-4739-88A8-D5CB1D6B9EA7}"/>
              </a:ext>
            </a:extLst>
          </p:cNvPr>
          <p:cNvGrpSpPr>
            <a:grpSpLocks/>
          </p:cNvGrpSpPr>
          <p:nvPr/>
        </p:nvGrpSpPr>
        <p:grpSpPr bwMode="auto">
          <a:xfrm>
            <a:off x="4083217" y="2775429"/>
            <a:ext cx="682231" cy="682231"/>
            <a:chOff x="2090" y="1676"/>
            <a:chExt cx="558" cy="558"/>
          </a:xfrm>
        </p:grpSpPr>
        <p:sp>
          <p:nvSpPr>
            <p:cNvPr id="85" name="Oval 41">
              <a:extLst>
                <a:ext uri="{FF2B5EF4-FFF2-40B4-BE49-F238E27FC236}">
                  <a16:creationId xmlns:a16="http://schemas.microsoft.com/office/drawing/2014/main" id="{1B031BAA-0C46-4D11-8942-F5F62D6D15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90" y="1676"/>
              <a:ext cx="558" cy="558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42">
              <a:extLst>
                <a:ext uri="{FF2B5EF4-FFF2-40B4-BE49-F238E27FC236}">
                  <a16:creationId xmlns:a16="http://schemas.microsoft.com/office/drawing/2014/main" id="{D806B56A-3EA6-417C-9CD6-0DCA1352C1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24" y="1852"/>
              <a:ext cx="290" cy="203"/>
            </a:xfrm>
            <a:custGeom>
              <a:avLst/>
              <a:gdLst>
                <a:gd name="T0" fmla="*/ 102 w 104"/>
                <a:gd name="T1" fmla="*/ 11 h 73"/>
                <a:gd name="T2" fmla="*/ 93 w 104"/>
                <a:gd name="T3" fmla="*/ 2 h 73"/>
                <a:gd name="T4" fmla="*/ 52 w 104"/>
                <a:gd name="T5" fmla="*/ 0 h 73"/>
                <a:gd name="T6" fmla="*/ 11 w 104"/>
                <a:gd name="T7" fmla="*/ 2 h 73"/>
                <a:gd name="T8" fmla="*/ 2 w 104"/>
                <a:gd name="T9" fmla="*/ 11 h 73"/>
                <a:gd name="T10" fmla="*/ 0 w 104"/>
                <a:gd name="T11" fmla="*/ 36 h 73"/>
                <a:gd name="T12" fmla="*/ 2 w 104"/>
                <a:gd name="T13" fmla="*/ 62 h 73"/>
                <a:gd name="T14" fmla="*/ 11 w 104"/>
                <a:gd name="T15" fmla="*/ 71 h 73"/>
                <a:gd name="T16" fmla="*/ 52 w 104"/>
                <a:gd name="T17" fmla="*/ 73 h 73"/>
                <a:gd name="T18" fmla="*/ 93 w 104"/>
                <a:gd name="T19" fmla="*/ 71 h 73"/>
                <a:gd name="T20" fmla="*/ 102 w 104"/>
                <a:gd name="T21" fmla="*/ 62 h 73"/>
                <a:gd name="T22" fmla="*/ 104 w 104"/>
                <a:gd name="T23" fmla="*/ 36 h 73"/>
                <a:gd name="T24" fmla="*/ 102 w 104"/>
                <a:gd name="T25" fmla="*/ 11 h 73"/>
                <a:gd name="T26" fmla="*/ 41 w 104"/>
                <a:gd name="T27" fmla="*/ 52 h 73"/>
                <a:gd name="T28" fmla="*/ 41 w 104"/>
                <a:gd name="T29" fmla="*/ 21 h 73"/>
                <a:gd name="T30" fmla="*/ 69 w 104"/>
                <a:gd name="T31" fmla="*/ 36 h 73"/>
                <a:gd name="T32" fmla="*/ 41 w 104"/>
                <a:gd name="T33" fmla="*/ 5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4" h="73">
                  <a:moveTo>
                    <a:pt x="102" y="11"/>
                  </a:moveTo>
                  <a:cubicBezTo>
                    <a:pt x="101" y="7"/>
                    <a:pt x="97" y="3"/>
                    <a:pt x="93" y="2"/>
                  </a:cubicBezTo>
                  <a:cubicBezTo>
                    <a:pt x="85" y="0"/>
                    <a:pt x="52" y="0"/>
                    <a:pt x="52" y="0"/>
                  </a:cubicBezTo>
                  <a:cubicBezTo>
                    <a:pt x="52" y="0"/>
                    <a:pt x="19" y="0"/>
                    <a:pt x="11" y="2"/>
                  </a:cubicBezTo>
                  <a:cubicBezTo>
                    <a:pt x="7" y="3"/>
                    <a:pt x="3" y="7"/>
                    <a:pt x="2" y="11"/>
                  </a:cubicBezTo>
                  <a:cubicBezTo>
                    <a:pt x="0" y="19"/>
                    <a:pt x="0" y="36"/>
                    <a:pt x="0" y="36"/>
                  </a:cubicBezTo>
                  <a:cubicBezTo>
                    <a:pt x="0" y="36"/>
                    <a:pt x="0" y="54"/>
                    <a:pt x="2" y="62"/>
                  </a:cubicBezTo>
                  <a:cubicBezTo>
                    <a:pt x="3" y="66"/>
                    <a:pt x="7" y="70"/>
                    <a:pt x="11" y="71"/>
                  </a:cubicBezTo>
                  <a:cubicBezTo>
                    <a:pt x="19" y="73"/>
                    <a:pt x="52" y="73"/>
                    <a:pt x="52" y="73"/>
                  </a:cubicBezTo>
                  <a:cubicBezTo>
                    <a:pt x="52" y="73"/>
                    <a:pt x="85" y="73"/>
                    <a:pt x="93" y="71"/>
                  </a:cubicBezTo>
                  <a:cubicBezTo>
                    <a:pt x="97" y="70"/>
                    <a:pt x="101" y="66"/>
                    <a:pt x="102" y="62"/>
                  </a:cubicBezTo>
                  <a:cubicBezTo>
                    <a:pt x="104" y="54"/>
                    <a:pt x="104" y="36"/>
                    <a:pt x="104" y="36"/>
                  </a:cubicBezTo>
                  <a:cubicBezTo>
                    <a:pt x="104" y="36"/>
                    <a:pt x="104" y="19"/>
                    <a:pt x="102" y="11"/>
                  </a:cubicBezTo>
                  <a:close/>
                  <a:moveTo>
                    <a:pt x="41" y="52"/>
                  </a:moveTo>
                  <a:cubicBezTo>
                    <a:pt x="41" y="21"/>
                    <a:pt x="41" y="21"/>
                    <a:pt x="41" y="21"/>
                  </a:cubicBezTo>
                  <a:cubicBezTo>
                    <a:pt x="69" y="36"/>
                    <a:pt x="69" y="36"/>
                    <a:pt x="69" y="36"/>
                  </a:cubicBezTo>
                  <a:lnTo>
                    <a:pt x="41" y="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43">
              <a:extLst>
                <a:ext uri="{FF2B5EF4-FFF2-40B4-BE49-F238E27FC236}">
                  <a16:creationId xmlns:a16="http://schemas.microsoft.com/office/drawing/2014/main" id="{49CA7562-EBAB-49B3-9437-D921DDB256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24" y="1852"/>
              <a:ext cx="290" cy="203"/>
            </a:xfrm>
            <a:custGeom>
              <a:avLst/>
              <a:gdLst>
                <a:gd name="T0" fmla="*/ 102 w 104"/>
                <a:gd name="T1" fmla="*/ 11 h 73"/>
                <a:gd name="T2" fmla="*/ 93 w 104"/>
                <a:gd name="T3" fmla="*/ 2 h 73"/>
                <a:gd name="T4" fmla="*/ 52 w 104"/>
                <a:gd name="T5" fmla="*/ 0 h 73"/>
                <a:gd name="T6" fmla="*/ 11 w 104"/>
                <a:gd name="T7" fmla="*/ 2 h 73"/>
                <a:gd name="T8" fmla="*/ 2 w 104"/>
                <a:gd name="T9" fmla="*/ 11 h 73"/>
                <a:gd name="T10" fmla="*/ 0 w 104"/>
                <a:gd name="T11" fmla="*/ 36 h 73"/>
                <a:gd name="T12" fmla="*/ 2 w 104"/>
                <a:gd name="T13" fmla="*/ 62 h 73"/>
                <a:gd name="T14" fmla="*/ 11 w 104"/>
                <a:gd name="T15" fmla="*/ 71 h 73"/>
                <a:gd name="T16" fmla="*/ 52 w 104"/>
                <a:gd name="T17" fmla="*/ 73 h 73"/>
                <a:gd name="T18" fmla="*/ 93 w 104"/>
                <a:gd name="T19" fmla="*/ 71 h 73"/>
                <a:gd name="T20" fmla="*/ 102 w 104"/>
                <a:gd name="T21" fmla="*/ 62 h 73"/>
                <a:gd name="T22" fmla="*/ 104 w 104"/>
                <a:gd name="T23" fmla="*/ 36 h 73"/>
                <a:gd name="T24" fmla="*/ 102 w 104"/>
                <a:gd name="T25" fmla="*/ 11 h 73"/>
                <a:gd name="T26" fmla="*/ 41 w 104"/>
                <a:gd name="T27" fmla="*/ 52 h 73"/>
                <a:gd name="T28" fmla="*/ 41 w 104"/>
                <a:gd name="T29" fmla="*/ 21 h 73"/>
                <a:gd name="T30" fmla="*/ 69 w 104"/>
                <a:gd name="T31" fmla="*/ 36 h 73"/>
                <a:gd name="T32" fmla="*/ 41 w 104"/>
                <a:gd name="T33" fmla="*/ 5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4" h="73">
                  <a:moveTo>
                    <a:pt x="102" y="11"/>
                  </a:moveTo>
                  <a:cubicBezTo>
                    <a:pt x="101" y="7"/>
                    <a:pt x="97" y="3"/>
                    <a:pt x="93" y="2"/>
                  </a:cubicBezTo>
                  <a:cubicBezTo>
                    <a:pt x="85" y="0"/>
                    <a:pt x="52" y="0"/>
                    <a:pt x="52" y="0"/>
                  </a:cubicBezTo>
                  <a:cubicBezTo>
                    <a:pt x="52" y="0"/>
                    <a:pt x="19" y="0"/>
                    <a:pt x="11" y="2"/>
                  </a:cubicBezTo>
                  <a:cubicBezTo>
                    <a:pt x="7" y="3"/>
                    <a:pt x="3" y="7"/>
                    <a:pt x="2" y="11"/>
                  </a:cubicBezTo>
                  <a:cubicBezTo>
                    <a:pt x="0" y="19"/>
                    <a:pt x="0" y="36"/>
                    <a:pt x="0" y="36"/>
                  </a:cubicBezTo>
                  <a:cubicBezTo>
                    <a:pt x="0" y="36"/>
                    <a:pt x="0" y="54"/>
                    <a:pt x="2" y="62"/>
                  </a:cubicBezTo>
                  <a:cubicBezTo>
                    <a:pt x="3" y="66"/>
                    <a:pt x="7" y="70"/>
                    <a:pt x="11" y="71"/>
                  </a:cubicBezTo>
                  <a:cubicBezTo>
                    <a:pt x="19" y="73"/>
                    <a:pt x="52" y="73"/>
                    <a:pt x="52" y="73"/>
                  </a:cubicBezTo>
                  <a:cubicBezTo>
                    <a:pt x="52" y="73"/>
                    <a:pt x="85" y="73"/>
                    <a:pt x="93" y="71"/>
                  </a:cubicBezTo>
                  <a:cubicBezTo>
                    <a:pt x="97" y="70"/>
                    <a:pt x="101" y="66"/>
                    <a:pt x="102" y="62"/>
                  </a:cubicBezTo>
                  <a:cubicBezTo>
                    <a:pt x="104" y="54"/>
                    <a:pt x="104" y="36"/>
                    <a:pt x="104" y="36"/>
                  </a:cubicBezTo>
                  <a:cubicBezTo>
                    <a:pt x="104" y="36"/>
                    <a:pt x="104" y="19"/>
                    <a:pt x="102" y="11"/>
                  </a:cubicBezTo>
                  <a:close/>
                  <a:moveTo>
                    <a:pt x="41" y="52"/>
                  </a:moveTo>
                  <a:cubicBezTo>
                    <a:pt x="41" y="21"/>
                    <a:pt x="41" y="21"/>
                    <a:pt x="41" y="21"/>
                  </a:cubicBezTo>
                  <a:cubicBezTo>
                    <a:pt x="69" y="36"/>
                    <a:pt x="69" y="36"/>
                    <a:pt x="69" y="36"/>
                  </a:cubicBezTo>
                  <a:lnTo>
                    <a:pt x="41" y="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4" name="Group 46">
            <a:extLst>
              <a:ext uri="{FF2B5EF4-FFF2-40B4-BE49-F238E27FC236}">
                <a16:creationId xmlns:a16="http://schemas.microsoft.com/office/drawing/2014/main" id="{B0C7945B-DDAF-41ED-8BF5-8572669B3834}"/>
              </a:ext>
            </a:extLst>
          </p:cNvPr>
          <p:cNvGrpSpPr>
            <a:grpSpLocks/>
          </p:cNvGrpSpPr>
          <p:nvPr/>
        </p:nvGrpSpPr>
        <p:grpSpPr bwMode="auto">
          <a:xfrm>
            <a:off x="5007561" y="2775429"/>
            <a:ext cx="682231" cy="682231"/>
            <a:chOff x="2364" y="1525"/>
            <a:chExt cx="559" cy="558"/>
          </a:xfrm>
        </p:grpSpPr>
        <p:sp>
          <p:nvSpPr>
            <p:cNvPr id="83" name="Oval 47">
              <a:extLst>
                <a:ext uri="{FF2B5EF4-FFF2-40B4-BE49-F238E27FC236}">
                  <a16:creationId xmlns:a16="http://schemas.microsoft.com/office/drawing/2014/main" id="{26077A2A-D6F6-4BB3-9DDE-B0054D1737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4" y="1525"/>
              <a:ext cx="559" cy="558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48">
              <a:extLst>
                <a:ext uri="{FF2B5EF4-FFF2-40B4-BE49-F238E27FC236}">
                  <a16:creationId xmlns:a16="http://schemas.microsoft.com/office/drawing/2014/main" id="{DE9D5409-E9A5-4B89-91DD-ED550A907E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7" y="1670"/>
              <a:ext cx="335" cy="285"/>
            </a:xfrm>
            <a:custGeom>
              <a:avLst/>
              <a:gdLst>
                <a:gd name="T0" fmla="*/ 115 w 120"/>
                <a:gd name="T1" fmla="*/ 46 h 102"/>
                <a:gd name="T2" fmla="*/ 114 w 120"/>
                <a:gd name="T3" fmla="*/ 46 h 102"/>
                <a:gd name="T4" fmla="*/ 78 w 120"/>
                <a:gd name="T5" fmla="*/ 53 h 102"/>
                <a:gd name="T6" fmla="*/ 115 w 120"/>
                <a:gd name="T7" fmla="*/ 58 h 102"/>
                <a:gd name="T8" fmla="*/ 120 w 120"/>
                <a:gd name="T9" fmla="*/ 52 h 102"/>
                <a:gd name="T10" fmla="*/ 115 w 120"/>
                <a:gd name="T11" fmla="*/ 46 h 102"/>
                <a:gd name="T12" fmla="*/ 104 w 120"/>
                <a:gd name="T13" fmla="*/ 81 h 102"/>
                <a:gd name="T14" fmla="*/ 70 w 120"/>
                <a:gd name="T15" fmla="*/ 68 h 102"/>
                <a:gd name="T16" fmla="*/ 98 w 120"/>
                <a:gd name="T17" fmla="*/ 92 h 102"/>
                <a:gd name="T18" fmla="*/ 99 w 120"/>
                <a:gd name="T19" fmla="*/ 92 h 102"/>
                <a:gd name="T20" fmla="*/ 105 w 120"/>
                <a:gd name="T21" fmla="*/ 89 h 102"/>
                <a:gd name="T22" fmla="*/ 104 w 120"/>
                <a:gd name="T23" fmla="*/ 81 h 102"/>
                <a:gd name="T24" fmla="*/ 104 w 120"/>
                <a:gd name="T25" fmla="*/ 24 h 102"/>
                <a:gd name="T26" fmla="*/ 105 w 120"/>
                <a:gd name="T27" fmla="*/ 16 h 102"/>
                <a:gd name="T28" fmla="*/ 99 w 120"/>
                <a:gd name="T29" fmla="*/ 13 h 102"/>
                <a:gd name="T30" fmla="*/ 98 w 120"/>
                <a:gd name="T31" fmla="*/ 14 h 102"/>
                <a:gd name="T32" fmla="*/ 70 w 120"/>
                <a:gd name="T33" fmla="*/ 37 h 102"/>
                <a:gd name="T34" fmla="*/ 104 w 120"/>
                <a:gd name="T35" fmla="*/ 24 h 102"/>
                <a:gd name="T36" fmla="*/ 28 w 120"/>
                <a:gd name="T37" fmla="*/ 75 h 102"/>
                <a:gd name="T38" fmla="*/ 12 w 120"/>
                <a:gd name="T39" fmla="*/ 91 h 102"/>
                <a:gd name="T40" fmla="*/ 9 w 120"/>
                <a:gd name="T41" fmla="*/ 91 h 102"/>
                <a:gd name="T42" fmla="*/ 3 w 120"/>
                <a:gd name="T43" fmla="*/ 95 h 102"/>
                <a:gd name="T44" fmla="*/ 7 w 120"/>
                <a:gd name="T45" fmla="*/ 102 h 102"/>
                <a:gd name="T46" fmla="*/ 13 w 120"/>
                <a:gd name="T47" fmla="*/ 102 h 102"/>
                <a:gd name="T48" fmla="*/ 38 w 120"/>
                <a:gd name="T49" fmla="*/ 81 h 102"/>
                <a:gd name="T50" fmla="*/ 67 w 120"/>
                <a:gd name="T51" fmla="*/ 9 h 102"/>
                <a:gd name="T52" fmla="*/ 63 w 120"/>
                <a:gd name="T53" fmla="*/ 1 h 102"/>
                <a:gd name="T54" fmla="*/ 55 w 120"/>
                <a:gd name="T55" fmla="*/ 5 h 102"/>
                <a:gd name="T56" fmla="*/ 35 w 120"/>
                <a:gd name="T57" fmla="*/ 59 h 102"/>
                <a:gd name="T58" fmla="*/ 34 w 120"/>
                <a:gd name="T59" fmla="*/ 59 h 102"/>
                <a:gd name="T60" fmla="*/ 13 w 120"/>
                <a:gd name="T61" fmla="*/ 4 h 102"/>
                <a:gd name="T62" fmla="*/ 5 w 120"/>
                <a:gd name="T63" fmla="*/ 1 h 102"/>
                <a:gd name="T64" fmla="*/ 1 w 120"/>
                <a:gd name="T65" fmla="*/ 9 h 102"/>
                <a:gd name="T66" fmla="*/ 28 w 120"/>
                <a:gd name="T67" fmla="*/ 7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0" h="102">
                  <a:moveTo>
                    <a:pt x="115" y="46"/>
                  </a:moveTo>
                  <a:cubicBezTo>
                    <a:pt x="115" y="46"/>
                    <a:pt x="115" y="46"/>
                    <a:pt x="114" y="46"/>
                  </a:cubicBezTo>
                  <a:cubicBezTo>
                    <a:pt x="110" y="46"/>
                    <a:pt x="77" y="50"/>
                    <a:pt x="78" y="53"/>
                  </a:cubicBezTo>
                  <a:cubicBezTo>
                    <a:pt x="80" y="57"/>
                    <a:pt x="100" y="58"/>
                    <a:pt x="115" y="58"/>
                  </a:cubicBezTo>
                  <a:cubicBezTo>
                    <a:pt x="118" y="58"/>
                    <a:pt x="120" y="55"/>
                    <a:pt x="120" y="52"/>
                  </a:cubicBezTo>
                  <a:cubicBezTo>
                    <a:pt x="120" y="49"/>
                    <a:pt x="118" y="47"/>
                    <a:pt x="115" y="46"/>
                  </a:cubicBezTo>
                  <a:moveTo>
                    <a:pt x="104" y="81"/>
                  </a:moveTo>
                  <a:cubicBezTo>
                    <a:pt x="91" y="74"/>
                    <a:pt x="73" y="66"/>
                    <a:pt x="70" y="68"/>
                  </a:cubicBezTo>
                  <a:cubicBezTo>
                    <a:pt x="67" y="70"/>
                    <a:pt x="94" y="89"/>
                    <a:pt x="98" y="92"/>
                  </a:cubicBezTo>
                  <a:cubicBezTo>
                    <a:pt x="98" y="92"/>
                    <a:pt x="98" y="92"/>
                    <a:pt x="99" y="92"/>
                  </a:cubicBezTo>
                  <a:cubicBezTo>
                    <a:pt x="101" y="93"/>
                    <a:pt x="104" y="92"/>
                    <a:pt x="105" y="89"/>
                  </a:cubicBezTo>
                  <a:cubicBezTo>
                    <a:pt x="107" y="87"/>
                    <a:pt x="106" y="83"/>
                    <a:pt x="104" y="81"/>
                  </a:cubicBezTo>
                  <a:moveTo>
                    <a:pt x="104" y="24"/>
                  </a:moveTo>
                  <a:cubicBezTo>
                    <a:pt x="106" y="22"/>
                    <a:pt x="107" y="19"/>
                    <a:pt x="105" y="16"/>
                  </a:cubicBezTo>
                  <a:cubicBezTo>
                    <a:pt x="104" y="14"/>
                    <a:pt x="101" y="13"/>
                    <a:pt x="99" y="13"/>
                  </a:cubicBezTo>
                  <a:cubicBezTo>
                    <a:pt x="98" y="14"/>
                    <a:pt x="98" y="14"/>
                    <a:pt x="98" y="14"/>
                  </a:cubicBezTo>
                  <a:cubicBezTo>
                    <a:pt x="94" y="16"/>
                    <a:pt x="67" y="35"/>
                    <a:pt x="70" y="37"/>
                  </a:cubicBezTo>
                  <a:cubicBezTo>
                    <a:pt x="73" y="39"/>
                    <a:pt x="91" y="31"/>
                    <a:pt x="104" y="24"/>
                  </a:cubicBezTo>
                  <a:close/>
                  <a:moveTo>
                    <a:pt x="28" y="75"/>
                  </a:moveTo>
                  <a:cubicBezTo>
                    <a:pt x="24" y="86"/>
                    <a:pt x="21" y="91"/>
                    <a:pt x="12" y="91"/>
                  </a:cubicBezTo>
                  <a:cubicBezTo>
                    <a:pt x="12" y="91"/>
                    <a:pt x="9" y="91"/>
                    <a:pt x="9" y="91"/>
                  </a:cubicBezTo>
                  <a:cubicBezTo>
                    <a:pt x="6" y="90"/>
                    <a:pt x="4" y="92"/>
                    <a:pt x="3" y="95"/>
                  </a:cubicBezTo>
                  <a:cubicBezTo>
                    <a:pt x="2" y="98"/>
                    <a:pt x="4" y="101"/>
                    <a:pt x="7" y="102"/>
                  </a:cubicBezTo>
                  <a:cubicBezTo>
                    <a:pt x="9" y="102"/>
                    <a:pt x="11" y="102"/>
                    <a:pt x="13" y="102"/>
                  </a:cubicBezTo>
                  <a:cubicBezTo>
                    <a:pt x="28" y="102"/>
                    <a:pt x="33" y="94"/>
                    <a:pt x="38" y="81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68" y="6"/>
                    <a:pt x="66" y="2"/>
                    <a:pt x="63" y="1"/>
                  </a:cubicBezTo>
                  <a:cubicBezTo>
                    <a:pt x="60" y="0"/>
                    <a:pt x="56" y="2"/>
                    <a:pt x="55" y="5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1"/>
                    <a:pt x="8" y="0"/>
                    <a:pt x="5" y="1"/>
                  </a:cubicBezTo>
                  <a:cubicBezTo>
                    <a:pt x="2" y="2"/>
                    <a:pt x="0" y="6"/>
                    <a:pt x="1" y="9"/>
                  </a:cubicBezTo>
                  <a:lnTo>
                    <a:pt x="28" y="7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6" name="Group 52">
            <a:extLst>
              <a:ext uri="{FF2B5EF4-FFF2-40B4-BE49-F238E27FC236}">
                <a16:creationId xmlns:a16="http://schemas.microsoft.com/office/drawing/2014/main" id="{67D1E847-AFDA-483B-AD9E-8381C43C67D2}"/>
              </a:ext>
            </a:extLst>
          </p:cNvPr>
          <p:cNvGrpSpPr>
            <a:grpSpLocks/>
          </p:cNvGrpSpPr>
          <p:nvPr/>
        </p:nvGrpSpPr>
        <p:grpSpPr bwMode="auto">
          <a:xfrm>
            <a:off x="5000743" y="1888267"/>
            <a:ext cx="682231" cy="682231"/>
            <a:chOff x="2601" y="1879"/>
            <a:chExt cx="558" cy="559"/>
          </a:xfrm>
        </p:grpSpPr>
        <p:sp>
          <p:nvSpPr>
            <p:cNvPr id="81" name="Freeform 53">
              <a:extLst>
                <a:ext uri="{FF2B5EF4-FFF2-40B4-BE49-F238E27FC236}">
                  <a16:creationId xmlns:a16="http://schemas.microsoft.com/office/drawing/2014/main" id="{4CDBE81F-61AF-4939-A488-44010D3C4E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" y="1879"/>
              <a:ext cx="558" cy="559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200 w 200"/>
                <a:gd name="T7" fmla="*/ 100 h 200"/>
                <a:gd name="T8" fmla="*/ 100 w 200"/>
                <a:gd name="T9" fmla="*/ 0 h 200"/>
                <a:gd name="T10" fmla="*/ 100 w 200"/>
                <a:gd name="T11" fmla="*/ 194 h 200"/>
                <a:gd name="T12" fmla="*/ 6 w 200"/>
                <a:gd name="T13" fmla="*/ 100 h 200"/>
                <a:gd name="T14" fmla="*/ 100 w 200"/>
                <a:gd name="T15" fmla="*/ 6 h 200"/>
                <a:gd name="T16" fmla="*/ 194 w 200"/>
                <a:gd name="T17" fmla="*/ 100 h 200"/>
                <a:gd name="T18" fmla="*/ 100 w 200"/>
                <a:gd name="T19" fmla="*/ 194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55" y="200"/>
                    <a:pt x="200" y="155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  <a:moveTo>
                    <a:pt x="100" y="194"/>
                  </a:moveTo>
                  <a:cubicBezTo>
                    <a:pt x="48" y="194"/>
                    <a:pt x="6" y="152"/>
                    <a:pt x="6" y="100"/>
                  </a:cubicBezTo>
                  <a:cubicBezTo>
                    <a:pt x="6" y="48"/>
                    <a:pt x="48" y="6"/>
                    <a:pt x="100" y="6"/>
                  </a:cubicBezTo>
                  <a:cubicBezTo>
                    <a:pt x="152" y="6"/>
                    <a:pt x="194" y="48"/>
                    <a:pt x="194" y="100"/>
                  </a:cubicBezTo>
                  <a:cubicBezTo>
                    <a:pt x="194" y="152"/>
                    <a:pt x="152" y="194"/>
                    <a:pt x="100" y="194"/>
                  </a:cubicBez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54">
              <a:extLst>
                <a:ext uri="{FF2B5EF4-FFF2-40B4-BE49-F238E27FC236}">
                  <a16:creationId xmlns:a16="http://schemas.microsoft.com/office/drawing/2014/main" id="{74D243E4-5C88-466E-B868-06B00578B4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24" y="2024"/>
              <a:ext cx="334" cy="286"/>
            </a:xfrm>
            <a:custGeom>
              <a:avLst/>
              <a:gdLst>
                <a:gd name="T0" fmla="*/ 115 w 120"/>
                <a:gd name="T1" fmla="*/ 46 h 102"/>
                <a:gd name="T2" fmla="*/ 114 w 120"/>
                <a:gd name="T3" fmla="*/ 46 h 102"/>
                <a:gd name="T4" fmla="*/ 78 w 120"/>
                <a:gd name="T5" fmla="*/ 53 h 102"/>
                <a:gd name="T6" fmla="*/ 115 w 120"/>
                <a:gd name="T7" fmla="*/ 58 h 102"/>
                <a:gd name="T8" fmla="*/ 120 w 120"/>
                <a:gd name="T9" fmla="*/ 52 h 102"/>
                <a:gd name="T10" fmla="*/ 115 w 120"/>
                <a:gd name="T11" fmla="*/ 46 h 102"/>
                <a:gd name="T12" fmla="*/ 104 w 120"/>
                <a:gd name="T13" fmla="*/ 81 h 102"/>
                <a:gd name="T14" fmla="*/ 70 w 120"/>
                <a:gd name="T15" fmla="*/ 68 h 102"/>
                <a:gd name="T16" fmla="*/ 98 w 120"/>
                <a:gd name="T17" fmla="*/ 92 h 102"/>
                <a:gd name="T18" fmla="*/ 99 w 120"/>
                <a:gd name="T19" fmla="*/ 92 h 102"/>
                <a:gd name="T20" fmla="*/ 105 w 120"/>
                <a:gd name="T21" fmla="*/ 89 h 102"/>
                <a:gd name="T22" fmla="*/ 104 w 120"/>
                <a:gd name="T23" fmla="*/ 81 h 102"/>
                <a:gd name="T24" fmla="*/ 104 w 120"/>
                <a:gd name="T25" fmla="*/ 24 h 102"/>
                <a:gd name="T26" fmla="*/ 105 w 120"/>
                <a:gd name="T27" fmla="*/ 16 h 102"/>
                <a:gd name="T28" fmla="*/ 99 w 120"/>
                <a:gd name="T29" fmla="*/ 13 h 102"/>
                <a:gd name="T30" fmla="*/ 98 w 120"/>
                <a:gd name="T31" fmla="*/ 14 h 102"/>
                <a:gd name="T32" fmla="*/ 70 w 120"/>
                <a:gd name="T33" fmla="*/ 37 h 102"/>
                <a:gd name="T34" fmla="*/ 104 w 120"/>
                <a:gd name="T35" fmla="*/ 24 h 102"/>
                <a:gd name="T36" fmla="*/ 28 w 120"/>
                <a:gd name="T37" fmla="*/ 75 h 102"/>
                <a:gd name="T38" fmla="*/ 12 w 120"/>
                <a:gd name="T39" fmla="*/ 91 h 102"/>
                <a:gd name="T40" fmla="*/ 9 w 120"/>
                <a:gd name="T41" fmla="*/ 91 h 102"/>
                <a:gd name="T42" fmla="*/ 3 w 120"/>
                <a:gd name="T43" fmla="*/ 95 h 102"/>
                <a:gd name="T44" fmla="*/ 7 w 120"/>
                <a:gd name="T45" fmla="*/ 102 h 102"/>
                <a:gd name="T46" fmla="*/ 13 w 120"/>
                <a:gd name="T47" fmla="*/ 102 h 102"/>
                <a:gd name="T48" fmla="*/ 38 w 120"/>
                <a:gd name="T49" fmla="*/ 81 h 102"/>
                <a:gd name="T50" fmla="*/ 67 w 120"/>
                <a:gd name="T51" fmla="*/ 9 h 102"/>
                <a:gd name="T52" fmla="*/ 63 w 120"/>
                <a:gd name="T53" fmla="*/ 1 h 102"/>
                <a:gd name="T54" fmla="*/ 55 w 120"/>
                <a:gd name="T55" fmla="*/ 5 h 102"/>
                <a:gd name="T56" fmla="*/ 35 w 120"/>
                <a:gd name="T57" fmla="*/ 59 h 102"/>
                <a:gd name="T58" fmla="*/ 34 w 120"/>
                <a:gd name="T59" fmla="*/ 59 h 102"/>
                <a:gd name="T60" fmla="*/ 13 w 120"/>
                <a:gd name="T61" fmla="*/ 4 h 102"/>
                <a:gd name="T62" fmla="*/ 5 w 120"/>
                <a:gd name="T63" fmla="*/ 1 h 102"/>
                <a:gd name="T64" fmla="*/ 1 w 120"/>
                <a:gd name="T65" fmla="*/ 9 h 102"/>
                <a:gd name="T66" fmla="*/ 28 w 120"/>
                <a:gd name="T67" fmla="*/ 7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0" h="102">
                  <a:moveTo>
                    <a:pt x="115" y="46"/>
                  </a:moveTo>
                  <a:cubicBezTo>
                    <a:pt x="115" y="46"/>
                    <a:pt x="115" y="46"/>
                    <a:pt x="114" y="46"/>
                  </a:cubicBezTo>
                  <a:cubicBezTo>
                    <a:pt x="110" y="46"/>
                    <a:pt x="77" y="50"/>
                    <a:pt x="78" y="53"/>
                  </a:cubicBezTo>
                  <a:cubicBezTo>
                    <a:pt x="80" y="57"/>
                    <a:pt x="100" y="58"/>
                    <a:pt x="115" y="58"/>
                  </a:cubicBezTo>
                  <a:cubicBezTo>
                    <a:pt x="118" y="58"/>
                    <a:pt x="120" y="55"/>
                    <a:pt x="120" y="52"/>
                  </a:cubicBezTo>
                  <a:cubicBezTo>
                    <a:pt x="120" y="49"/>
                    <a:pt x="118" y="47"/>
                    <a:pt x="115" y="46"/>
                  </a:cubicBezTo>
                  <a:moveTo>
                    <a:pt x="104" y="81"/>
                  </a:moveTo>
                  <a:cubicBezTo>
                    <a:pt x="91" y="74"/>
                    <a:pt x="73" y="66"/>
                    <a:pt x="70" y="68"/>
                  </a:cubicBezTo>
                  <a:cubicBezTo>
                    <a:pt x="67" y="70"/>
                    <a:pt x="94" y="89"/>
                    <a:pt x="98" y="92"/>
                  </a:cubicBezTo>
                  <a:cubicBezTo>
                    <a:pt x="98" y="92"/>
                    <a:pt x="98" y="92"/>
                    <a:pt x="99" y="92"/>
                  </a:cubicBezTo>
                  <a:cubicBezTo>
                    <a:pt x="101" y="93"/>
                    <a:pt x="104" y="92"/>
                    <a:pt x="105" y="89"/>
                  </a:cubicBezTo>
                  <a:cubicBezTo>
                    <a:pt x="107" y="87"/>
                    <a:pt x="106" y="83"/>
                    <a:pt x="104" y="81"/>
                  </a:cubicBezTo>
                  <a:moveTo>
                    <a:pt x="104" y="24"/>
                  </a:moveTo>
                  <a:cubicBezTo>
                    <a:pt x="106" y="22"/>
                    <a:pt x="107" y="19"/>
                    <a:pt x="105" y="16"/>
                  </a:cubicBezTo>
                  <a:cubicBezTo>
                    <a:pt x="104" y="14"/>
                    <a:pt x="101" y="13"/>
                    <a:pt x="99" y="13"/>
                  </a:cubicBezTo>
                  <a:cubicBezTo>
                    <a:pt x="98" y="14"/>
                    <a:pt x="98" y="14"/>
                    <a:pt x="98" y="14"/>
                  </a:cubicBezTo>
                  <a:cubicBezTo>
                    <a:pt x="94" y="16"/>
                    <a:pt x="67" y="35"/>
                    <a:pt x="70" y="37"/>
                  </a:cubicBezTo>
                  <a:cubicBezTo>
                    <a:pt x="73" y="39"/>
                    <a:pt x="91" y="31"/>
                    <a:pt x="104" y="24"/>
                  </a:cubicBezTo>
                  <a:close/>
                  <a:moveTo>
                    <a:pt x="28" y="75"/>
                  </a:moveTo>
                  <a:cubicBezTo>
                    <a:pt x="24" y="86"/>
                    <a:pt x="21" y="91"/>
                    <a:pt x="12" y="91"/>
                  </a:cubicBezTo>
                  <a:cubicBezTo>
                    <a:pt x="12" y="91"/>
                    <a:pt x="9" y="91"/>
                    <a:pt x="9" y="91"/>
                  </a:cubicBezTo>
                  <a:cubicBezTo>
                    <a:pt x="6" y="90"/>
                    <a:pt x="4" y="92"/>
                    <a:pt x="3" y="95"/>
                  </a:cubicBezTo>
                  <a:cubicBezTo>
                    <a:pt x="2" y="98"/>
                    <a:pt x="4" y="101"/>
                    <a:pt x="7" y="102"/>
                  </a:cubicBezTo>
                  <a:cubicBezTo>
                    <a:pt x="9" y="102"/>
                    <a:pt x="11" y="102"/>
                    <a:pt x="13" y="102"/>
                  </a:cubicBezTo>
                  <a:cubicBezTo>
                    <a:pt x="28" y="102"/>
                    <a:pt x="33" y="94"/>
                    <a:pt x="38" y="81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68" y="6"/>
                    <a:pt x="66" y="2"/>
                    <a:pt x="63" y="1"/>
                  </a:cubicBezTo>
                  <a:cubicBezTo>
                    <a:pt x="60" y="0"/>
                    <a:pt x="56" y="2"/>
                    <a:pt x="55" y="5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1"/>
                    <a:pt x="8" y="0"/>
                    <a:pt x="5" y="1"/>
                  </a:cubicBezTo>
                  <a:cubicBezTo>
                    <a:pt x="2" y="2"/>
                    <a:pt x="0" y="6"/>
                    <a:pt x="1" y="9"/>
                  </a:cubicBezTo>
                  <a:lnTo>
                    <a:pt x="28" y="75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8" name="Group 57">
            <a:extLst>
              <a:ext uri="{FF2B5EF4-FFF2-40B4-BE49-F238E27FC236}">
                <a16:creationId xmlns:a16="http://schemas.microsoft.com/office/drawing/2014/main" id="{DBCFDCC4-7AE8-4233-A8FC-11A666713D3A}"/>
              </a:ext>
            </a:extLst>
          </p:cNvPr>
          <p:cNvGrpSpPr>
            <a:grpSpLocks/>
          </p:cNvGrpSpPr>
          <p:nvPr/>
        </p:nvGrpSpPr>
        <p:grpSpPr bwMode="auto">
          <a:xfrm>
            <a:off x="3165690" y="2761892"/>
            <a:ext cx="682231" cy="682231"/>
            <a:chOff x="1474" y="1754"/>
            <a:chExt cx="558" cy="558"/>
          </a:xfrm>
        </p:grpSpPr>
        <p:sp>
          <p:nvSpPr>
            <p:cNvPr id="79" name="Oval 58">
              <a:extLst>
                <a:ext uri="{FF2B5EF4-FFF2-40B4-BE49-F238E27FC236}">
                  <a16:creationId xmlns:a16="http://schemas.microsoft.com/office/drawing/2014/main" id="{EF5D66BA-CE12-4D1A-A8B3-31B8A13A0F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4" y="1754"/>
              <a:ext cx="558" cy="558"/>
            </a:xfrm>
            <a:prstGeom prst="ellipse">
              <a:avLst/>
            </a:pr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59">
              <a:extLst>
                <a:ext uri="{FF2B5EF4-FFF2-40B4-BE49-F238E27FC236}">
                  <a16:creationId xmlns:a16="http://schemas.microsoft.com/office/drawing/2014/main" id="{140F1036-5163-4252-BC5A-717C0E1474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4" y="1905"/>
              <a:ext cx="318" cy="256"/>
            </a:xfrm>
            <a:custGeom>
              <a:avLst/>
              <a:gdLst>
                <a:gd name="T0" fmla="*/ 110 w 114"/>
                <a:gd name="T1" fmla="*/ 2 h 92"/>
                <a:gd name="T2" fmla="*/ 96 w 114"/>
                <a:gd name="T3" fmla="*/ 7 h 92"/>
                <a:gd name="T4" fmla="*/ 79 w 114"/>
                <a:gd name="T5" fmla="*/ 0 h 92"/>
                <a:gd name="T6" fmla="*/ 56 w 114"/>
                <a:gd name="T7" fmla="*/ 23 h 92"/>
                <a:gd name="T8" fmla="*/ 56 w 114"/>
                <a:gd name="T9" fmla="*/ 29 h 92"/>
                <a:gd name="T10" fmla="*/ 8 w 114"/>
                <a:gd name="T11" fmla="*/ 4 h 92"/>
                <a:gd name="T12" fmla="*/ 5 w 114"/>
                <a:gd name="T13" fmla="*/ 16 h 92"/>
                <a:gd name="T14" fmla="*/ 16 w 114"/>
                <a:gd name="T15" fmla="*/ 35 h 92"/>
                <a:gd name="T16" fmla="*/ 5 w 114"/>
                <a:gd name="T17" fmla="*/ 32 h 92"/>
                <a:gd name="T18" fmla="*/ 5 w 114"/>
                <a:gd name="T19" fmla="*/ 33 h 92"/>
                <a:gd name="T20" fmla="*/ 24 w 114"/>
                <a:gd name="T21" fmla="*/ 55 h 92"/>
                <a:gd name="T22" fmla="*/ 18 w 114"/>
                <a:gd name="T23" fmla="*/ 56 h 92"/>
                <a:gd name="T24" fmla="*/ 13 w 114"/>
                <a:gd name="T25" fmla="*/ 56 h 92"/>
                <a:gd name="T26" fmla="*/ 35 w 114"/>
                <a:gd name="T27" fmla="*/ 72 h 92"/>
                <a:gd name="T28" fmla="*/ 6 w 114"/>
                <a:gd name="T29" fmla="*/ 82 h 92"/>
                <a:gd name="T30" fmla="*/ 0 w 114"/>
                <a:gd name="T31" fmla="*/ 82 h 92"/>
                <a:gd name="T32" fmla="*/ 36 w 114"/>
                <a:gd name="T33" fmla="*/ 92 h 92"/>
                <a:gd name="T34" fmla="*/ 102 w 114"/>
                <a:gd name="T35" fmla="*/ 26 h 92"/>
                <a:gd name="T36" fmla="*/ 102 w 114"/>
                <a:gd name="T37" fmla="*/ 23 h 92"/>
                <a:gd name="T38" fmla="*/ 114 w 114"/>
                <a:gd name="T39" fmla="*/ 11 h 92"/>
                <a:gd name="T40" fmla="*/ 100 w 114"/>
                <a:gd name="T41" fmla="*/ 15 h 92"/>
                <a:gd name="T42" fmla="*/ 110 w 114"/>
                <a:gd name="T43" fmla="*/ 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4" h="92">
                  <a:moveTo>
                    <a:pt x="110" y="2"/>
                  </a:moveTo>
                  <a:cubicBezTo>
                    <a:pt x="106" y="4"/>
                    <a:pt x="101" y="6"/>
                    <a:pt x="96" y="7"/>
                  </a:cubicBezTo>
                  <a:cubicBezTo>
                    <a:pt x="91" y="3"/>
                    <a:pt x="85" y="0"/>
                    <a:pt x="79" y="0"/>
                  </a:cubicBezTo>
                  <a:cubicBezTo>
                    <a:pt x="66" y="0"/>
                    <a:pt x="56" y="10"/>
                    <a:pt x="56" y="23"/>
                  </a:cubicBezTo>
                  <a:cubicBezTo>
                    <a:pt x="56" y="25"/>
                    <a:pt x="56" y="27"/>
                    <a:pt x="56" y="29"/>
                  </a:cubicBezTo>
                  <a:cubicBezTo>
                    <a:pt x="37" y="28"/>
                    <a:pt x="20" y="18"/>
                    <a:pt x="8" y="4"/>
                  </a:cubicBezTo>
                  <a:cubicBezTo>
                    <a:pt x="6" y="8"/>
                    <a:pt x="5" y="12"/>
                    <a:pt x="5" y="16"/>
                  </a:cubicBezTo>
                  <a:cubicBezTo>
                    <a:pt x="5" y="24"/>
                    <a:pt x="9" y="31"/>
                    <a:pt x="16" y="35"/>
                  </a:cubicBezTo>
                  <a:cubicBezTo>
                    <a:pt x="12" y="35"/>
                    <a:pt x="8" y="34"/>
                    <a:pt x="5" y="32"/>
                  </a:cubicBezTo>
                  <a:cubicBezTo>
                    <a:pt x="5" y="32"/>
                    <a:pt x="5" y="33"/>
                    <a:pt x="5" y="33"/>
                  </a:cubicBezTo>
                  <a:cubicBezTo>
                    <a:pt x="5" y="44"/>
                    <a:pt x="13" y="53"/>
                    <a:pt x="24" y="55"/>
                  </a:cubicBezTo>
                  <a:cubicBezTo>
                    <a:pt x="22" y="56"/>
                    <a:pt x="20" y="56"/>
                    <a:pt x="18" y="56"/>
                  </a:cubicBezTo>
                  <a:cubicBezTo>
                    <a:pt x="16" y="56"/>
                    <a:pt x="15" y="56"/>
                    <a:pt x="13" y="56"/>
                  </a:cubicBezTo>
                  <a:cubicBezTo>
                    <a:pt x="16" y="65"/>
                    <a:pt x="25" y="72"/>
                    <a:pt x="35" y="72"/>
                  </a:cubicBezTo>
                  <a:cubicBezTo>
                    <a:pt x="27" y="78"/>
                    <a:pt x="17" y="82"/>
                    <a:pt x="6" y="82"/>
                  </a:cubicBezTo>
                  <a:cubicBezTo>
                    <a:pt x="4" y="82"/>
                    <a:pt x="2" y="82"/>
                    <a:pt x="0" y="82"/>
                  </a:cubicBezTo>
                  <a:cubicBezTo>
                    <a:pt x="11" y="88"/>
                    <a:pt x="23" y="92"/>
                    <a:pt x="36" y="92"/>
                  </a:cubicBezTo>
                  <a:cubicBezTo>
                    <a:pt x="79" y="92"/>
                    <a:pt x="102" y="57"/>
                    <a:pt x="102" y="26"/>
                  </a:cubicBezTo>
                  <a:cubicBezTo>
                    <a:pt x="102" y="25"/>
                    <a:pt x="102" y="24"/>
                    <a:pt x="102" y="23"/>
                  </a:cubicBezTo>
                  <a:cubicBezTo>
                    <a:pt x="106" y="20"/>
                    <a:pt x="110" y="16"/>
                    <a:pt x="114" y="11"/>
                  </a:cubicBezTo>
                  <a:cubicBezTo>
                    <a:pt x="109" y="13"/>
                    <a:pt x="105" y="14"/>
                    <a:pt x="100" y="15"/>
                  </a:cubicBezTo>
                  <a:cubicBezTo>
                    <a:pt x="105" y="12"/>
                    <a:pt x="109" y="7"/>
                    <a:pt x="110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9" name="Rectangle 48">
            <a:extLst>
              <a:ext uri="{FF2B5EF4-FFF2-40B4-BE49-F238E27FC236}">
                <a16:creationId xmlns:a16="http://schemas.microsoft.com/office/drawing/2014/main" id="{CFA880A6-CBAD-47D5-A2EA-D2B1A142FBCF}"/>
              </a:ext>
            </a:extLst>
          </p:cNvPr>
          <p:cNvSpPr/>
          <p:nvPr/>
        </p:nvSpPr>
        <p:spPr>
          <a:xfrm>
            <a:off x="406401" y="3911460"/>
            <a:ext cx="786085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400"/>
              </a:spcBef>
            </a:pPr>
            <a:r>
              <a:rPr lang="fr-FR" dirty="0">
                <a:solidFill>
                  <a:srgbClr val="FC0D1A"/>
                </a:solidFill>
                <a:latin typeface="MAIF Medium"/>
              </a:rPr>
              <a:t>Banque de </a:t>
            </a:r>
            <a:r>
              <a:rPr lang="fr-FR" dirty="0" err="1">
                <a:solidFill>
                  <a:srgbClr val="FC0D1A"/>
                </a:solidFill>
                <a:latin typeface="MAIF Medium"/>
              </a:rPr>
              <a:t>pictos</a:t>
            </a:r>
            <a:r>
              <a:rPr lang="fr-FR" dirty="0">
                <a:solidFill>
                  <a:srgbClr val="FC0D1A"/>
                </a:solidFill>
                <a:latin typeface="MAIF Medium"/>
              </a:rPr>
              <a:t> : </a:t>
            </a:r>
            <a:r>
              <a:rPr lang="en-GB" u="sng" dirty="0">
                <a:hlinkClick r:id="rId17"/>
              </a:rPr>
              <a:t>https://bo.emedia.maif.fr/tw-MjA1NQ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4122833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457B615-1076-484C-B2C7-AD98F928C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66377C57-9C45-4D58-BA89-CFC71CCBBE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3200" y="1339199"/>
            <a:ext cx="9360732" cy="4834801"/>
          </a:xfrm>
        </p:spPr>
        <p:txBody>
          <a:bodyPr>
            <a:normAutofit/>
          </a:bodyPr>
          <a:lstStyle/>
          <a:p>
            <a:pPr>
              <a:spcBef>
                <a:spcPts val="1800"/>
              </a:spcBef>
            </a:pPr>
            <a:r>
              <a:rPr lang="fr-FR" b="1" dirty="0">
                <a:solidFill>
                  <a:schemeClr val="bg2"/>
                </a:solidFill>
              </a:rPr>
              <a:t>Pied de page</a:t>
            </a:r>
          </a:p>
          <a:p>
            <a:pPr lvl="1"/>
            <a:r>
              <a:rPr lang="fr-FR" dirty="0"/>
              <a:t>Pour changer le pied de page </a:t>
            </a:r>
          </a:p>
          <a:p>
            <a:pPr lvl="3"/>
            <a:r>
              <a:rPr lang="fr-FR" dirty="0"/>
              <a:t>Cliquer sur « Insertion » </a:t>
            </a:r>
          </a:p>
          <a:p>
            <a:pPr lvl="3"/>
            <a:r>
              <a:rPr lang="fr-FR" dirty="0"/>
              <a:t>Cliquer sur « En-tête et pied de page »</a:t>
            </a:r>
          </a:p>
          <a:p>
            <a:pPr lvl="3"/>
            <a:r>
              <a:rPr lang="fr-FR" dirty="0"/>
              <a:t>Modifier le pied de page (nom de la présentation)</a:t>
            </a:r>
          </a:p>
          <a:p>
            <a:pPr lvl="3"/>
            <a:r>
              <a:rPr lang="fr-FR" dirty="0"/>
              <a:t>Sélectionner « Appliquer partout »</a:t>
            </a:r>
          </a:p>
          <a:p>
            <a:pPr>
              <a:spcBef>
                <a:spcPts val="2400"/>
              </a:spcBef>
            </a:pPr>
            <a:r>
              <a:rPr lang="fr-FR" b="1" dirty="0">
                <a:solidFill>
                  <a:schemeClr val="bg2"/>
                </a:solidFill>
              </a:rPr>
              <a:t>Graphique</a:t>
            </a:r>
          </a:p>
          <a:p>
            <a:pPr lvl="1"/>
            <a:r>
              <a:rPr lang="fr-FR" dirty="0"/>
              <a:t>Pour insérer un modèle de graphique :</a:t>
            </a:r>
          </a:p>
          <a:p>
            <a:pPr lvl="3"/>
            <a:r>
              <a:rPr lang="fr-FR" dirty="0"/>
              <a:t>Copier-coller la diapositive qui contient un graphique que vous souhaitez personnaliser</a:t>
            </a:r>
          </a:p>
          <a:p>
            <a:pPr lvl="3"/>
            <a:r>
              <a:rPr lang="fr-FR" dirty="0"/>
              <a:t>Pour la mise en page, double-cliquer sur le graphique pour le mettre à jour </a:t>
            </a:r>
          </a:p>
          <a:p>
            <a:pPr lvl="3"/>
            <a:r>
              <a:rPr lang="fr-FR" dirty="0"/>
              <a:t>Pour les données, clic droit sur le graphique, et sélectionner « Modifier les données »</a:t>
            </a:r>
          </a:p>
          <a:p>
            <a:pPr lvl="3"/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5B4B5CC-0596-406C-BA62-AFC30B5C44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4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A603D22-2C69-470E-9E8B-2FD0F61AFF0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28308C8-2F5B-4380-A842-F39A8C9C5CE3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7253E7E-F803-430F-9251-482F135EFA7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0" name="Espace réservé du numéro de diapositive 19">
            <a:extLst>
              <a:ext uri="{FF2B5EF4-FFF2-40B4-BE49-F238E27FC236}">
                <a16:creationId xmlns:a16="http://schemas.microsoft.com/office/drawing/2014/main" id="{2FAC3829-CF98-40EA-BEED-0B119F718EC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49096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D590269C-D8AA-4C76-9B03-0373353C59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0095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0091175-84C9-4912-AB5A-3627B2D2AE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r-FR" sz="3200" dirty="0">
              <a:latin typeface="MAIF Medium" panose="020B0603020200030B04" pitchFamily="34" charset="0"/>
              <a:ea typeface="+mj-ea"/>
              <a:cs typeface="+mj-cs"/>
              <a:sym typeface="MAIF Medium" panose="020B0603020200030B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7893C8-0D71-4C75-AD60-2287126A2A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DE856E09-89E8-445A-B924-93511459C5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fr-FR" b="1" dirty="0">
                <a:solidFill>
                  <a:schemeClr val="bg2"/>
                </a:solidFill>
              </a:rPr>
              <a:t>Installation du modèle MAIF par défaut</a:t>
            </a:r>
          </a:p>
          <a:p>
            <a:pPr lvl="1"/>
            <a:r>
              <a:rPr lang="fr-FR" dirty="0"/>
              <a:t>Dans l’onglet « Création », déployer la fenêtre des thèmes</a:t>
            </a:r>
            <a:br>
              <a:rPr lang="fr-FR" dirty="0"/>
            </a:br>
            <a:r>
              <a:rPr lang="fr-FR" dirty="0"/>
              <a:t>en cliquant sur la flèche pointant vers le bas :</a:t>
            </a:r>
          </a:p>
          <a:p>
            <a:pPr lvl="1">
              <a:spcBef>
                <a:spcPts val="9000"/>
              </a:spcBef>
            </a:pPr>
            <a:r>
              <a:rPr lang="fr-FR" dirty="0"/>
              <a:t>Dans cette nouvelle fenêtre, cliquer sur « Rechercher les thèmes »</a:t>
            </a:r>
          </a:p>
          <a:p>
            <a:pPr lvl="3"/>
            <a:r>
              <a:rPr lang="fr-FR" dirty="0"/>
              <a:t>Parcourir l’ordinateur et sélectionner le fichier « MAIF – Template Corporate.potx »</a:t>
            </a:r>
          </a:p>
          <a:p>
            <a:pPr lvl="3"/>
            <a:r>
              <a:rPr lang="fr-FR" dirty="0"/>
              <a:t>Cliquer sur « Appliquer »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7BA5592-E3A5-4855-928B-BB8B5DF898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5</a:t>
            </a:r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97589679-1973-4785-BA33-9A6E5092C99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5251913-1703-4777-83CC-ABB2FE51FC81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937DEB98-C6DD-4B81-8BB3-A1FDA2F4C61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7" name="Espace réservé du numéro de diapositive 26">
            <a:extLst>
              <a:ext uri="{FF2B5EF4-FFF2-40B4-BE49-F238E27FC236}">
                <a16:creationId xmlns:a16="http://schemas.microsoft.com/office/drawing/2014/main" id="{E982FC17-3B68-4A32-A34D-19109E4FA9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6</a:t>
            </a:fld>
            <a:endParaRPr lang="fr-FR" dirty="0"/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1D058A5A-9777-446D-9A04-5C94956A31F6}"/>
              </a:ext>
            </a:extLst>
          </p:cNvPr>
          <p:cNvGrpSpPr/>
          <p:nvPr/>
        </p:nvGrpSpPr>
        <p:grpSpPr>
          <a:xfrm>
            <a:off x="762925" y="2419397"/>
            <a:ext cx="5660643" cy="742302"/>
            <a:chOff x="458126" y="2047397"/>
            <a:chExt cx="8148826" cy="1068586"/>
          </a:xfrm>
        </p:grpSpPr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id="{C6B9FF11-5DEA-4F61-8F0F-69312BF2B97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58128" y="2047397"/>
              <a:ext cx="8077200" cy="981075"/>
            </a:xfrm>
            <a:prstGeom prst="rect">
              <a:avLst/>
            </a:prstGeom>
          </p:spPr>
        </p:pic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B4887699-540C-413A-8D38-60600FD4A135}"/>
                </a:ext>
              </a:extLst>
            </p:cNvPr>
            <p:cNvSpPr/>
            <p:nvPr/>
          </p:nvSpPr>
          <p:spPr>
            <a:xfrm>
              <a:off x="458126" y="2047397"/>
              <a:ext cx="8077201" cy="981075"/>
            </a:xfrm>
            <a:custGeom>
              <a:avLst/>
              <a:gdLst>
                <a:gd name="connsiteX0" fmla="*/ 0 w 8077201"/>
                <a:gd name="connsiteY0" fmla="*/ 0 h 981075"/>
                <a:gd name="connsiteX1" fmla="*/ 8077201 w 8077201"/>
                <a:gd name="connsiteY1" fmla="*/ 0 h 981075"/>
                <a:gd name="connsiteX2" fmla="*/ 8077201 w 8077201"/>
                <a:gd name="connsiteY2" fmla="*/ 755574 h 981075"/>
                <a:gd name="connsiteX3" fmla="*/ 8041726 w 8077201"/>
                <a:gd name="connsiteY3" fmla="*/ 731656 h 981075"/>
                <a:gd name="connsiteX4" fmla="*/ 7973470 w 8077201"/>
                <a:gd name="connsiteY4" fmla="*/ 717876 h 981075"/>
                <a:gd name="connsiteX5" fmla="*/ 7798114 w 8077201"/>
                <a:gd name="connsiteY5" fmla="*/ 893231 h 981075"/>
                <a:gd name="connsiteX6" fmla="*/ 7811895 w 8077201"/>
                <a:gd name="connsiteY6" fmla="*/ 961487 h 981075"/>
                <a:gd name="connsiteX7" fmla="*/ 7825101 w 8077201"/>
                <a:gd name="connsiteY7" fmla="*/ 981075 h 981075"/>
                <a:gd name="connsiteX8" fmla="*/ 0 w 8077201"/>
                <a:gd name="connsiteY8" fmla="*/ 981075 h 981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077201" h="981075">
                  <a:moveTo>
                    <a:pt x="0" y="0"/>
                  </a:moveTo>
                  <a:lnTo>
                    <a:pt x="8077201" y="0"/>
                  </a:lnTo>
                  <a:lnTo>
                    <a:pt x="8077201" y="755574"/>
                  </a:lnTo>
                  <a:lnTo>
                    <a:pt x="8041726" y="731656"/>
                  </a:lnTo>
                  <a:cubicBezTo>
                    <a:pt x="8020747" y="722783"/>
                    <a:pt x="7997682" y="717876"/>
                    <a:pt x="7973470" y="717876"/>
                  </a:cubicBezTo>
                  <a:cubicBezTo>
                    <a:pt x="7876624" y="717876"/>
                    <a:pt x="7798114" y="796385"/>
                    <a:pt x="7798114" y="893231"/>
                  </a:cubicBezTo>
                  <a:cubicBezTo>
                    <a:pt x="7798114" y="917443"/>
                    <a:pt x="7803021" y="940508"/>
                    <a:pt x="7811895" y="961487"/>
                  </a:cubicBezTo>
                  <a:lnTo>
                    <a:pt x="7825101" y="981075"/>
                  </a:lnTo>
                  <a:lnTo>
                    <a:pt x="0" y="981075"/>
                  </a:lnTo>
                  <a:close/>
                </a:path>
              </a:pathLst>
            </a:custGeom>
            <a:solidFill>
              <a:schemeClr val="bg1">
                <a:lumMod val="75000"/>
                <a:alpha val="65000"/>
              </a:schemeClr>
            </a:solidFill>
            <a:ln w="1587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2400" dirty="0">
                <a:solidFill>
                  <a:schemeClr val="bg1"/>
                </a:solidFill>
              </a:endParaRPr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E35868DB-63BC-41AF-831A-06F88A53802D}"/>
                </a:ext>
              </a:extLst>
            </p:cNvPr>
            <p:cNvSpPr/>
            <p:nvPr/>
          </p:nvSpPr>
          <p:spPr>
            <a:xfrm>
              <a:off x="8256240" y="2765273"/>
              <a:ext cx="350712" cy="350710"/>
            </a:xfrm>
            <a:prstGeom prst="ellipse">
              <a:avLst/>
            </a:prstGeom>
            <a:noFill/>
            <a:ln w="3810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2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AFD15AFF-E170-4E77-BA10-C27DBA0E2111}"/>
              </a:ext>
            </a:extLst>
          </p:cNvPr>
          <p:cNvGrpSpPr/>
          <p:nvPr/>
        </p:nvGrpSpPr>
        <p:grpSpPr>
          <a:xfrm>
            <a:off x="762925" y="4406581"/>
            <a:ext cx="4516607" cy="1497779"/>
            <a:chOff x="439878" y="4010504"/>
            <a:chExt cx="6880258" cy="2281603"/>
          </a:xfrm>
        </p:grpSpPr>
        <p:pic>
          <p:nvPicPr>
            <p:cNvPr id="16" name="Image 15" descr="Une image contenant capture d’écran&#10;&#10;Description générée avec un niveau de confiance très élevé">
              <a:extLst>
                <a:ext uri="{FF2B5EF4-FFF2-40B4-BE49-F238E27FC236}">
                  <a16:creationId xmlns:a16="http://schemas.microsoft.com/office/drawing/2014/main" id="{D8A94C4A-6D12-4C30-A1AE-CB68CB8799B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47021" y="4010504"/>
              <a:ext cx="6873115" cy="2281603"/>
            </a:xfrm>
            <a:prstGeom prst="rect">
              <a:avLst/>
            </a:prstGeom>
            <a:ln>
              <a:noFill/>
            </a:ln>
          </p:spPr>
        </p:pic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22E0CCE7-7758-4E87-BE8A-EB8DED111BC0}"/>
                </a:ext>
              </a:extLst>
            </p:cNvPr>
            <p:cNvSpPr/>
            <p:nvPr/>
          </p:nvSpPr>
          <p:spPr>
            <a:xfrm>
              <a:off x="447021" y="4010504"/>
              <a:ext cx="6873115" cy="2281603"/>
            </a:xfrm>
            <a:custGeom>
              <a:avLst/>
              <a:gdLst>
                <a:gd name="connsiteX0" fmla="*/ 0 w 6873115"/>
                <a:gd name="connsiteY0" fmla="*/ 0 h 2281603"/>
                <a:gd name="connsiteX1" fmla="*/ 6873115 w 6873115"/>
                <a:gd name="connsiteY1" fmla="*/ 0 h 2281603"/>
                <a:gd name="connsiteX2" fmla="*/ 6873115 w 6873115"/>
                <a:gd name="connsiteY2" fmla="*/ 2281603 h 2281603"/>
                <a:gd name="connsiteX3" fmla="*/ 0 w 6873115"/>
                <a:gd name="connsiteY3" fmla="*/ 2281603 h 2281603"/>
                <a:gd name="connsiteX4" fmla="*/ 0 w 6873115"/>
                <a:gd name="connsiteY4" fmla="*/ 2138836 h 2281603"/>
                <a:gd name="connsiteX5" fmla="*/ 1040468 w 6873115"/>
                <a:gd name="connsiteY5" fmla="*/ 2138836 h 2281603"/>
                <a:gd name="connsiteX6" fmla="*/ 1040468 w 6873115"/>
                <a:gd name="connsiteY6" fmla="*/ 1955956 h 2281603"/>
                <a:gd name="connsiteX7" fmla="*/ 0 w 6873115"/>
                <a:gd name="connsiteY7" fmla="*/ 1955956 h 2281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73115" h="2281603">
                  <a:moveTo>
                    <a:pt x="0" y="0"/>
                  </a:moveTo>
                  <a:lnTo>
                    <a:pt x="6873115" y="0"/>
                  </a:lnTo>
                  <a:lnTo>
                    <a:pt x="6873115" y="2281603"/>
                  </a:lnTo>
                  <a:lnTo>
                    <a:pt x="0" y="2281603"/>
                  </a:lnTo>
                  <a:lnTo>
                    <a:pt x="0" y="2138836"/>
                  </a:lnTo>
                  <a:lnTo>
                    <a:pt x="1040468" y="2138836"/>
                  </a:lnTo>
                  <a:lnTo>
                    <a:pt x="1040468" y="1955956"/>
                  </a:lnTo>
                  <a:lnTo>
                    <a:pt x="0" y="1955956"/>
                  </a:lnTo>
                  <a:close/>
                </a:path>
              </a:pathLst>
            </a:custGeom>
            <a:solidFill>
              <a:schemeClr val="bg1">
                <a:lumMod val="75000"/>
                <a:alpha val="65000"/>
              </a:schemeClr>
            </a:solidFill>
            <a:ln w="1587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24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7D00BD6D-0D58-47C1-8A1C-9B4E0DA1F0F1}"/>
                </a:ext>
              </a:extLst>
            </p:cNvPr>
            <p:cNvSpPr/>
            <p:nvPr/>
          </p:nvSpPr>
          <p:spPr>
            <a:xfrm>
              <a:off x="439878" y="5966460"/>
              <a:ext cx="1040468" cy="182880"/>
            </a:xfrm>
            <a:prstGeom prst="rect">
              <a:avLst/>
            </a:prstGeom>
            <a:noFill/>
            <a:ln w="38100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2400">
                <a:solidFill>
                  <a:schemeClr val="bg1"/>
                </a:solidFill>
              </a:endParaRPr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459AA861-18CE-4D1A-AEDB-85E739820803}"/>
              </a:ext>
            </a:extLst>
          </p:cNvPr>
          <p:cNvSpPr/>
          <p:nvPr/>
        </p:nvSpPr>
        <p:spPr>
          <a:xfrm>
            <a:off x="8669020" y="586149"/>
            <a:ext cx="3293485" cy="531821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0" name="Espace réservé du texte 5">
            <a:extLst>
              <a:ext uri="{FF2B5EF4-FFF2-40B4-BE49-F238E27FC236}">
                <a16:creationId xmlns:a16="http://schemas.microsoft.com/office/drawing/2014/main" id="{22F9B50C-C26D-4E5B-AD2F-42FB2BEBE041}"/>
              </a:ext>
            </a:extLst>
          </p:cNvPr>
          <p:cNvSpPr txBox="1">
            <a:spLocks/>
          </p:cNvSpPr>
          <p:nvPr/>
        </p:nvSpPr>
        <p:spPr>
          <a:xfrm>
            <a:off x="8788400" y="684000"/>
            <a:ext cx="3052185" cy="5180905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lvl1pPr marL="92075" indent="-920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ct val="90000"/>
              <a:buFontTx/>
              <a:buBlip>
                <a:blip r:embed="rId9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b="1" dirty="0">
                <a:solidFill>
                  <a:schemeClr val="bg2"/>
                </a:solidFill>
              </a:rPr>
              <a:t>Attention</a:t>
            </a:r>
          </a:p>
          <a:p>
            <a:pPr lvl="1"/>
            <a:r>
              <a:rPr lang="fr-FR" dirty="0"/>
              <a:t>Ne pas copier-coller une slide existante d’un autre document (créée sur un autre masque), car seule la police et la couleur seront prises en compte</a:t>
            </a:r>
          </a:p>
          <a:p>
            <a:pPr lvl="1"/>
            <a:r>
              <a:rPr lang="fr-FR" dirty="0"/>
              <a:t>Si vous souhaitez reprendre une slide existante sur ce masque :</a:t>
            </a:r>
          </a:p>
          <a:p>
            <a:pPr lvl="2"/>
            <a:r>
              <a:rPr lang="fr-FR" dirty="0"/>
              <a:t>Créer une nouvelle slide sur ce masque </a:t>
            </a:r>
          </a:p>
          <a:p>
            <a:pPr lvl="3"/>
            <a:r>
              <a:rPr lang="fr-FR" dirty="0"/>
              <a:t>Copier-Coller</a:t>
            </a:r>
            <a:br>
              <a:rPr lang="fr-FR" dirty="0"/>
            </a:br>
            <a:r>
              <a:rPr lang="fr-FR" b="1" u="sng" dirty="0"/>
              <a:t>le contenu</a:t>
            </a:r>
            <a:r>
              <a:rPr lang="fr-FR" b="1" dirty="0"/>
              <a:t> </a:t>
            </a:r>
            <a:r>
              <a:rPr lang="fr-FR" dirty="0"/>
              <a:t>de la slide souhaitée vers la slide de destination</a:t>
            </a:r>
          </a:p>
        </p:txBody>
      </p:sp>
    </p:spTree>
    <p:extLst>
      <p:ext uri="{BB962C8B-B14F-4D97-AF65-F5344CB8AC3E}">
        <p14:creationId xmlns:p14="http://schemas.microsoft.com/office/powerpoint/2010/main" val="1845400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D590269C-D8AA-4C76-9B03-0373353C59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D590269C-D8AA-4C76-9B03-0373353C5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0091175-84C9-4912-AB5A-3627B2D2AE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r-FR" sz="3200" dirty="0">
              <a:latin typeface="MAIF Medium" panose="020B0603020200030B04" pitchFamily="34" charset="0"/>
              <a:ea typeface="+mj-ea"/>
              <a:cs typeface="+mj-cs"/>
              <a:sym typeface="MAIF Medium" panose="020B0603020200030B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7893C8-0D71-4C75-AD60-2287126A2A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DE856E09-89E8-445A-B924-93511459C5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b="1" dirty="0">
                <a:solidFill>
                  <a:schemeClr val="bg2"/>
                </a:solidFill>
              </a:rPr>
              <a:t>Couleurs </a:t>
            </a:r>
          </a:p>
          <a:p>
            <a:pPr lvl="1"/>
            <a:r>
              <a:rPr lang="fr-FR" dirty="0"/>
              <a:t>La palette de couleurs se trouve dans la Toolbox à la fin du masque</a:t>
            </a:r>
          </a:p>
          <a:p>
            <a:pPr lvl="1"/>
            <a:r>
              <a:rPr lang="fr-FR" dirty="0"/>
              <a:t>Pour les couleurs de police, utiliser uniquement le noir ou le rouge</a:t>
            </a:r>
          </a:p>
          <a:p>
            <a:pPr lvl="1"/>
            <a:r>
              <a:rPr lang="fr-FR" dirty="0"/>
              <a:t>Les autres couleurs de la palette sont à utiliser sur des fonds ou sur des mises en avant de chiffres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7BA5592-E3A5-4855-928B-BB8B5DF898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6</a:t>
            </a:r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97589679-1973-4785-BA33-9A6E5092C99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5251913-1703-4777-83CC-ABB2FE51FC81}" type="datetime1">
              <a:rPr lang="fr-FR" smtClean="0"/>
              <a:pPr/>
              <a:t>02/10/2019</a:t>
            </a:fld>
            <a:endParaRPr lang="fr-FR" dirty="0"/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937DEB98-C6DD-4B81-8BB3-A1FDA2F4C61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7" name="Espace réservé du numéro de diapositive 26">
            <a:extLst>
              <a:ext uri="{FF2B5EF4-FFF2-40B4-BE49-F238E27FC236}">
                <a16:creationId xmlns:a16="http://schemas.microsoft.com/office/drawing/2014/main" id="{E982FC17-3B68-4A32-A34D-19109E4FA9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7</a:t>
            </a:fld>
            <a:endParaRPr lang="fr-FR" dirty="0"/>
          </a:p>
        </p:txBody>
      </p:sp>
      <p:sp>
        <p:nvSpPr>
          <p:cNvPr id="37" name="Rectangle : coins arrondis 36">
            <a:hlinkClick r:id="rId7" action="ppaction://hlinksldjump"/>
            <a:extLst>
              <a:ext uri="{FF2B5EF4-FFF2-40B4-BE49-F238E27FC236}">
                <a16:creationId xmlns:a16="http://schemas.microsoft.com/office/drawing/2014/main" id="{74123F61-0713-47C7-88DF-5E59231FC220}"/>
              </a:ext>
            </a:extLst>
          </p:cNvPr>
          <p:cNvSpPr/>
          <p:nvPr/>
        </p:nvSpPr>
        <p:spPr>
          <a:xfrm>
            <a:off x="762001" y="2881858"/>
            <a:ext cx="1885823" cy="412538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>
                <a:solidFill>
                  <a:schemeClr val="bg1"/>
                </a:solidFill>
              </a:rPr>
              <a:t>Voir Toolbox </a:t>
            </a:r>
            <a:br>
              <a:rPr lang="fr-FR" sz="1100" b="1" dirty="0">
                <a:solidFill>
                  <a:schemeClr val="bg1"/>
                </a:solidFill>
              </a:rPr>
            </a:br>
            <a:r>
              <a:rPr lang="fr-FR" sz="1100" b="1" dirty="0">
                <a:solidFill>
                  <a:schemeClr val="bg1"/>
                </a:solidFill>
              </a:rPr>
              <a:t>CTRL + Clic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0D5E598-0831-40BF-B32A-AD6DA8755C17}"/>
              </a:ext>
            </a:extLst>
          </p:cNvPr>
          <p:cNvSpPr/>
          <p:nvPr/>
        </p:nvSpPr>
        <p:spPr>
          <a:xfrm>
            <a:off x="522514" y="3559747"/>
            <a:ext cx="11263085" cy="2333399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066E5993-75E9-4549-9A30-C38391DA982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543" y="3894210"/>
            <a:ext cx="1143896" cy="1143896"/>
          </a:xfrm>
          <a:prstGeom prst="rect">
            <a:avLst/>
          </a:prstGeom>
        </p:spPr>
      </p:pic>
      <p:sp>
        <p:nvSpPr>
          <p:cNvPr id="14" name="Espace réservé du texte 5">
            <a:extLst>
              <a:ext uri="{FF2B5EF4-FFF2-40B4-BE49-F238E27FC236}">
                <a16:creationId xmlns:a16="http://schemas.microsoft.com/office/drawing/2014/main" id="{82AB6134-670A-4201-B548-BBD5B613BFB7}"/>
              </a:ext>
            </a:extLst>
          </p:cNvPr>
          <p:cNvSpPr txBox="1">
            <a:spLocks/>
          </p:cNvSpPr>
          <p:nvPr/>
        </p:nvSpPr>
        <p:spPr>
          <a:xfrm>
            <a:off x="2174411" y="3721723"/>
            <a:ext cx="9481932" cy="201395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 marL="92075" indent="-920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ct val="90000"/>
              <a:buFontTx/>
              <a:buBlip>
                <a:blip r:embed="rId9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b="1" dirty="0">
                <a:solidFill>
                  <a:schemeClr val="bg2"/>
                </a:solidFill>
              </a:rPr>
              <a:t>Envoi des présentations</a:t>
            </a:r>
          </a:p>
          <a:p>
            <a:pPr lvl="1"/>
            <a:r>
              <a:rPr lang="fr-FR" dirty="0"/>
              <a:t>Pour optimiser le poids de vos présentations lors de l’envoi par mail par exemple, opter pour l’une de ces deux solutions :</a:t>
            </a:r>
          </a:p>
          <a:p>
            <a:pPr lvl="2"/>
            <a:r>
              <a:rPr lang="fr-FR" dirty="0"/>
              <a:t>Enregistrer la présentation au format « PDF » (conserve les données textes)</a:t>
            </a:r>
          </a:p>
          <a:p>
            <a:pPr lvl="2"/>
            <a:r>
              <a:rPr lang="fr-FR" dirty="0"/>
              <a:t>Enregistrer au format « Présentation de l’image Powerpoint » (conversion</a:t>
            </a:r>
            <a:br>
              <a:rPr lang="fr-FR" dirty="0"/>
            </a:br>
            <a:r>
              <a:rPr lang="fr-FR" dirty="0"/>
              <a:t>des slides en images)</a:t>
            </a:r>
          </a:p>
        </p:txBody>
      </p:sp>
    </p:spTree>
    <p:extLst>
      <p:ext uri="{BB962C8B-B14F-4D97-AF65-F5344CB8AC3E}">
        <p14:creationId xmlns:p14="http://schemas.microsoft.com/office/powerpoint/2010/main" val="3535298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B146AED-DD3D-4D9E-A427-167670BE5DB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  <a:latin typeface="MAIF Black" panose="020B0803020200030B04" pitchFamily="34" charset="0"/>
              </a:rPr>
              <a:t>document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7BEDE3A-EB42-4F70-960B-FC4C0B57F9C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avec image en arrière-pla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CAA9305-3F08-472F-81F7-76D75852825E}"/>
              </a:ext>
            </a:extLst>
          </p:cNvPr>
          <p:cNvSpPr/>
          <p:nvPr/>
        </p:nvSpPr>
        <p:spPr>
          <a:xfrm>
            <a:off x="12287374" y="0"/>
            <a:ext cx="1885826" cy="1246495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lang="fr-FR" sz="1000" dirty="0">
                <a:solidFill>
                  <a:schemeClr val="tx1"/>
                </a:solidFill>
                <a:latin typeface="+mj-lt"/>
              </a:rPr>
              <a:t>Pour changer d’image :</a:t>
            </a:r>
          </a:p>
          <a:p>
            <a:pPr marL="171450" indent="-171450">
              <a:spcBef>
                <a:spcPts val="600"/>
              </a:spcBef>
              <a:buBlip>
                <a:blip r:embed="rId3"/>
              </a:buBlip>
            </a:pPr>
            <a:r>
              <a:rPr lang="fr-FR" sz="1000" dirty="0">
                <a:solidFill>
                  <a:schemeClr val="tx1"/>
                </a:solidFill>
              </a:rPr>
              <a:t>Faire un clic droit</a:t>
            </a:r>
            <a:br>
              <a:rPr lang="fr-FR" sz="1000" dirty="0">
                <a:solidFill>
                  <a:schemeClr val="tx1"/>
                </a:solidFill>
              </a:rPr>
            </a:br>
            <a:r>
              <a:rPr lang="fr-FR" sz="1000" dirty="0">
                <a:solidFill>
                  <a:schemeClr val="tx1"/>
                </a:solidFill>
              </a:rPr>
              <a:t>sur la diapositive</a:t>
            </a:r>
          </a:p>
          <a:p>
            <a:pPr marL="171450" indent="-171450">
              <a:buBlip>
                <a:blip r:embed="rId3"/>
              </a:buBlip>
            </a:pPr>
            <a:r>
              <a:rPr lang="fr-FR" sz="1000" dirty="0">
                <a:solidFill>
                  <a:schemeClr val="tx1"/>
                </a:solidFill>
              </a:rPr>
              <a:t>Cliquer sur « Mise en forme de l’arrière-plan »</a:t>
            </a:r>
          </a:p>
          <a:p>
            <a:pPr marL="171450" indent="-171450">
              <a:buBlip>
                <a:blip r:embed="rId3"/>
              </a:buBlip>
            </a:pPr>
            <a:r>
              <a:rPr lang="fr-FR" sz="1000" dirty="0">
                <a:solidFill>
                  <a:schemeClr val="tx1"/>
                </a:solidFill>
              </a:rPr>
              <a:t>Choisir l’image souhaitée (1920x1080px)</a:t>
            </a:r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1D1EE9E-2CD2-4DFA-9247-3466136002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8</a:t>
            </a:fld>
            <a:endParaRPr lang="fr-FR" dirty="0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567079B-6433-4121-8692-69ABD15577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D62-8CF8-46DD-BD04-B43C67AFA32C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3C60577B-747F-47A8-8402-52B3C9A21E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8" name="Rectangle : coins arrondis 7">
            <a:hlinkClick r:id="rId4"/>
            <a:extLst>
              <a:ext uri="{FF2B5EF4-FFF2-40B4-BE49-F238E27FC236}">
                <a16:creationId xmlns:a16="http://schemas.microsoft.com/office/drawing/2014/main" id="{624CBA45-ABF2-4B2A-A6ED-FE7C5FFCA74F}"/>
              </a:ext>
            </a:extLst>
          </p:cNvPr>
          <p:cNvSpPr/>
          <p:nvPr/>
        </p:nvSpPr>
        <p:spPr>
          <a:xfrm>
            <a:off x="12287373" y="1367971"/>
            <a:ext cx="1885823" cy="1038679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>
                <a:solidFill>
                  <a:schemeClr val="bg1"/>
                </a:solidFill>
              </a:rPr>
              <a:t>Pour modifier</a:t>
            </a:r>
            <a:br>
              <a:rPr lang="fr-FR" sz="1100" b="1" dirty="0">
                <a:solidFill>
                  <a:schemeClr val="bg1"/>
                </a:solidFill>
              </a:rPr>
            </a:br>
            <a:r>
              <a:rPr lang="fr-FR" sz="1100" b="1" dirty="0">
                <a:solidFill>
                  <a:schemeClr val="bg1"/>
                </a:solidFill>
              </a:rPr>
              <a:t>l'image de fond</a:t>
            </a:r>
          </a:p>
          <a:p>
            <a:pPr algn="ctr"/>
            <a:r>
              <a:rPr lang="fr-FR" sz="1100" b="1" dirty="0">
                <a:solidFill>
                  <a:schemeClr val="bg1"/>
                </a:solidFill>
              </a:rPr>
              <a:t>Rendez-vous sur emedia.maif.fr</a:t>
            </a:r>
          </a:p>
          <a:p>
            <a:pPr algn="ctr"/>
            <a:r>
              <a:rPr lang="fr-FR" sz="1100" b="1" dirty="0">
                <a:solidFill>
                  <a:schemeClr val="bg1"/>
                </a:solidFill>
              </a:rPr>
              <a:t>CTRL + </a:t>
            </a:r>
            <a:r>
              <a:rPr lang="fr-FR" sz="1100" b="1" dirty="0" err="1">
                <a:solidFill>
                  <a:schemeClr val="bg1"/>
                </a:solidFill>
              </a:rPr>
              <a:t>CLic</a:t>
            </a:r>
            <a:endParaRPr lang="fr-FR" sz="11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6071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>
            <a:extLst>
              <a:ext uri="{FF2B5EF4-FFF2-40B4-BE49-F238E27FC236}">
                <a16:creationId xmlns:a16="http://schemas.microsoft.com/office/drawing/2014/main" id="{A54E7DD5-9F3C-4F85-857D-5EAE97B3D6D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  <a:latin typeface="MAIF Black" panose="020B0803020200030B04" pitchFamily="34" charset="0"/>
              </a:rPr>
              <a:t>document</a:t>
            </a:r>
            <a:endParaRPr lang="fr-FR" dirty="0"/>
          </a:p>
        </p:txBody>
      </p:sp>
      <p:sp>
        <p:nvSpPr>
          <p:cNvPr id="8" name="Sous-titre 7">
            <a:extLst>
              <a:ext uri="{FF2B5EF4-FFF2-40B4-BE49-F238E27FC236}">
                <a16:creationId xmlns:a16="http://schemas.microsoft.com/office/drawing/2014/main" id="{66110B9B-9729-4DF5-984D-47AF345CBBF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sans arrière-plan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FA76F37-9B70-4223-BEDF-BEA8A8237F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9</a:t>
            </a:fld>
            <a:endParaRPr lang="fr-FR" dirty="0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5AC2232-609E-43AA-AD23-EA846CAB40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AE592-B732-4F95-93D6-A827A93A2C20}" type="datetime1">
              <a:rPr lang="fr-FR" smtClean="0"/>
              <a:t>02/10/2019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0E2BA7D6-495A-4ED2-9815-62509D3898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71685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chsoi7lcvltoBfTNSi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chsoi7lcvltoBfTNSi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Custom 28">
      <a:dk1>
        <a:srgbClr val="000000"/>
      </a:dk1>
      <a:lt1>
        <a:sysClr val="window" lastClr="FFFFFF"/>
      </a:lt1>
      <a:dk2>
        <a:srgbClr val="314051"/>
      </a:dk2>
      <a:lt2>
        <a:srgbClr val="FC0D1A"/>
      </a:lt2>
      <a:accent1>
        <a:srgbClr val="574855"/>
      </a:accent1>
      <a:accent2>
        <a:srgbClr val="ACB8D2"/>
      </a:accent2>
      <a:accent3>
        <a:srgbClr val="B84344"/>
      </a:accent3>
      <a:accent4>
        <a:srgbClr val="FF7458"/>
      </a:accent4>
      <a:accent5>
        <a:srgbClr val="C49FBB"/>
      </a:accent5>
      <a:accent6>
        <a:srgbClr val="818985"/>
      </a:accent6>
      <a:hlink>
        <a:srgbClr val="0563C1"/>
      </a:hlink>
      <a:folHlink>
        <a:srgbClr val="954F72"/>
      </a:folHlink>
    </a:clrScheme>
    <a:fontScheme name="Personnalisé 55">
      <a:majorFont>
        <a:latin typeface="MAIF Medium"/>
        <a:ea typeface=""/>
        <a:cs typeface=""/>
      </a:majorFont>
      <a:minorFont>
        <a:latin typeface="MAIF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190524 1830 MAIF - 16-9 Template Corporate.potx" id="{DC62F52F-6959-4915-AF39-2DF8192A0F2D}" vid="{74343B93-94DE-403F-AED1-2F18E3C16207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66</TotalTime>
  <Words>1972</Words>
  <Application>Microsoft Office PowerPoint</Application>
  <PresentationFormat>Widescreen</PresentationFormat>
  <Paragraphs>627</Paragraphs>
  <Slides>49</Slides>
  <Notes>0</Notes>
  <HiddenSlides>11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57" baseType="lpstr">
      <vt:lpstr>Arial</vt:lpstr>
      <vt:lpstr>Calibri</vt:lpstr>
      <vt:lpstr>MAIF</vt:lpstr>
      <vt:lpstr>MAIF Black</vt:lpstr>
      <vt:lpstr>MAIF Light</vt:lpstr>
      <vt:lpstr>MAIF Medium</vt:lpstr>
      <vt:lpstr>Thème Office</vt:lpstr>
      <vt:lpstr>Diapositive think-cell</vt:lpstr>
      <vt:lpstr>Notice d’utilisation</vt:lpstr>
      <vt:lpstr>Notice d’utilisation</vt:lpstr>
      <vt:lpstr>Notice d’utilisation</vt:lpstr>
      <vt:lpstr>Notice d’utilisation</vt:lpstr>
      <vt:lpstr>Notice d’utilisation</vt:lpstr>
      <vt:lpstr>Notice d’utilisation</vt:lpstr>
      <vt:lpstr>Notice d’utilisation</vt:lpstr>
      <vt:lpstr>Titre du document</vt:lpstr>
      <vt:lpstr>Titre du document</vt:lpstr>
      <vt:lpstr>PowerPoint Presentation</vt:lpstr>
      <vt:lpstr>PowerPoint Presentation</vt:lpstr>
      <vt:lpstr>Sommaire</vt:lpstr>
      <vt:lpstr>Titre de chapitre sur une ou plusieurs lignes</vt:lpstr>
      <vt:lpstr>Titre de chapitre sur une ou deux lign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oolbox</vt:lpstr>
      <vt:lpstr>Toolbox</vt:lpstr>
      <vt:lpstr>Toolbox</vt:lpstr>
      <vt:lpstr>Toolbox</vt:lpstr>
    </vt:vector>
  </TitlesOfParts>
  <Company>MAIF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F - Template Corporate</dc:title>
  <dc:creator>La Boite à Slides</dc:creator>
  <cp:lastModifiedBy>La boite à slides Prod</cp:lastModifiedBy>
  <cp:revision>218</cp:revision>
  <dcterms:created xsi:type="dcterms:W3CDTF">2019-04-19T13:14:00Z</dcterms:created>
  <dcterms:modified xsi:type="dcterms:W3CDTF">2019-10-02T14:59:28Z</dcterms:modified>
</cp:coreProperties>
</file>